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23"/>
  </p:notesMasterIdLst>
  <p:handoutMasterIdLst>
    <p:handoutMasterId r:id="rId24"/>
  </p:handoutMasterIdLst>
  <p:sldIdLst>
    <p:sldId id="278" r:id="rId3"/>
    <p:sldId id="520" r:id="rId4"/>
    <p:sldId id="783" r:id="rId5"/>
    <p:sldId id="513" r:id="rId6"/>
    <p:sldId id="784" r:id="rId7"/>
    <p:sldId id="514" r:id="rId8"/>
    <p:sldId id="523" r:id="rId9"/>
    <p:sldId id="655" r:id="rId10"/>
    <p:sldId id="780" r:id="rId11"/>
    <p:sldId id="777" r:id="rId12"/>
    <p:sldId id="778" r:id="rId13"/>
    <p:sldId id="774" r:id="rId14"/>
    <p:sldId id="762" r:id="rId15"/>
    <p:sldId id="764" r:id="rId16"/>
    <p:sldId id="776" r:id="rId17"/>
    <p:sldId id="781" r:id="rId18"/>
    <p:sldId id="782" r:id="rId19"/>
    <p:sldId id="779" r:id="rId20"/>
    <p:sldId id="775" r:id="rId21"/>
    <p:sldId id="676" r:id="rId22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E7F5FE"/>
    <a:srgbClr val="1888B9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786" y="84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НГС!$A$3:$A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01.12.2017</c:v>
                </c:pt>
                <c:pt idx="4">
                  <c:v>31.12.2017</c:v>
                </c:pt>
                <c:pt idx="5">
                  <c:v>31.12.2018</c:v>
                </c:pt>
              </c:strCache>
            </c:strRef>
          </c:cat>
          <c:val>
            <c:numRef>
              <c:f>НГС!$B$3:$B$8</c:f>
              <c:numCache>
                <c:formatCode>General</c:formatCode>
                <c:ptCount val="6"/>
                <c:pt idx="0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8.23</c:v>
                </c:pt>
                <c:pt idx="4">
                  <c:v>8.23</c:v>
                </c:pt>
                <c:pt idx="5">
                  <c:v>13.2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1BD-4FB9-8370-D053CCBECBD9}"/>
            </c:ext>
          </c:extLst>
        </c:ser>
        <c:ser>
          <c:idx val="1"/>
          <c:order val="1"/>
          <c:spPr>
            <a:solidFill>
              <a:srgbClr val="33CC33"/>
            </a:solidFill>
            <a:ln>
              <a:noFill/>
            </a:ln>
            <a:effectLst/>
          </c:spPr>
          <c:invertIfNegative val="0"/>
          <c:cat>
            <c:strRef>
              <c:f>НГС!$A$3:$A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01.12.2017</c:v>
                </c:pt>
                <c:pt idx="4">
                  <c:v>31.12.2017</c:v>
                </c:pt>
                <c:pt idx="5">
                  <c:v>31.12.2018</c:v>
                </c:pt>
              </c:strCache>
            </c:strRef>
          </c:cat>
          <c:val>
            <c:numRef>
              <c:f>НГС!$D$3:$D$8</c:f>
              <c:numCache>
                <c:formatCode>General</c:formatCode>
                <c:ptCount val="6"/>
                <c:pt idx="0">
                  <c:v>0</c:v>
                </c:pt>
                <c:pt idx="3">
                  <c:v>3.129999999999999</c:v>
                </c:pt>
                <c:pt idx="4">
                  <c:v>5.05</c:v>
                </c:pt>
                <c:pt idx="5">
                  <c:v>8.2200000000000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91BD-4FB9-8370-D053CCBEC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axId val="478235912"/>
        <c:axId val="478784952"/>
      </c:barChart>
      <c:lineChart>
        <c:grouping val="stacked"/>
        <c:varyColors val="0"/>
        <c:ser>
          <c:idx val="2"/>
          <c:order val="2"/>
          <c:tx>
            <c:strRef>
              <c:f>НГС!$B$1</c:f>
              <c:strCache>
                <c:ptCount val="1"/>
                <c:pt idx="0">
                  <c:v>Объем планируемой и фактически оказанной кредитно-гарантийной поддержки в ДФО с 2016 по 2018 гг.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1.1351729541021418E-2"/>
                  <c:y val="-2.64491312397561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91BD-4FB9-8370-D053CCBECBD9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4189661926276721E-2"/>
                  <c:y val="-3.96736968596343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91BD-4FB9-8370-D053CCBECBD9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351729541021418E-2"/>
                  <c:y val="-3.96736968596342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91BD-4FB9-8370-D053CCBECBD9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3.9514297927929478E-3"/>
                  <c:y val="-2.92747106735781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91BD-4FB9-8370-D053CCBECBD9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"/>
                  <c:y val="-2.66134397870924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91BD-4FB9-8370-D053CCBECBD9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8.0067681335498648E-3"/>
                  <c:y val="-2.39520833376721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91BD-4FB9-8370-D053CCBECBD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НГС!$E$3:$E$8</c:f>
              <c:numCache>
                <c:formatCode>General</c:formatCode>
                <c:ptCount val="6"/>
                <c:pt idx="0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11.36</c:v>
                </c:pt>
                <c:pt idx="4">
                  <c:v>13.28</c:v>
                </c:pt>
                <c:pt idx="5">
                  <c:v>21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5-91BD-4FB9-8370-D053CCBECB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8235912"/>
        <c:axId val="478784952"/>
      </c:lineChart>
      <c:catAx>
        <c:axId val="4782359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78784952"/>
        <c:crosses val="autoZero"/>
        <c:auto val="1"/>
        <c:lblAlgn val="ctr"/>
        <c:lblOffset val="100"/>
        <c:noMultiLvlLbl val="0"/>
      </c:catAx>
      <c:valAx>
        <c:axId val="478784952"/>
        <c:scaling>
          <c:orientation val="minMax"/>
          <c:max val="23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>
                    <a:latin typeface="Arial Narrow" panose="020B0606020202030204" pitchFamily="34" charset="0"/>
                  </a:rPr>
                  <a:t>млрд. руб.</a:t>
                </a:r>
              </a:p>
            </c:rich>
          </c:tx>
          <c:layout>
            <c:manualLayout>
              <c:xMode val="edge"/>
              <c:yMode val="edge"/>
              <c:x val="1.4945579355028171E-2"/>
              <c:y val="0.424578245084633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782359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8.750600238773884E-2"/>
          <c:w val="0.79600932828943727"/>
          <c:h val="0.732600234368460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4.11.2017</c:v>
                </c:pt>
                <c:pt idx="4">
                  <c:v>31.12.2017</c:v>
                </c:pt>
                <c:pt idx="5">
                  <c:v>31.12.2018</c:v>
                </c:pt>
              </c:strCache>
            </c:strRef>
          </c:cat>
          <c:val>
            <c:numRef>
              <c:f>Закупки!$G$3:$G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39.799999999999997</c:v>
                </c:pt>
                <c:pt idx="3">
                  <c:v>39.799999999999997</c:v>
                </c:pt>
                <c:pt idx="4">
                  <c:v>39.799999999999997</c:v>
                </c:pt>
                <c:pt idx="5">
                  <c:v>6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F1D-41FD-AD7A-CA5A32FFDF41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4.11.2017</c:v>
                </c:pt>
                <c:pt idx="4">
                  <c:v>31.12.2017</c:v>
                </c:pt>
                <c:pt idx="5">
                  <c:v>31.12.2018</c:v>
                </c:pt>
              </c:strCache>
            </c:strRef>
          </c:cat>
          <c:val>
            <c:numRef>
              <c:f>Закупки!$H$3:$H$8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5.7999999999999972</c:v>
                </c:pt>
                <c:pt idx="3">
                  <c:v>15.200000000000003</c:v>
                </c:pt>
                <c:pt idx="4">
                  <c:v>20.200000000000003</c:v>
                </c:pt>
                <c:pt idx="5">
                  <c:v>3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F1D-41FD-AD7A-CA5A32FFDF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475514872"/>
        <c:axId val="496802240"/>
      </c:barChart>
      <c:lineChart>
        <c:grouping val="stacked"/>
        <c:varyColors val="0"/>
        <c:ser>
          <c:idx val="2"/>
          <c:order val="2"/>
          <c:tx>
            <c:strRef>
              <c:f>Закупки!$D$3:$D$8</c:f>
              <c:strCache>
                <c:ptCount val="6"/>
                <c:pt idx="0">
                  <c:v>39,8</c:v>
                </c:pt>
                <c:pt idx="1">
                  <c:v>18,4</c:v>
                </c:pt>
                <c:pt idx="2">
                  <c:v>45,6</c:v>
                </c:pt>
                <c:pt idx="3">
                  <c:v>55</c:v>
                </c:pt>
                <c:pt idx="4">
                  <c:v>60</c:v>
                </c:pt>
                <c:pt idx="5">
                  <c:v>90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3.6573621836813682E-3"/>
                  <c:y val="-3.16130050426477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F1D-41FD-AD7A-CA5A32FFDF41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3.6573621836813682E-3"/>
                  <c:y val="-4.425820705970687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F1D-41FD-AD7A-CA5A32FFDF41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6.7050865456838994E-17"/>
                  <c:y val="-3.16130050426477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4F1D-41FD-AD7A-CA5A32FFDF41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0972086551044173E-2"/>
                  <c:y val="-3.79356060511772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4F1D-41FD-AD7A-CA5A32FFDF41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"/>
                  <c:y val="-3.161300504264774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4F1D-41FD-AD7A-CA5A32FFDF41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9.1169111819673042E-3"/>
                  <c:y val="-1.89678030255886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4F1D-41FD-AD7A-CA5A32FFDF41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4.11.2017</c:v>
                </c:pt>
                <c:pt idx="4">
                  <c:v>31.12.2017</c:v>
                </c:pt>
                <c:pt idx="5">
                  <c:v>31.12.2018</c:v>
                </c:pt>
              </c:strCache>
            </c:strRef>
          </c:cat>
          <c:val>
            <c:numRef>
              <c:f>Закупки!$D$3:$D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45.6</c:v>
                </c:pt>
                <c:pt idx="3">
                  <c:v>55</c:v>
                </c:pt>
                <c:pt idx="4">
                  <c:v>60</c:v>
                </c:pt>
                <c:pt idx="5">
                  <c:v>9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4F1D-41FD-AD7A-CA5A32FFDF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5514872"/>
        <c:axId val="496802240"/>
      </c:lineChart>
      <c:catAx>
        <c:axId val="4755148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96802240"/>
        <c:crosses val="autoZero"/>
        <c:auto val="1"/>
        <c:lblAlgn val="ctr"/>
        <c:lblOffset val="100"/>
        <c:noMultiLvlLbl val="0"/>
      </c:catAx>
      <c:valAx>
        <c:axId val="49680224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 dirty="0" smtClean="0">
                    <a:latin typeface="Arial Narrow" panose="020B0606020202030204" pitchFamily="34" charset="0"/>
                  </a:rPr>
                  <a:t>Объем</a:t>
                </a:r>
                <a:r>
                  <a:rPr lang="ru-RU" sz="800" baseline="0" dirty="0" smtClean="0">
                    <a:latin typeface="Arial Narrow" panose="020B0606020202030204" pitchFamily="34" charset="0"/>
                  </a:rPr>
                  <a:t> закупок, </a:t>
                </a:r>
                <a:r>
                  <a:rPr lang="ru-RU" sz="800" dirty="0" smtClean="0">
                    <a:latin typeface="Arial Narrow" panose="020B0606020202030204" pitchFamily="34" charset="0"/>
                  </a:rPr>
                  <a:t>млрд</a:t>
                </a:r>
                <a:r>
                  <a:rPr lang="ru-RU" sz="800" dirty="0">
                    <a:latin typeface="Arial Narrow" panose="020B0606020202030204" pitchFamily="34" charset="0"/>
                  </a:rPr>
                  <a:t>. руб.</a:t>
                </a:r>
              </a:p>
            </c:rich>
          </c:tx>
          <c:layout>
            <c:manualLayout>
              <c:xMode val="edge"/>
              <c:yMode val="edge"/>
              <c:x val="6.2820035931081966E-3"/>
              <c:y val="0.168602361665721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75514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explosion val="8"/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0.14686454942400121"/>
                  <c:y val="-0.1078899768023672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Федеральное</a:t>
                    </a:r>
                    <a:r>
                      <a:rPr lang="ru-RU" sz="1400" dirty="0"/>
                      <a:t>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</a:t>
                    </a:r>
                    <a:r>
                      <a:rPr lang="ru-RU" sz="1400" dirty="0" smtClean="0"/>
                      <a:t>730</a:t>
                    </a:r>
                    <a:endParaRPr lang="ru-RU" sz="1400" dirty="0"/>
                  </a:p>
                </c:rich>
              </c:tx>
              <c:spPr>
                <a:xfrm>
                  <a:off x="4105206" y="290082"/>
                  <a:ext cx="1949572" cy="575104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01247"/>
                        <a:gd name="adj2" fmla="val 98698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162308510695242"/>
                      <c:h val="0.14032896375854842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9.2136438567786597E-2"/>
                  <c:y val="1.772214228320632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Государственное</a:t>
                    </a:r>
                    <a:r>
                      <a:rPr lang="ru-RU" sz="1400" dirty="0"/>
                      <a:t> (субъектов РФ)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 </a:t>
                    </a:r>
                    <a:r>
                      <a:rPr lang="ru-RU" sz="1400" dirty="0" smtClean="0"/>
                      <a:t>8</a:t>
                    </a:r>
                    <a:r>
                      <a:rPr lang="ru-RU" sz="1400" baseline="0" dirty="0" smtClean="0"/>
                      <a:t> 595</a:t>
                    </a:r>
                    <a:endParaRPr lang="ru-RU" sz="1400" dirty="0"/>
                  </a:p>
                </c:rich>
              </c:tx>
              <c:spPr>
                <a:xfrm>
                  <a:off x="4142510" y="1408175"/>
                  <a:ext cx="1911002" cy="762339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88400"/>
                        <a:gd name="adj2" fmla="val -2133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0997443484063586"/>
                      <c:h val="0.18601514836895533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67184252601487326"/>
                  <c:y val="0.34625620659289069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4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400" b="1" dirty="0"/>
                      <a:t>Муниципальное</a:t>
                    </a:r>
                    <a:r>
                      <a:rPr lang="ru-RU" sz="1400" dirty="0"/>
                      <a:t> </a:t>
                    </a:r>
                    <a:endParaRPr lang="ru-RU" sz="1400" dirty="0" smtClean="0"/>
                  </a:p>
                  <a:p>
                    <a:pPr>
                      <a:defRPr sz="1400"/>
                    </a:pPr>
                    <a:r>
                      <a:rPr lang="ru-RU" sz="1400" dirty="0" smtClean="0"/>
                      <a:t>имущество </a:t>
                    </a:r>
                    <a:r>
                      <a:rPr lang="ru-RU" sz="1400" dirty="0"/>
                      <a:t>-  </a:t>
                    </a:r>
                    <a:r>
                      <a:rPr lang="ru-RU" sz="1400" dirty="0" smtClean="0"/>
                      <a:t>38 136</a:t>
                    </a:r>
                    <a:endParaRPr lang="ru-RU" sz="1400" dirty="0"/>
                  </a:p>
                </c:rich>
              </c:tx>
              <c:spPr>
                <a:xfrm>
                  <a:off x="4078430" y="2908332"/>
                  <a:ext cx="1913066" cy="604263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0005"/>
                        <a:gd name="adj2" fmla="val -16563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31030922634452285"/>
                      <c:h val="0.14744368528813304"/>
                    </c:manualLayout>
                  </c15:layout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7251</cdr:x>
      <cdr:y>0.20496</cdr:y>
    </cdr:from>
    <cdr:to>
      <cdr:x>0.91211</cdr:x>
      <cdr:y>0.33264</cdr:y>
    </cdr:to>
    <cdr:sp macro="" textlink="">
      <cdr:nvSpPr>
        <cdr:cNvPr id="2" name="TextBox 44"/>
        <cdr:cNvSpPr txBox="1"/>
      </cdr:nvSpPr>
      <cdr:spPr>
        <a:xfrm xmlns:a="http://schemas.openxmlformats.org/drawingml/2006/main">
          <a:off x="2682517" y="372194"/>
          <a:ext cx="484752" cy="23185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9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rPr>
            <a:t>50</a:t>
          </a:r>
          <a:r>
            <a:rPr lang="en-US" sz="900" b="1" dirty="0" smtClean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rPr>
            <a:t>%</a:t>
          </a:r>
          <a:endParaRPr lang="ru-RU" sz="900" b="1" dirty="0"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latin typeface="Arial Narrow" panose="020B060602020203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3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3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8860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64507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8938822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675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3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3.12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3.12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3.12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3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3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3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3.12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3.12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3.12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3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3.12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3.12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0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22.png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7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13.png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3.jpe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8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5"/>
            <a:ext cx="12599988" cy="410296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endParaRPr lang="ru-RU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11.12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7283" y="8022709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265352" y="1845140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lvl="0" algn="r"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209,02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498292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lvl="0" algn="just"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7 ГОДА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данных в 2017 г. гарантий и поручительст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</a:t>
            </a: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127,41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2426" y="2999977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11 декабря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01036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7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 декабря 2017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1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22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48364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45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19,3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483648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7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11 декабря 2017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62,1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971363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,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8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3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2,1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3,4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52,5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41965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3060" y="2174187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7 года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5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289595" y="2482452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prstClr val="black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 концу 2018 года (нарастающим итогом за 2016 - 2018гг.)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500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5564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 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 декабря 20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9,40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8,63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08,03</a:t>
                      </a:r>
                      <a:endParaRPr lang="ru-RU" sz="2400" b="1" i="0" u="none" strike="noStrike" dirty="0" smtClean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49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90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Скругленный прямоугольник 111"/>
          <p:cNvSpPr/>
          <p:nvPr/>
        </p:nvSpPr>
        <p:spPr>
          <a:xfrm>
            <a:off x="9070903" y="4822429"/>
            <a:ext cx="3235723" cy="3121350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9308213" y="5844137"/>
            <a:ext cx="2998413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конкурсного отбора регионов на право создания РЛК</a:t>
            </a:r>
            <a:endParaRPr lang="ru-RU" sz="14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4" name="L-Shape 10"/>
          <p:cNvSpPr/>
          <p:nvPr/>
        </p:nvSpPr>
        <p:spPr>
          <a:xfrm rot="13701821">
            <a:off x="9108465" y="5897401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9308213" y="6447900"/>
            <a:ext cx="2998413" cy="5027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гистрация и запуск деятельности еще 2 РЛК</a:t>
            </a:r>
            <a:endParaRPr lang="ru-RU" sz="14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6" name="L-Shape 10"/>
          <p:cNvSpPr/>
          <p:nvPr/>
        </p:nvSpPr>
        <p:spPr>
          <a:xfrm rot="13701821">
            <a:off x="9108465" y="6499955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9308213" y="7010369"/>
            <a:ext cx="29984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недрение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матизированной информационной системы управления лизинговыми операциями РЛК</a:t>
            </a:r>
          </a:p>
        </p:txBody>
      </p:sp>
      <p:sp>
        <p:nvSpPr>
          <p:cNvPr id="118" name="L-Shape 10"/>
          <p:cNvSpPr/>
          <p:nvPr/>
        </p:nvSpPr>
        <p:spPr>
          <a:xfrm rot="13701821">
            <a:off x="9108465" y="7063432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едпринимательств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914632" y="8268937"/>
            <a:ext cx="391994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965990"/>
            <a:ext cx="12153900" cy="8771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рамках сводного плана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иоритетного проекта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Малый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изнес и поддержка индивидуальной предпринимательской инициативы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</a:t>
            </a:r>
            <a:r>
              <a:rPr lang="en-US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*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созданы первые в России региональные лизинговые компании – АО «РЛК Республики Татарстан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и АО «РЛК Республики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ашкортостан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тавным капиталом каждой компании 2 млрд руб. </a:t>
            </a:r>
            <a:endParaRPr lang="ru-RU" sz="17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44602" y="1860496"/>
            <a:ext cx="4848542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редмет лизинга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/>
          </p:nvPr>
        </p:nvGraphicFramePr>
        <p:xfrm>
          <a:off x="5631047" y="2332946"/>
          <a:ext cx="6721150" cy="15460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8957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48219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 млн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4084773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5631046" y="1860496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араметры </a:t>
            </a:r>
            <a:r>
              <a:rPr lang="ru-RU" dirty="0" smtClean="0"/>
              <a:t>продукта</a:t>
            </a: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52284" y="5815360"/>
            <a:ext cx="4662168" cy="133611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орудование, предназначенное для осуществления оптовой и розничной торговой </a:t>
            </a:r>
            <a:r>
              <a:rPr lang="ru-RU" sz="1600" dirty="0" smtClean="0">
                <a:latin typeface="Arial Narrow" panose="020B0606020202030204" pitchFamily="34" charset="0"/>
              </a:rPr>
              <a:t>деятельности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легковые</a:t>
            </a:r>
            <a:r>
              <a:rPr lang="ru-RU" sz="1600" dirty="0">
                <a:latin typeface="Arial Narrow" panose="020B0606020202030204" pitchFamily="34" charset="0"/>
              </a:rPr>
              <a:t>, грузовые и пассажирские транспортные средства (транспортные средства, на которые выдаются ПТС или ПСМ</a:t>
            </a:r>
            <a:r>
              <a:rPr lang="ru-RU" sz="1600" dirty="0" smtClean="0">
                <a:latin typeface="Arial Narrow" panose="020B0606020202030204" pitchFamily="34" charset="0"/>
              </a:rPr>
              <a:t>)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водные суда 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воздушные суда и другая авиационная </a:t>
            </a:r>
            <a:r>
              <a:rPr lang="ru-RU" sz="1600" dirty="0" smtClean="0">
                <a:latin typeface="Arial Narrow" panose="020B0606020202030204" pitchFamily="34" charset="0"/>
              </a:rPr>
              <a:t>техника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подвижной состав железнодорожного </a:t>
            </a:r>
            <a:r>
              <a:rPr lang="ru-RU" sz="1600" dirty="0" smtClean="0">
                <a:latin typeface="Arial Narrow" panose="020B0606020202030204" pitchFamily="34" charset="0"/>
              </a:rPr>
              <a:t>транспорт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55093" y="5183143"/>
            <a:ext cx="4733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5750B"/>
                </a:solidFill>
                <a:latin typeface="Arial Narrow" panose="020B0606020202030204" pitchFamily="34" charset="0"/>
              </a:rPr>
              <a:t>Виды имущества вне рамок программы (финансирование не осуществляется)</a:t>
            </a:r>
            <a:endParaRPr lang="ru-RU" b="1" dirty="0">
              <a:solidFill>
                <a:srgbClr val="F5750B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11750" y="5242952"/>
            <a:ext cx="560554" cy="526713"/>
            <a:chOff x="490441" y="5638826"/>
            <a:chExt cx="560554" cy="526713"/>
          </a:xfrm>
        </p:grpSpPr>
        <p:sp>
          <p:nvSpPr>
            <p:cNvPr id="29" name="Равнобедренный треугольник 28"/>
            <p:cNvSpPr/>
            <p:nvPr/>
          </p:nvSpPr>
          <p:spPr>
            <a:xfrm>
              <a:off x="490441" y="5638826"/>
              <a:ext cx="556097" cy="479393"/>
            </a:xfrm>
            <a:prstGeom prst="triangle">
              <a:avLst/>
            </a:prstGeom>
            <a:solidFill>
              <a:schemeClr val="bg1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latin typeface="Arial Narrow" panose="020B060602020203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94898" y="5642319"/>
              <a:ext cx="55609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5750B"/>
                  </a:solidFill>
                  <a:latin typeface="Arial Narrow" panose="020B0606020202030204" pitchFamily="34" charset="0"/>
                </a:rPr>
                <a:t>!</a:t>
              </a:r>
              <a:endParaRPr lang="ru-RU" sz="2400" b="1" dirty="0">
                <a:solidFill>
                  <a:srgbClr val="F5750B"/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411179" y="5813627"/>
            <a:ext cx="4680472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344603" y="2183934"/>
            <a:ext cx="4803837" cy="2970747"/>
            <a:chOff x="344603" y="2183934"/>
            <a:chExt cx="4803837" cy="2970747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44603" y="2183934"/>
              <a:ext cx="4803837" cy="705483"/>
              <a:chOff x="467999" y="2183934"/>
              <a:chExt cx="5280556" cy="705483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489871" y="2183934"/>
                <a:ext cx="523681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Новое, ранее не использованное или не введенное в эксплуатацию оборудование</a:t>
                </a:r>
                <a:endParaRPr lang="ru-RU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2" name="Правая круглая скобка 31"/>
              <p:cNvSpPr/>
              <p:nvPr/>
            </p:nvSpPr>
            <p:spPr>
              <a:xfrm rot="16200000">
                <a:off x="3055716" y="196579"/>
                <a:ext cx="105121" cy="5280556"/>
              </a:xfrm>
              <a:prstGeom prst="rightBracket">
                <a:avLst>
                  <a:gd name="adj" fmla="val 89321"/>
                </a:avLst>
              </a:prstGeom>
              <a:ln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400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35" name="Прямоугольник 34"/>
            <p:cNvSpPr/>
            <p:nvPr/>
          </p:nvSpPr>
          <p:spPr>
            <a:xfrm>
              <a:off x="3643528" y="2899706"/>
              <a:ext cx="1504912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в сфере переработки и хранения с</a:t>
              </a:r>
              <a:r>
                <a:rPr lang="en-US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/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х </a:t>
              </a:r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дукции**</a:t>
              </a:r>
              <a:endParaRPr lang="ru-RU" sz="1600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84714" y="2899706"/>
              <a:ext cx="1600127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Высоко-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/>
              </a:r>
              <a:b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</a:b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технологичное и инновационное оборудование</a:t>
              </a: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052239" y="2899706"/>
              <a:ext cx="1523891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мышленно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</a:p>
          </p:txBody>
        </p:sp>
        <p:grpSp>
          <p:nvGrpSpPr>
            <p:cNvPr id="44" name="Group 1136"/>
            <p:cNvGrpSpPr/>
            <p:nvPr/>
          </p:nvGrpSpPr>
          <p:grpSpPr>
            <a:xfrm>
              <a:off x="873285" y="3238684"/>
              <a:ext cx="622984" cy="420171"/>
              <a:chOff x="6375401" y="5816600"/>
              <a:chExt cx="652463" cy="400050"/>
            </a:xfrm>
            <a:solidFill>
              <a:schemeClr val="tx1"/>
            </a:solidFill>
          </p:grpSpPr>
          <p:sp>
            <p:nvSpPr>
              <p:cNvPr id="45" name="Freeform 142"/>
              <p:cNvSpPr>
                <a:spLocks noEditPoints="1"/>
              </p:cNvSpPr>
              <p:nvPr/>
            </p:nvSpPr>
            <p:spPr bwMode="auto">
              <a:xfrm>
                <a:off x="6499226" y="5816600"/>
                <a:ext cx="406400" cy="400050"/>
              </a:xfrm>
              <a:custGeom>
                <a:avLst/>
                <a:gdLst>
                  <a:gd name="T0" fmla="*/ 123 w 139"/>
                  <a:gd name="T1" fmla="*/ 137 h 137"/>
                  <a:gd name="T2" fmla="*/ 16 w 139"/>
                  <a:gd name="T3" fmla="*/ 137 h 137"/>
                  <a:gd name="T4" fmla="*/ 0 w 139"/>
                  <a:gd name="T5" fmla="*/ 121 h 137"/>
                  <a:gd name="T6" fmla="*/ 0 w 139"/>
                  <a:gd name="T7" fmla="*/ 17 h 137"/>
                  <a:gd name="T8" fmla="*/ 16 w 139"/>
                  <a:gd name="T9" fmla="*/ 0 h 137"/>
                  <a:gd name="T10" fmla="*/ 123 w 139"/>
                  <a:gd name="T11" fmla="*/ 0 h 137"/>
                  <a:gd name="T12" fmla="*/ 139 w 139"/>
                  <a:gd name="T13" fmla="*/ 17 h 137"/>
                  <a:gd name="T14" fmla="*/ 139 w 139"/>
                  <a:gd name="T15" fmla="*/ 121 h 137"/>
                  <a:gd name="T16" fmla="*/ 123 w 139"/>
                  <a:gd name="T17" fmla="*/ 137 h 137"/>
                  <a:gd name="T18" fmla="*/ 16 w 139"/>
                  <a:gd name="T19" fmla="*/ 12 h 137"/>
                  <a:gd name="T20" fmla="*/ 12 w 139"/>
                  <a:gd name="T21" fmla="*/ 17 h 137"/>
                  <a:gd name="T22" fmla="*/ 12 w 139"/>
                  <a:gd name="T23" fmla="*/ 121 h 137"/>
                  <a:gd name="T24" fmla="*/ 16 w 139"/>
                  <a:gd name="T25" fmla="*/ 125 h 137"/>
                  <a:gd name="T26" fmla="*/ 123 w 139"/>
                  <a:gd name="T27" fmla="*/ 125 h 137"/>
                  <a:gd name="T28" fmla="*/ 127 w 139"/>
                  <a:gd name="T29" fmla="*/ 121 h 137"/>
                  <a:gd name="T30" fmla="*/ 127 w 139"/>
                  <a:gd name="T31" fmla="*/ 17 h 137"/>
                  <a:gd name="T32" fmla="*/ 123 w 139"/>
                  <a:gd name="T33" fmla="*/ 12 h 137"/>
                  <a:gd name="T34" fmla="*/ 16 w 139"/>
                  <a:gd name="T35" fmla="*/ 1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37">
                    <a:moveTo>
                      <a:pt x="123" y="137"/>
                    </a:moveTo>
                    <a:cubicBezTo>
                      <a:pt x="16" y="137"/>
                      <a:pt x="16" y="137"/>
                      <a:pt x="16" y="137"/>
                    </a:cubicBezTo>
                    <a:cubicBezTo>
                      <a:pt x="7" y="137"/>
                      <a:pt x="0" y="130"/>
                      <a:pt x="0" y="1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32" y="0"/>
                      <a:pt x="139" y="8"/>
                      <a:pt x="139" y="17"/>
                    </a:cubicBezTo>
                    <a:cubicBezTo>
                      <a:pt x="139" y="121"/>
                      <a:pt x="139" y="121"/>
                      <a:pt x="139" y="121"/>
                    </a:cubicBezTo>
                    <a:cubicBezTo>
                      <a:pt x="139" y="130"/>
                      <a:pt x="132" y="137"/>
                      <a:pt x="123" y="137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21"/>
                      <a:pt x="12" y="121"/>
                      <a:pt x="12" y="121"/>
                    </a:cubicBezTo>
                    <a:cubicBezTo>
                      <a:pt x="12" y="123"/>
                      <a:pt x="14" y="125"/>
                      <a:pt x="16" y="125"/>
                    </a:cubicBezTo>
                    <a:cubicBezTo>
                      <a:pt x="123" y="125"/>
                      <a:pt x="123" y="125"/>
                      <a:pt x="123" y="125"/>
                    </a:cubicBezTo>
                    <a:cubicBezTo>
                      <a:pt x="125" y="125"/>
                      <a:pt x="127" y="123"/>
                      <a:pt x="127" y="121"/>
                    </a:cubicBezTo>
                    <a:cubicBezTo>
                      <a:pt x="127" y="17"/>
                      <a:pt x="127" y="17"/>
                      <a:pt x="127" y="17"/>
                    </a:cubicBezTo>
                    <a:cubicBezTo>
                      <a:pt x="127" y="14"/>
                      <a:pt x="125" y="12"/>
                      <a:pt x="123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43"/>
              <p:cNvSpPr>
                <a:spLocks noEditPoints="1"/>
              </p:cNvSpPr>
              <p:nvPr/>
            </p:nvSpPr>
            <p:spPr bwMode="auto">
              <a:xfrm>
                <a:off x="637540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44"/>
              <p:cNvSpPr>
                <a:spLocks noEditPoints="1"/>
              </p:cNvSpPr>
              <p:nvPr/>
            </p:nvSpPr>
            <p:spPr bwMode="auto">
              <a:xfrm>
                <a:off x="637540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45"/>
              <p:cNvSpPr>
                <a:spLocks noEditPoints="1"/>
              </p:cNvSpPr>
              <p:nvPr/>
            </p:nvSpPr>
            <p:spPr bwMode="auto">
              <a:xfrm>
                <a:off x="637540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7" y="34"/>
                      <a:pt x="0" y="27"/>
                      <a:pt x="0" y="17"/>
                    </a:cubicBezTo>
                    <a:cubicBezTo>
                      <a:pt x="0" y="8"/>
                      <a:pt x="7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146"/>
              <p:cNvSpPr>
                <a:spLocks/>
              </p:cNvSpPr>
              <p:nvPr/>
            </p:nvSpPr>
            <p:spPr bwMode="auto">
              <a:xfrm>
                <a:off x="6440488" y="5872163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147"/>
              <p:cNvSpPr>
                <a:spLocks/>
              </p:cNvSpPr>
              <p:nvPr/>
            </p:nvSpPr>
            <p:spPr bwMode="auto">
              <a:xfrm>
                <a:off x="6440488" y="6000750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2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148"/>
              <p:cNvSpPr>
                <a:spLocks/>
              </p:cNvSpPr>
              <p:nvPr/>
            </p:nvSpPr>
            <p:spPr bwMode="auto">
              <a:xfrm>
                <a:off x="6440488" y="6122988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149"/>
              <p:cNvSpPr>
                <a:spLocks noEditPoints="1"/>
              </p:cNvSpPr>
              <p:nvPr/>
            </p:nvSpPr>
            <p:spPr bwMode="auto">
              <a:xfrm>
                <a:off x="692785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8" y="34"/>
                      <a:pt x="0" y="2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150"/>
              <p:cNvSpPr>
                <a:spLocks noEditPoints="1"/>
              </p:cNvSpPr>
              <p:nvPr/>
            </p:nvSpPr>
            <p:spPr bwMode="auto">
              <a:xfrm>
                <a:off x="692785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151"/>
              <p:cNvSpPr>
                <a:spLocks noEditPoints="1"/>
              </p:cNvSpPr>
              <p:nvPr/>
            </p:nvSpPr>
            <p:spPr bwMode="auto">
              <a:xfrm>
                <a:off x="692785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152"/>
              <p:cNvSpPr>
                <a:spLocks/>
              </p:cNvSpPr>
              <p:nvPr/>
            </p:nvSpPr>
            <p:spPr bwMode="auto">
              <a:xfrm>
                <a:off x="6870701" y="6122988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153"/>
              <p:cNvSpPr>
                <a:spLocks/>
              </p:cNvSpPr>
              <p:nvPr/>
            </p:nvSpPr>
            <p:spPr bwMode="auto">
              <a:xfrm>
                <a:off x="6870701" y="5997575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154"/>
              <p:cNvSpPr>
                <a:spLocks/>
              </p:cNvSpPr>
              <p:nvPr/>
            </p:nvSpPr>
            <p:spPr bwMode="auto">
              <a:xfrm>
                <a:off x="6870701" y="5872163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155"/>
              <p:cNvSpPr>
                <a:spLocks/>
              </p:cNvSpPr>
              <p:nvPr/>
            </p:nvSpPr>
            <p:spPr bwMode="auto">
              <a:xfrm>
                <a:off x="6503988" y="6053138"/>
                <a:ext cx="158750" cy="153988"/>
              </a:xfrm>
              <a:custGeom>
                <a:avLst/>
                <a:gdLst>
                  <a:gd name="T0" fmla="*/ 7 w 54"/>
                  <a:gd name="T1" fmla="*/ 53 h 53"/>
                  <a:gd name="T2" fmla="*/ 3 w 54"/>
                  <a:gd name="T3" fmla="*/ 52 h 53"/>
                  <a:gd name="T4" fmla="*/ 3 w 54"/>
                  <a:gd name="T5" fmla="*/ 43 h 53"/>
                  <a:gd name="T6" fmla="*/ 44 w 54"/>
                  <a:gd name="T7" fmla="*/ 2 h 53"/>
                  <a:gd name="T8" fmla="*/ 52 w 54"/>
                  <a:gd name="T9" fmla="*/ 2 h 53"/>
                  <a:gd name="T10" fmla="*/ 52 w 54"/>
                  <a:gd name="T11" fmla="*/ 11 h 53"/>
                  <a:gd name="T12" fmla="*/ 11 w 54"/>
                  <a:gd name="T13" fmla="*/ 52 h 53"/>
                  <a:gd name="T14" fmla="*/ 7 w 54"/>
                  <a:gd name="T1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53">
                    <a:moveTo>
                      <a:pt x="7" y="53"/>
                    </a:moveTo>
                    <a:cubicBezTo>
                      <a:pt x="6" y="53"/>
                      <a:pt x="4" y="53"/>
                      <a:pt x="3" y="52"/>
                    </a:cubicBezTo>
                    <a:cubicBezTo>
                      <a:pt x="0" y="49"/>
                      <a:pt x="0" y="46"/>
                      <a:pt x="3" y="43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50" y="0"/>
                      <a:pt x="52" y="2"/>
                    </a:cubicBezTo>
                    <a:cubicBezTo>
                      <a:pt x="54" y="5"/>
                      <a:pt x="54" y="9"/>
                      <a:pt x="52" y="11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0" y="53"/>
                      <a:pt x="9" y="53"/>
                      <a:pt x="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156"/>
              <p:cNvSpPr>
                <a:spLocks noEditPoints="1"/>
              </p:cNvSpPr>
              <p:nvPr/>
            </p:nvSpPr>
            <p:spPr bwMode="auto">
              <a:xfrm>
                <a:off x="6618288" y="5935663"/>
                <a:ext cx="166688" cy="163513"/>
              </a:xfrm>
              <a:custGeom>
                <a:avLst/>
                <a:gdLst>
                  <a:gd name="T0" fmla="*/ 40 w 57"/>
                  <a:gd name="T1" fmla="*/ 56 h 56"/>
                  <a:gd name="T2" fmla="*/ 16 w 57"/>
                  <a:gd name="T3" fmla="*/ 56 h 56"/>
                  <a:gd name="T4" fmla="*/ 0 w 57"/>
                  <a:gd name="T5" fmla="*/ 39 h 56"/>
                  <a:gd name="T6" fmla="*/ 0 w 57"/>
                  <a:gd name="T7" fmla="*/ 16 h 56"/>
                  <a:gd name="T8" fmla="*/ 16 w 57"/>
                  <a:gd name="T9" fmla="*/ 0 h 56"/>
                  <a:gd name="T10" fmla="*/ 40 w 57"/>
                  <a:gd name="T11" fmla="*/ 0 h 56"/>
                  <a:gd name="T12" fmla="*/ 57 w 57"/>
                  <a:gd name="T13" fmla="*/ 16 h 56"/>
                  <a:gd name="T14" fmla="*/ 57 w 57"/>
                  <a:gd name="T15" fmla="*/ 39 h 56"/>
                  <a:gd name="T16" fmla="*/ 40 w 57"/>
                  <a:gd name="T17" fmla="*/ 56 h 56"/>
                  <a:gd name="T18" fmla="*/ 16 w 57"/>
                  <a:gd name="T19" fmla="*/ 12 h 56"/>
                  <a:gd name="T20" fmla="*/ 12 w 57"/>
                  <a:gd name="T21" fmla="*/ 16 h 56"/>
                  <a:gd name="T22" fmla="*/ 12 w 57"/>
                  <a:gd name="T23" fmla="*/ 39 h 56"/>
                  <a:gd name="T24" fmla="*/ 16 w 57"/>
                  <a:gd name="T25" fmla="*/ 44 h 56"/>
                  <a:gd name="T26" fmla="*/ 40 w 57"/>
                  <a:gd name="T27" fmla="*/ 44 h 56"/>
                  <a:gd name="T28" fmla="*/ 45 w 57"/>
                  <a:gd name="T29" fmla="*/ 39 h 56"/>
                  <a:gd name="T30" fmla="*/ 45 w 57"/>
                  <a:gd name="T31" fmla="*/ 16 h 56"/>
                  <a:gd name="T32" fmla="*/ 40 w 57"/>
                  <a:gd name="T33" fmla="*/ 12 h 56"/>
                  <a:gd name="T34" fmla="*/ 16 w 57"/>
                  <a:gd name="T35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56">
                    <a:moveTo>
                      <a:pt x="40" y="56"/>
                    </a:moveTo>
                    <a:cubicBezTo>
                      <a:pt x="16" y="56"/>
                      <a:pt x="16" y="56"/>
                      <a:pt x="16" y="56"/>
                    </a:cubicBezTo>
                    <a:cubicBezTo>
                      <a:pt x="7" y="56"/>
                      <a:pt x="0" y="48"/>
                      <a:pt x="0" y="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9" y="0"/>
                      <a:pt x="57" y="7"/>
                      <a:pt x="57" y="16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57" y="48"/>
                      <a:pt x="49" y="56"/>
                      <a:pt x="40" y="56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2"/>
                      <a:pt x="14" y="44"/>
                      <a:pt x="16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3" y="44"/>
                      <a:pt x="45" y="42"/>
                      <a:pt x="45" y="39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14"/>
                      <a:pt x="43" y="12"/>
                      <a:pt x="40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2" name="Group 1007"/>
            <p:cNvGrpSpPr/>
            <p:nvPr/>
          </p:nvGrpSpPr>
          <p:grpSpPr>
            <a:xfrm>
              <a:off x="2505213" y="3051656"/>
              <a:ext cx="617942" cy="664897"/>
              <a:chOff x="6081713" y="3184525"/>
              <a:chExt cx="1044575" cy="1123950"/>
            </a:xfrm>
            <a:solidFill>
              <a:schemeClr val="tx1"/>
            </a:solidFill>
          </p:grpSpPr>
          <p:sp>
            <p:nvSpPr>
              <p:cNvPr id="63" name="Freeform 1183"/>
              <p:cNvSpPr>
                <a:spLocks/>
              </p:cNvSpPr>
              <p:nvPr/>
            </p:nvSpPr>
            <p:spPr bwMode="auto">
              <a:xfrm>
                <a:off x="6289675" y="3530600"/>
                <a:ext cx="196850" cy="38100"/>
              </a:xfrm>
              <a:custGeom>
                <a:avLst/>
                <a:gdLst>
                  <a:gd name="T0" fmla="*/ 55 w 61"/>
                  <a:gd name="T1" fmla="*/ 12 h 12"/>
                  <a:gd name="T2" fmla="*/ 6 w 61"/>
                  <a:gd name="T3" fmla="*/ 12 h 12"/>
                  <a:gd name="T4" fmla="*/ 0 w 61"/>
                  <a:gd name="T5" fmla="*/ 6 h 12"/>
                  <a:gd name="T6" fmla="*/ 6 w 61"/>
                  <a:gd name="T7" fmla="*/ 0 h 12"/>
                  <a:gd name="T8" fmla="*/ 55 w 61"/>
                  <a:gd name="T9" fmla="*/ 0 h 12"/>
                  <a:gd name="T10" fmla="*/ 61 w 61"/>
                  <a:gd name="T11" fmla="*/ 6 h 12"/>
                  <a:gd name="T12" fmla="*/ 55 w 6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12">
                    <a:moveTo>
                      <a:pt x="5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8" y="0"/>
                      <a:pt x="61" y="3"/>
                      <a:pt x="61" y="6"/>
                    </a:cubicBezTo>
                    <a:cubicBezTo>
                      <a:pt x="61" y="10"/>
                      <a:pt x="58" y="12"/>
                      <a:pt x="5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1184"/>
              <p:cNvSpPr>
                <a:spLocks/>
              </p:cNvSpPr>
              <p:nvPr/>
            </p:nvSpPr>
            <p:spPr bwMode="auto">
              <a:xfrm>
                <a:off x="6081713" y="4270375"/>
                <a:ext cx="923925" cy="38100"/>
              </a:xfrm>
              <a:custGeom>
                <a:avLst/>
                <a:gdLst>
                  <a:gd name="T0" fmla="*/ 280 w 286"/>
                  <a:gd name="T1" fmla="*/ 12 h 12"/>
                  <a:gd name="T2" fmla="*/ 6 w 286"/>
                  <a:gd name="T3" fmla="*/ 12 h 12"/>
                  <a:gd name="T4" fmla="*/ 0 w 286"/>
                  <a:gd name="T5" fmla="*/ 6 h 12"/>
                  <a:gd name="T6" fmla="*/ 6 w 286"/>
                  <a:gd name="T7" fmla="*/ 0 h 12"/>
                  <a:gd name="T8" fmla="*/ 280 w 286"/>
                  <a:gd name="T9" fmla="*/ 0 h 12"/>
                  <a:gd name="T10" fmla="*/ 286 w 286"/>
                  <a:gd name="T11" fmla="*/ 6 h 12"/>
                  <a:gd name="T12" fmla="*/ 280 w 28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6" h="12">
                    <a:moveTo>
                      <a:pt x="28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0" y="0"/>
                      <a:pt x="280" y="0"/>
                      <a:pt x="280" y="0"/>
                    </a:cubicBezTo>
                    <a:cubicBezTo>
                      <a:pt x="283" y="0"/>
                      <a:pt x="286" y="3"/>
                      <a:pt x="286" y="6"/>
                    </a:cubicBezTo>
                    <a:cubicBezTo>
                      <a:pt x="286" y="10"/>
                      <a:pt x="283" y="12"/>
                      <a:pt x="28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1185"/>
              <p:cNvSpPr>
                <a:spLocks/>
              </p:cNvSpPr>
              <p:nvPr/>
            </p:nvSpPr>
            <p:spPr bwMode="auto">
              <a:xfrm>
                <a:off x="6365875" y="3184525"/>
                <a:ext cx="760413" cy="314325"/>
              </a:xfrm>
              <a:custGeom>
                <a:avLst/>
                <a:gdLst>
                  <a:gd name="T0" fmla="*/ 6 w 235"/>
                  <a:gd name="T1" fmla="*/ 97 h 97"/>
                  <a:gd name="T2" fmla="*/ 5 w 235"/>
                  <a:gd name="T3" fmla="*/ 97 h 97"/>
                  <a:gd name="T4" fmla="*/ 0 w 235"/>
                  <a:gd name="T5" fmla="*/ 90 h 97"/>
                  <a:gd name="T6" fmla="*/ 45 w 235"/>
                  <a:gd name="T7" fmla="*/ 52 h 97"/>
                  <a:gd name="T8" fmla="*/ 68 w 235"/>
                  <a:gd name="T9" fmla="*/ 59 h 97"/>
                  <a:gd name="T10" fmla="*/ 111 w 235"/>
                  <a:gd name="T11" fmla="*/ 36 h 97"/>
                  <a:gd name="T12" fmla="*/ 132 w 235"/>
                  <a:gd name="T13" fmla="*/ 40 h 97"/>
                  <a:gd name="T14" fmla="*/ 161 w 235"/>
                  <a:gd name="T15" fmla="*/ 27 h 97"/>
                  <a:gd name="T16" fmla="*/ 198 w 235"/>
                  <a:gd name="T17" fmla="*/ 0 h 97"/>
                  <a:gd name="T18" fmla="*/ 235 w 235"/>
                  <a:gd name="T19" fmla="*/ 28 h 97"/>
                  <a:gd name="T20" fmla="*/ 230 w 235"/>
                  <a:gd name="T21" fmla="*/ 36 h 97"/>
                  <a:gd name="T22" fmla="*/ 223 w 235"/>
                  <a:gd name="T23" fmla="*/ 31 h 97"/>
                  <a:gd name="T24" fmla="*/ 198 w 235"/>
                  <a:gd name="T25" fmla="*/ 12 h 97"/>
                  <a:gd name="T26" fmla="*/ 172 w 235"/>
                  <a:gd name="T27" fmla="*/ 35 h 97"/>
                  <a:gd name="T28" fmla="*/ 169 w 235"/>
                  <a:gd name="T29" fmla="*/ 39 h 97"/>
                  <a:gd name="T30" fmla="*/ 164 w 235"/>
                  <a:gd name="T31" fmla="*/ 40 h 97"/>
                  <a:gd name="T32" fmla="*/ 158 w 235"/>
                  <a:gd name="T33" fmla="*/ 39 h 97"/>
                  <a:gd name="T34" fmla="*/ 140 w 235"/>
                  <a:gd name="T35" fmla="*/ 51 h 97"/>
                  <a:gd name="T36" fmla="*/ 136 w 235"/>
                  <a:gd name="T37" fmla="*/ 54 h 97"/>
                  <a:gd name="T38" fmla="*/ 131 w 235"/>
                  <a:gd name="T39" fmla="*/ 53 h 97"/>
                  <a:gd name="T40" fmla="*/ 111 w 235"/>
                  <a:gd name="T41" fmla="*/ 48 h 97"/>
                  <a:gd name="T42" fmla="*/ 75 w 235"/>
                  <a:gd name="T43" fmla="*/ 70 h 97"/>
                  <a:gd name="T44" fmla="*/ 71 w 235"/>
                  <a:gd name="T45" fmla="*/ 73 h 97"/>
                  <a:gd name="T46" fmla="*/ 66 w 235"/>
                  <a:gd name="T47" fmla="*/ 72 h 97"/>
                  <a:gd name="T48" fmla="*/ 45 w 235"/>
                  <a:gd name="T49" fmla="*/ 64 h 97"/>
                  <a:gd name="T50" fmla="*/ 12 w 235"/>
                  <a:gd name="T51" fmla="*/ 92 h 97"/>
                  <a:gd name="T52" fmla="*/ 6 w 235"/>
                  <a:gd name="T5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5" h="97">
                    <a:moveTo>
                      <a:pt x="6" y="97"/>
                    </a:moveTo>
                    <a:cubicBezTo>
                      <a:pt x="6" y="97"/>
                      <a:pt x="5" y="97"/>
                      <a:pt x="5" y="97"/>
                    </a:cubicBezTo>
                    <a:cubicBezTo>
                      <a:pt x="2" y="96"/>
                      <a:pt x="0" y="93"/>
                      <a:pt x="0" y="90"/>
                    </a:cubicBezTo>
                    <a:cubicBezTo>
                      <a:pt x="4" y="68"/>
                      <a:pt x="23" y="52"/>
                      <a:pt x="45" y="52"/>
                    </a:cubicBezTo>
                    <a:cubicBezTo>
                      <a:pt x="54" y="52"/>
                      <a:pt x="61" y="54"/>
                      <a:pt x="68" y="59"/>
                    </a:cubicBezTo>
                    <a:cubicBezTo>
                      <a:pt x="78" y="45"/>
                      <a:pt x="94" y="36"/>
                      <a:pt x="111" y="36"/>
                    </a:cubicBezTo>
                    <a:cubicBezTo>
                      <a:pt x="118" y="36"/>
                      <a:pt x="125" y="37"/>
                      <a:pt x="132" y="40"/>
                    </a:cubicBezTo>
                    <a:cubicBezTo>
                      <a:pt x="138" y="31"/>
                      <a:pt x="150" y="26"/>
                      <a:pt x="161" y="27"/>
                    </a:cubicBezTo>
                    <a:cubicBezTo>
                      <a:pt x="166" y="11"/>
                      <a:pt x="181" y="0"/>
                      <a:pt x="198" y="0"/>
                    </a:cubicBezTo>
                    <a:cubicBezTo>
                      <a:pt x="215" y="0"/>
                      <a:pt x="230" y="11"/>
                      <a:pt x="235" y="28"/>
                    </a:cubicBezTo>
                    <a:cubicBezTo>
                      <a:pt x="235" y="31"/>
                      <a:pt x="234" y="35"/>
                      <a:pt x="230" y="36"/>
                    </a:cubicBezTo>
                    <a:cubicBezTo>
                      <a:pt x="227" y="36"/>
                      <a:pt x="224" y="34"/>
                      <a:pt x="223" y="31"/>
                    </a:cubicBezTo>
                    <a:cubicBezTo>
                      <a:pt x="220" y="20"/>
                      <a:pt x="210" y="12"/>
                      <a:pt x="198" y="12"/>
                    </a:cubicBezTo>
                    <a:cubicBezTo>
                      <a:pt x="185" y="12"/>
                      <a:pt x="173" y="22"/>
                      <a:pt x="172" y="35"/>
                    </a:cubicBezTo>
                    <a:cubicBezTo>
                      <a:pt x="172" y="36"/>
                      <a:pt x="171" y="38"/>
                      <a:pt x="169" y="39"/>
                    </a:cubicBezTo>
                    <a:cubicBezTo>
                      <a:pt x="168" y="40"/>
                      <a:pt x="166" y="40"/>
                      <a:pt x="164" y="40"/>
                    </a:cubicBezTo>
                    <a:cubicBezTo>
                      <a:pt x="162" y="39"/>
                      <a:pt x="160" y="39"/>
                      <a:pt x="158" y="39"/>
                    </a:cubicBezTo>
                    <a:cubicBezTo>
                      <a:pt x="150" y="39"/>
                      <a:pt x="143" y="43"/>
                      <a:pt x="140" y="51"/>
                    </a:cubicBezTo>
                    <a:cubicBezTo>
                      <a:pt x="139" y="52"/>
                      <a:pt x="138" y="53"/>
                      <a:pt x="136" y="54"/>
                    </a:cubicBezTo>
                    <a:cubicBezTo>
                      <a:pt x="135" y="54"/>
                      <a:pt x="133" y="54"/>
                      <a:pt x="131" y="53"/>
                    </a:cubicBezTo>
                    <a:cubicBezTo>
                      <a:pt x="125" y="50"/>
                      <a:pt x="118" y="48"/>
                      <a:pt x="111" y="48"/>
                    </a:cubicBezTo>
                    <a:cubicBezTo>
                      <a:pt x="96" y="48"/>
                      <a:pt x="82" y="56"/>
                      <a:pt x="75" y="70"/>
                    </a:cubicBezTo>
                    <a:cubicBezTo>
                      <a:pt x="75" y="71"/>
                      <a:pt x="73" y="73"/>
                      <a:pt x="71" y="73"/>
                    </a:cubicBezTo>
                    <a:cubicBezTo>
                      <a:pt x="70" y="73"/>
                      <a:pt x="68" y="73"/>
                      <a:pt x="66" y="72"/>
                    </a:cubicBezTo>
                    <a:cubicBezTo>
                      <a:pt x="60" y="67"/>
                      <a:pt x="53" y="64"/>
                      <a:pt x="45" y="64"/>
                    </a:cubicBezTo>
                    <a:cubicBezTo>
                      <a:pt x="29" y="64"/>
                      <a:pt x="15" y="76"/>
                      <a:pt x="12" y="92"/>
                    </a:cubicBezTo>
                    <a:cubicBezTo>
                      <a:pt x="12" y="95"/>
                      <a:pt x="9" y="97"/>
                      <a:pt x="6" y="9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1186"/>
              <p:cNvSpPr>
                <a:spLocks/>
              </p:cNvSpPr>
              <p:nvPr/>
            </p:nvSpPr>
            <p:spPr bwMode="auto">
              <a:xfrm>
                <a:off x="6153150" y="3983038"/>
                <a:ext cx="180975" cy="258763"/>
              </a:xfrm>
              <a:custGeom>
                <a:avLst/>
                <a:gdLst>
                  <a:gd name="T0" fmla="*/ 6 w 56"/>
                  <a:gd name="T1" fmla="*/ 80 h 80"/>
                  <a:gd name="T2" fmla="*/ 0 w 56"/>
                  <a:gd name="T3" fmla="*/ 74 h 80"/>
                  <a:gd name="T4" fmla="*/ 0 w 56"/>
                  <a:gd name="T5" fmla="*/ 19 h 80"/>
                  <a:gd name="T6" fmla="*/ 13 w 56"/>
                  <a:gd name="T7" fmla="*/ 0 h 80"/>
                  <a:gd name="T8" fmla="*/ 50 w 56"/>
                  <a:gd name="T9" fmla="*/ 0 h 80"/>
                  <a:gd name="T10" fmla="*/ 56 w 56"/>
                  <a:gd name="T11" fmla="*/ 6 h 80"/>
                  <a:gd name="T12" fmla="*/ 50 w 56"/>
                  <a:gd name="T13" fmla="*/ 12 h 80"/>
                  <a:gd name="T14" fmla="*/ 14 w 56"/>
                  <a:gd name="T15" fmla="*/ 12 h 80"/>
                  <a:gd name="T16" fmla="*/ 12 w 56"/>
                  <a:gd name="T17" fmla="*/ 19 h 80"/>
                  <a:gd name="T18" fmla="*/ 12 w 56"/>
                  <a:gd name="T19" fmla="*/ 74 h 80"/>
                  <a:gd name="T20" fmla="*/ 6 w 56"/>
                  <a:gd name="T2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80">
                    <a:moveTo>
                      <a:pt x="6" y="80"/>
                    </a:moveTo>
                    <a:cubicBezTo>
                      <a:pt x="3" y="80"/>
                      <a:pt x="0" y="77"/>
                      <a:pt x="0" y="7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6" y="0"/>
                      <a:pt x="13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3" y="0"/>
                      <a:pt x="56" y="3"/>
                      <a:pt x="56" y="6"/>
                    </a:cubicBezTo>
                    <a:cubicBezTo>
                      <a:pt x="56" y="9"/>
                      <a:pt x="53" y="12"/>
                      <a:pt x="50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3" y="13"/>
                      <a:pt x="12" y="15"/>
                      <a:pt x="12" y="19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2" y="77"/>
                      <a:pt x="9" y="80"/>
                      <a:pt x="6" y="8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1187"/>
              <p:cNvSpPr>
                <a:spLocks/>
              </p:cNvSpPr>
              <p:nvPr/>
            </p:nvSpPr>
            <p:spPr bwMode="auto">
              <a:xfrm>
                <a:off x="6308725" y="3586163"/>
                <a:ext cx="147638" cy="652463"/>
              </a:xfrm>
              <a:custGeom>
                <a:avLst/>
                <a:gdLst>
                  <a:gd name="T0" fmla="*/ 40 w 46"/>
                  <a:gd name="T1" fmla="*/ 202 h 202"/>
                  <a:gd name="T2" fmla="*/ 34 w 46"/>
                  <a:gd name="T3" fmla="*/ 196 h 202"/>
                  <a:gd name="T4" fmla="*/ 34 w 46"/>
                  <a:gd name="T5" fmla="*/ 12 h 202"/>
                  <a:gd name="T6" fmla="*/ 12 w 46"/>
                  <a:gd name="T7" fmla="*/ 12 h 202"/>
                  <a:gd name="T8" fmla="*/ 12 w 46"/>
                  <a:gd name="T9" fmla="*/ 196 h 202"/>
                  <a:gd name="T10" fmla="*/ 6 w 46"/>
                  <a:gd name="T11" fmla="*/ 202 h 202"/>
                  <a:gd name="T12" fmla="*/ 0 w 46"/>
                  <a:gd name="T13" fmla="*/ 196 h 202"/>
                  <a:gd name="T14" fmla="*/ 0 w 46"/>
                  <a:gd name="T15" fmla="*/ 6 h 202"/>
                  <a:gd name="T16" fmla="*/ 6 w 46"/>
                  <a:gd name="T17" fmla="*/ 0 h 202"/>
                  <a:gd name="T18" fmla="*/ 40 w 46"/>
                  <a:gd name="T19" fmla="*/ 0 h 202"/>
                  <a:gd name="T20" fmla="*/ 46 w 46"/>
                  <a:gd name="T21" fmla="*/ 6 h 202"/>
                  <a:gd name="T22" fmla="*/ 46 w 46"/>
                  <a:gd name="T23" fmla="*/ 196 h 202"/>
                  <a:gd name="T24" fmla="*/ 40 w 46"/>
                  <a:gd name="T25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202">
                    <a:moveTo>
                      <a:pt x="40" y="202"/>
                    </a:moveTo>
                    <a:cubicBezTo>
                      <a:pt x="36" y="202"/>
                      <a:pt x="34" y="200"/>
                      <a:pt x="34" y="196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96"/>
                      <a:pt x="12" y="196"/>
                      <a:pt x="12" y="196"/>
                    </a:cubicBezTo>
                    <a:cubicBezTo>
                      <a:pt x="12" y="200"/>
                      <a:pt x="10" y="202"/>
                      <a:pt x="6" y="202"/>
                    </a:cubicBezTo>
                    <a:cubicBezTo>
                      <a:pt x="3" y="202"/>
                      <a:pt x="0" y="200"/>
                      <a:pt x="0" y="19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3" y="0"/>
                      <a:pt x="46" y="2"/>
                      <a:pt x="46" y="6"/>
                    </a:cubicBezTo>
                    <a:cubicBezTo>
                      <a:pt x="46" y="196"/>
                      <a:pt x="46" y="196"/>
                      <a:pt x="46" y="196"/>
                    </a:cubicBezTo>
                    <a:cubicBezTo>
                      <a:pt x="46" y="200"/>
                      <a:pt x="43" y="202"/>
                      <a:pt x="40" y="20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1188"/>
              <p:cNvSpPr>
                <a:spLocks/>
              </p:cNvSpPr>
              <p:nvPr/>
            </p:nvSpPr>
            <p:spPr bwMode="auto">
              <a:xfrm>
                <a:off x="6464300" y="3860800"/>
                <a:ext cx="496888" cy="374650"/>
              </a:xfrm>
              <a:custGeom>
                <a:avLst/>
                <a:gdLst>
                  <a:gd name="T0" fmla="*/ 148 w 154"/>
                  <a:gd name="T1" fmla="*/ 116 h 116"/>
                  <a:gd name="T2" fmla="*/ 142 w 154"/>
                  <a:gd name="T3" fmla="*/ 110 h 116"/>
                  <a:gd name="T4" fmla="*/ 142 w 154"/>
                  <a:gd name="T5" fmla="*/ 31 h 116"/>
                  <a:gd name="T6" fmla="*/ 129 w 154"/>
                  <a:gd name="T7" fmla="*/ 16 h 116"/>
                  <a:gd name="T8" fmla="*/ 108 w 154"/>
                  <a:gd name="T9" fmla="*/ 34 h 116"/>
                  <a:gd name="T10" fmla="*/ 100 w 154"/>
                  <a:gd name="T11" fmla="*/ 33 h 116"/>
                  <a:gd name="T12" fmla="*/ 79 w 154"/>
                  <a:gd name="T13" fmla="*/ 14 h 116"/>
                  <a:gd name="T14" fmla="*/ 58 w 154"/>
                  <a:gd name="T15" fmla="*/ 33 h 116"/>
                  <a:gd name="T16" fmla="*/ 50 w 154"/>
                  <a:gd name="T17" fmla="*/ 33 h 116"/>
                  <a:gd name="T18" fmla="*/ 31 w 154"/>
                  <a:gd name="T19" fmla="*/ 15 h 116"/>
                  <a:gd name="T20" fmla="*/ 10 w 154"/>
                  <a:gd name="T21" fmla="*/ 33 h 116"/>
                  <a:gd name="T22" fmla="*/ 2 w 154"/>
                  <a:gd name="T23" fmla="*/ 33 h 116"/>
                  <a:gd name="T24" fmla="*/ 2 w 154"/>
                  <a:gd name="T25" fmla="*/ 24 h 116"/>
                  <a:gd name="T26" fmla="*/ 27 w 154"/>
                  <a:gd name="T27" fmla="*/ 3 h 116"/>
                  <a:gd name="T28" fmla="*/ 35 w 154"/>
                  <a:gd name="T29" fmla="*/ 3 h 116"/>
                  <a:gd name="T30" fmla="*/ 54 w 154"/>
                  <a:gd name="T31" fmla="*/ 21 h 116"/>
                  <a:gd name="T32" fmla="*/ 75 w 154"/>
                  <a:gd name="T33" fmla="*/ 2 h 116"/>
                  <a:gd name="T34" fmla="*/ 83 w 154"/>
                  <a:gd name="T35" fmla="*/ 2 h 116"/>
                  <a:gd name="T36" fmla="*/ 104 w 154"/>
                  <a:gd name="T37" fmla="*/ 21 h 116"/>
                  <a:gd name="T38" fmla="*/ 126 w 154"/>
                  <a:gd name="T39" fmla="*/ 2 h 116"/>
                  <a:gd name="T40" fmla="*/ 130 w 154"/>
                  <a:gd name="T41" fmla="*/ 1 h 116"/>
                  <a:gd name="T42" fmla="*/ 134 w 154"/>
                  <a:gd name="T43" fmla="*/ 3 h 116"/>
                  <a:gd name="T44" fmla="*/ 152 w 154"/>
                  <a:gd name="T45" fmla="*/ 25 h 116"/>
                  <a:gd name="T46" fmla="*/ 154 w 154"/>
                  <a:gd name="T47" fmla="*/ 29 h 116"/>
                  <a:gd name="T48" fmla="*/ 154 w 154"/>
                  <a:gd name="T49" fmla="*/ 110 h 116"/>
                  <a:gd name="T50" fmla="*/ 148 w 154"/>
                  <a:gd name="T51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4" h="116">
                    <a:moveTo>
                      <a:pt x="148" y="116"/>
                    </a:moveTo>
                    <a:cubicBezTo>
                      <a:pt x="145" y="116"/>
                      <a:pt x="142" y="114"/>
                      <a:pt x="142" y="110"/>
                    </a:cubicBezTo>
                    <a:cubicBezTo>
                      <a:pt x="142" y="31"/>
                      <a:pt x="142" y="31"/>
                      <a:pt x="142" y="31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5" y="35"/>
                      <a:pt x="102" y="35"/>
                      <a:pt x="100" y="33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58" y="33"/>
                      <a:pt x="58" y="33"/>
                      <a:pt x="58" y="33"/>
                    </a:cubicBezTo>
                    <a:cubicBezTo>
                      <a:pt x="55" y="35"/>
                      <a:pt x="52" y="35"/>
                      <a:pt x="50" y="33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6"/>
                      <a:pt x="4" y="35"/>
                      <a:pt x="2" y="33"/>
                    </a:cubicBezTo>
                    <a:cubicBezTo>
                      <a:pt x="0" y="30"/>
                      <a:pt x="0" y="27"/>
                      <a:pt x="2" y="24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9" y="1"/>
                      <a:pt x="33" y="1"/>
                      <a:pt x="35" y="3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75" y="2"/>
                      <a:pt x="75" y="2"/>
                      <a:pt x="75" y="2"/>
                    </a:cubicBezTo>
                    <a:cubicBezTo>
                      <a:pt x="77" y="0"/>
                      <a:pt x="81" y="0"/>
                      <a:pt x="83" y="2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7" y="1"/>
                      <a:pt x="129" y="1"/>
                      <a:pt x="130" y="1"/>
                    </a:cubicBezTo>
                    <a:cubicBezTo>
                      <a:pt x="132" y="1"/>
                      <a:pt x="133" y="2"/>
                      <a:pt x="134" y="3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3" y="26"/>
                      <a:pt x="154" y="28"/>
                      <a:pt x="154" y="29"/>
                    </a:cubicBezTo>
                    <a:cubicBezTo>
                      <a:pt x="154" y="110"/>
                      <a:pt x="154" y="110"/>
                      <a:pt x="154" y="110"/>
                    </a:cubicBezTo>
                    <a:cubicBezTo>
                      <a:pt x="154" y="114"/>
                      <a:pt x="151" y="116"/>
                      <a:pt x="148" y="1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1189"/>
              <p:cNvSpPr>
                <a:spLocks/>
              </p:cNvSpPr>
              <p:nvPr/>
            </p:nvSpPr>
            <p:spPr bwMode="auto">
              <a:xfrm>
                <a:off x="6489700" y="4027488"/>
                <a:ext cx="390525" cy="39688"/>
              </a:xfrm>
              <a:custGeom>
                <a:avLst/>
                <a:gdLst>
                  <a:gd name="T0" fmla="*/ 115 w 121"/>
                  <a:gd name="T1" fmla="*/ 12 h 12"/>
                  <a:gd name="T2" fmla="*/ 6 w 121"/>
                  <a:gd name="T3" fmla="*/ 12 h 12"/>
                  <a:gd name="T4" fmla="*/ 0 w 121"/>
                  <a:gd name="T5" fmla="*/ 6 h 12"/>
                  <a:gd name="T6" fmla="*/ 6 w 121"/>
                  <a:gd name="T7" fmla="*/ 0 h 12"/>
                  <a:gd name="T8" fmla="*/ 115 w 121"/>
                  <a:gd name="T9" fmla="*/ 0 h 12"/>
                  <a:gd name="T10" fmla="*/ 121 w 121"/>
                  <a:gd name="T11" fmla="*/ 6 h 12"/>
                  <a:gd name="T12" fmla="*/ 115 w 12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2">
                    <a:moveTo>
                      <a:pt x="11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9" y="0"/>
                      <a:pt x="121" y="3"/>
                      <a:pt x="121" y="6"/>
                    </a:cubicBezTo>
                    <a:cubicBezTo>
                      <a:pt x="121" y="10"/>
                      <a:pt x="119" y="12"/>
                      <a:pt x="11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4" name="Group 1064"/>
            <p:cNvGrpSpPr/>
            <p:nvPr/>
          </p:nvGrpSpPr>
          <p:grpSpPr>
            <a:xfrm>
              <a:off x="4137743" y="3143218"/>
              <a:ext cx="440200" cy="594062"/>
              <a:chOff x="9929813" y="3343275"/>
              <a:chExt cx="400050" cy="962025"/>
            </a:xfrm>
            <a:solidFill>
              <a:schemeClr val="tx1"/>
            </a:solidFill>
          </p:grpSpPr>
          <p:sp>
            <p:nvSpPr>
              <p:cNvPr id="75" name="Freeform 1250"/>
              <p:cNvSpPr>
                <a:spLocks/>
              </p:cNvSpPr>
              <p:nvPr/>
            </p:nvSpPr>
            <p:spPr bwMode="auto">
              <a:xfrm>
                <a:off x="10013950" y="4273550"/>
                <a:ext cx="234950" cy="31750"/>
              </a:xfrm>
              <a:custGeom>
                <a:avLst/>
                <a:gdLst>
                  <a:gd name="T0" fmla="*/ 68 w 73"/>
                  <a:gd name="T1" fmla="*/ 10 h 10"/>
                  <a:gd name="T2" fmla="*/ 5 w 73"/>
                  <a:gd name="T3" fmla="*/ 10 h 10"/>
                  <a:gd name="T4" fmla="*/ 0 w 73"/>
                  <a:gd name="T5" fmla="*/ 5 h 10"/>
                  <a:gd name="T6" fmla="*/ 5 w 73"/>
                  <a:gd name="T7" fmla="*/ 0 h 10"/>
                  <a:gd name="T8" fmla="*/ 68 w 73"/>
                  <a:gd name="T9" fmla="*/ 0 h 10"/>
                  <a:gd name="T10" fmla="*/ 73 w 73"/>
                  <a:gd name="T11" fmla="*/ 5 h 10"/>
                  <a:gd name="T12" fmla="*/ 68 w 73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0">
                    <a:moveTo>
                      <a:pt x="68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3" y="3"/>
                      <a:pt x="73" y="5"/>
                    </a:cubicBezTo>
                    <a:cubicBezTo>
                      <a:pt x="73" y="8"/>
                      <a:pt x="70" y="10"/>
                      <a:pt x="6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1251"/>
              <p:cNvSpPr>
                <a:spLocks/>
              </p:cNvSpPr>
              <p:nvPr/>
            </p:nvSpPr>
            <p:spPr bwMode="auto">
              <a:xfrm>
                <a:off x="10117138" y="4073525"/>
                <a:ext cx="31750" cy="196850"/>
              </a:xfrm>
              <a:custGeom>
                <a:avLst/>
                <a:gdLst>
                  <a:gd name="T0" fmla="*/ 5 w 10"/>
                  <a:gd name="T1" fmla="*/ 61 h 61"/>
                  <a:gd name="T2" fmla="*/ 0 w 10"/>
                  <a:gd name="T3" fmla="*/ 56 h 61"/>
                  <a:gd name="T4" fmla="*/ 0 w 10"/>
                  <a:gd name="T5" fmla="*/ 5 h 61"/>
                  <a:gd name="T6" fmla="*/ 5 w 10"/>
                  <a:gd name="T7" fmla="*/ 0 h 61"/>
                  <a:gd name="T8" fmla="*/ 10 w 10"/>
                  <a:gd name="T9" fmla="*/ 5 h 61"/>
                  <a:gd name="T10" fmla="*/ 10 w 10"/>
                  <a:gd name="T11" fmla="*/ 56 h 61"/>
                  <a:gd name="T12" fmla="*/ 5 w 10"/>
                  <a:gd name="T1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1">
                    <a:moveTo>
                      <a:pt x="5" y="61"/>
                    </a:moveTo>
                    <a:cubicBezTo>
                      <a:pt x="2" y="61"/>
                      <a:pt x="0" y="59"/>
                      <a:pt x="0" y="5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5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59"/>
                      <a:pt x="8" y="61"/>
                      <a:pt x="5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1252"/>
              <p:cNvSpPr>
                <a:spLocks noEditPoints="1"/>
              </p:cNvSpPr>
              <p:nvPr/>
            </p:nvSpPr>
            <p:spPr bwMode="auto">
              <a:xfrm>
                <a:off x="9929813" y="3860800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6 w 62"/>
                  <a:gd name="T5" fmla="*/ 46 h 63"/>
                  <a:gd name="T6" fmla="*/ 1 w 62"/>
                  <a:gd name="T7" fmla="*/ 5 h 63"/>
                  <a:gd name="T8" fmla="*/ 2 w 62"/>
                  <a:gd name="T9" fmla="*/ 2 h 63"/>
                  <a:gd name="T10" fmla="*/ 6 w 62"/>
                  <a:gd name="T11" fmla="*/ 0 h 63"/>
                  <a:gd name="T12" fmla="*/ 61 w 62"/>
                  <a:gd name="T13" fmla="*/ 58 h 63"/>
                  <a:gd name="T14" fmla="*/ 56 w 62"/>
                  <a:gd name="T15" fmla="*/ 63 h 63"/>
                  <a:gd name="T16" fmla="*/ 11 w 62"/>
                  <a:gd name="T17" fmla="*/ 11 h 63"/>
                  <a:gd name="T18" fmla="*/ 24 w 62"/>
                  <a:gd name="T19" fmla="*/ 39 h 63"/>
                  <a:gd name="T20" fmla="*/ 51 w 62"/>
                  <a:gd name="T21" fmla="*/ 53 h 63"/>
                  <a:gd name="T22" fmla="*/ 11 w 62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3"/>
                      <a:pt x="27" y="56"/>
                      <a:pt x="16" y="46"/>
                    </a:cubicBezTo>
                    <a:cubicBezTo>
                      <a:pt x="6" y="35"/>
                      <a:pt x="0" y="20"/>
                      <a:pt x="1" y="5"/>
                    </a:cubicBezTo>
                    <a:cubicBezTo>
                      <a:pt x="1" y="4"/>
                      <a:pt x="1" y="2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1"/>
                      <a:pt x="59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2" y="21"/>
                      <a:pt x="16" y="31"/>
                      <a:pt x="24" y="39"/>
                    </a:cubicBezTo>
                    <a:cubicBezTo>
                      <a:pt x="31" y="46"/>
                      <a:pt x="41" y="51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1253"/>
              <p:cNvSpPr>
                <a:spLocks noEditPoints="1"/>
              </p:cNvSpPr>
              <p:nvPr/>
            </p:nvSpPr>
            <p:spPr bwMode="auto">
              <a:xfrm>
                <a:off x="10133013" y="3860800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56 w 61"/>
                  <a:gd name="T5" fmla="*/ 0 h 63"/>
                  <a:gd name="T6" fmla="*/ 59 w 61"/>
                  <a:gd name="T7" fmla="*/ 2 h 63"/>
                  <a:gd name="T8" fmla="*/ 61 w 61"/>
                  <a:gd name="T9" fmla="*/ 5 h 63"/>
                  <a:gd name="T10" fmla="*/ 45 w 61"/>
                  <a:gd name="T11" fmla="*/ 46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38 w 61"/>
                  <a:gd name="T21" fmla="*/ 39 h 63"/>
                  <a:gd name="T22" fmla="*/ 51 w 61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1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2"/>
                      <a:pt x="61" y="4"/>
                      <a:pt x="61" y="5"/>
                    </a:cubicBezTo>
                    <a:cubicBezTo>
                      <a:pt x="61" y="20"/>
                      <a:pt x="56" y="35"/>
                      <a:pt x="45" y="46"/>
                    </a:cubicBezTo>
                    <a:cubicBezTo>
                      <a:pt x="35" y="56"/>
                      <a:pt x="21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21" y="51"/>
                      <a:pt x="30" y="46"/>
                      <a:pt x="38" y="39"/>
                    </a:cubicBezTo>
                    <a:cubicBezTo>
                      <a:pt x="45" y="31"/>
                      <a:pt x="50" y="21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1254"/>
              <p:cNvSpPr>
                <a:spLocks noEditPoints="1"/>
              </p:cNvSpPr>
              <p:nvPr/>
            </p:nvSpPr>
            <p:spPr bwMode="auto">
              <a:xfrm>
                <a:off x="9929813" y="3692525"/>
                <a:ext cx="196850" cy="203200"/>
              </a:xfrm>
              <a:custGeom>
                <a:avLst/>
                <a:gdLst>
                  <a:gd name="T0" fmla="*/ 56 w 61"/>
                  <a:gd name="T1" fmla="*/ 63 h 63"/>
                  <a:gd name="T2" fmla="*/ 56 w 61"/>
                  <a:gd name="T3" fmla="*/ 63 h 63"/>
                  <a:gd name="T4" fmla="*/ 16 w 61"/>
                  <a:gd name="T5" fmla="*/ 45 h 63"/>
                  <a:gd name="T6" fmla="*/ 1 w 61"/>
                  <a:gd name="T7" fmla="*/ 5 h 63"/>
                  <a:gd name="T8" fmla="*/ 6 w 61"/>
                  <a:gd name="T9" fmla="*/ 0 h 63"/>
                  <a:gd name="T10" fmla="*/ 45 w 61"/>
                  <a:gd name="T11" fmla="*/ 17 h 63"/>
                  <a:gd name="T12" fmla="*/ 61 w 61"/>
                  <a:gd name="T13" fmla="*/ 58 h 63"/>
                  <a:gd name="T14" fmla="*/ 56 w 61"/>
                  <a:gd name="T15" fmla="*/ 63 h 63"/>
                  <a:gd name="T16" fmla="*/ 11 w 61"/>
                  <a:gd name="T17" fmla="*/ 10 h 63"/>
                  <a:gd name="T18" fmla="*/ 24 w 61"/>
                  <a:gd name="T19" fmla="*/ 38 h 63"/>
                  <a:gd name="T20" fmla="*/ 51 w 61"/>
                  <a:gd name="T21" fmla="*/ 52 h 63"/>
                  <a:gd name="T22" fmla="*/ 38 w 61"/>
                  <a:gd name="T23" fmla="*/ 24 h 63"/>
                  <a:gd name="T24" fmla="*/ 1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2"/>
                      <a:pt x="27" y="56"/>
                      <a:pt x="16" y="45"/>
                    </a:cubicBezTo>
                    <a:cubicBezTo>
                      <a:pt x="6" y="34"/>
                      <a:pt x="0" y="20"/>
                      <a:pt x="1" y="5"/>
                    </a:cubicBezTo>
                    <a:cubicBezTo>
                      <a:pt x="1" y="2"/>
                      <a:pt x="3" y="0"/>
                      <a:pt x="6" y="0"/>
                    </a:cubicBezTo>
                    <a:cubicBezTo>
                      <a:pt x="21" y="0"/>
                      <a:pt x="35" y="6"/>
                      <a:pt x="45" y="17"/>
                    </a:cubicBezTo>
                    <a:cubicBezTo>
                      <a:pt x="56" y="28"/>
                      <a:pt x="61" y="43"/>
                      <a:pt x="61" y="58"/>
                    </a:cubicBezTo>
                    <a:cubicBezTo>
                      <a:pt x="61" y="60"/>
                      <a:pt x="59" y="63"/>
                      <a:pt x="56" y="63"/>
                    </a:cubicBezTo>
                    <a:close/>
                    <a:moveTo>
                      <a:pt x="11" y="10"/>
                    </a:moveTo>
                    <a:cubicBezTo>
                      <a:pt x="12" y="21"/>
                      <a:pt x="16" y="30"/>
                      <a:pt x="24" y="38"/>
                    </a:cubicBezTo>
                    <a:cubicBezTo>
                      <a:pt x="31" y="46"/>
                      <a:pt x="41" y="51"/>
                      <a:pt x="51" y="52"/>
                    </a:cubicBezTo>
                    <a:cubicBezTo>
                      <a:pt x="50" y="42"/>
                      <a:pt x="46" y="32"/>
                      <a:pt x="38" y="24"/>
                    </a:cubicBezTo>
                    <a:cubicBezTo>
                      <a:pt x="31" y="16"/>
                      <a:pt x="21" y="12"/>
                      <a:pt x="1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1255"/>
              <p:cNvSpPr>
                <a:spLocks noEditPoints="1"/>
              </p:cNvSpPr>
              <p:nvPr/>
            </p:nvSpPr>
            <p:spPr bwMode="auto">
              <a:xfrm>
                <a:off x="10133013" y="369252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16 w 61"/>
                  <a:gd name="T5" fmla="*/ 17 h 63"/>
                  <a:gd name="T6" fmla="*/ 56 w 61"/>
                  <a:gd name="T7" fmla="*/ 0 h 63"/>
                  <a:gd name="T8" fmla="*/ 61 w 61"/>
                  <a:gd name="T9" fmla="*/ 5 h 63"/>
                  <a:gd name="T10" fmla="*/ 45 w 61"/>
                  <a:gd name="T11" fmla="*/ 4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0 h 63"/>
                  <a:gd name="T18" fmla="*/ 23 w 61"/>
                  <a:gd name="T19" fmla="*/ 24 h 63"/>
                  <a:gd name="T20" fmla="*/ 10 w 61"/>
                  <a:gd name="T21" fmla="*/ 52 h 63"/>
                  <a:gd name="T22" fmla="*/ 38 w 61"/>
                  <a:gd name="T23" fmla="*/ 38 h 63"/>
                  <a:gd name="T24" fmla="*/ 5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0"/>
                      <a:pt x="0" y="58"/>
                    </a:cubicBezTo>
                    <a:cubicBezTo>
                      <a:pt x="0" y="43"/>
                      <a:pt x="6" y="28"/>
                      <a:pt x="16" y="17"/>
                    </a:cubicBezTo>
                    <a:cubicBezTo>
                      <a:pt x="26" y="6"/>
                      <a:pt x="41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20"/>
                      <a:pt x="56" y="34"/>
                      <a:pt x="45" y="45"/>
                    </a:cubicBezTo>
                    <a:cubicBezTo>
                      <a:pt x="35" y="56"/>
                      <a:pt x="21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0"/>
                    </a:moveTo>
                    <a:cubicBezTo>
                      <a:pt x="40" y="12"/>
                      <a:pt x="31" y="16"/>
                      <a:pt x="23" y="24"/>
                    </a:cubicBezTo>
                    <a:cubicBezTo>
                      <a:pt x="16" y="32"/>
                      <a:pt x="11" y="42"/>
                      <a:pt x="10" y="52"/>
                    </a:cubicBezTo>
                    <a:cubicBezTo>
                      <a:pt x="21" y="51"/>
                      <a:pt x="30" y="46"/>
                      <a:pt x="38" y="38"/>
                    </a:cubicBezTo>
                    <a:cubicBezTo>
                      <a:pt x="45" y="30"/>
                      <a:pt x="50" y="21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1256"/>
              <p:cNvSpPr>
                <a:spLocks noEditPoints="1"/>
              </p:cNvSpPr>
              <p:nvPr/>
            </p:nvSpPr>
            <p:spPr bwMode="auto">
              <a:xfrm>
                <a:off x="9929813" y="3521075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 w 62"/>
                  <a:gd name="T5" fmla="*/ 5 h 63"/>
                  <a:gd name="T6" fmla="*/ 2 w 62"/>
                  <a:gd name="T7" fmla="*/ 2 h 63"/>
                  <a:gd name="T8" fmla="*/ 6 w 62"/>
                  <a:gd name="T9" fmla="*/ 0 h 63"/>
                  <a:gd name="T10" fmla="*/ 61 w 62"/>
                  <a:gd name="T11" fmla="*/ 58 h 63"/>
                  <a:gd name="T12" fmla="*/ 60 w 62"/>
                  <a:gd name="T13" fmla="*/ 62 h 63"/>
                  <a:gd name="T14" fmla="*/ 56 w 62"/>
                  <a:gd name="T15" fmla="*/ 63 h 63"/>
                  <a:gd name="T16" fmla="*/ 11 w 62"/>
                  <a:gd name="T17" fmla="*/ 11 h 63"/>
                  <a:gd name="T18" fmla="*/ 51 w 62"/>
                  <a:gd name="T19" fmla="*/ 53 h 63"/>
                  <a:gd name="T20" fmla="*/ 11 w 62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25" y="62"/>
                      <a:pt x="0" y="36"/>
                      <a:pt x="1" y="5"/>
                    </a:cubicBezTo>
                    <a:cubicBezTo>
                      <a:pt x="1" y="4"/>
                      <a:pt x="1" y="3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0"/>
                      <a:pt x="61" y="61"/>
                      <a:pt x="60" y="62"/>
                    </a:cubicBezTo>
                    <a:cubicBezTo>
                      <a:pt x="59" y="63"/>
                      <a:pt x="57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3" y="32"/>
                      <a:pt x="30" y="50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1257"/>
              <p:cNvSpPr>
                <a:spLocks noEditPoints="1"/>
              </p:cNvSpPr>
              <p:nvPr/>
            </p:nvSpPr>
            <p:spPr bwMode="auto">
              <a:xfrm>
                <a:off x="10133013" y="352107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2 w 61"/>
                  <a:gd name="T3" fmla="*/ 62 h 63"/>
                  <a:gd name="T4" fmla="*/ 0 w 61"/>
                  <a:gd name="T5" fmla="*/ 58 h 63"/>
                  <a:gd name="T6" fmla="*/ 56 w 61"/>
                  <a:gd name="T7" fmla="*/ 0 h 63"/>
                  <a:gd name="T8" fmla="*/ 59 w 61"/>
                  <a:gd name="T9" fmla="*/ 2 h 63"/>
                  <a:gd name="T10" fmla="*/ 61 w 61"/>
                  <a:gd name="T11" fmla="*/ 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51 w 61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4" y="63"/>
                      <a:pt x="3" y="63"/>
                      <a:pt x="2" y="62"/>
                    </a:cubicBezTo>
                    <a:cubicBezTo>
                      <a:pt x="1" y="61"/>
                      <a:pt x="0" y="60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3"/>
                      <a:pt x="61" y="4"/>
                      <a:pt x="61" y="5"/>
                    </a:cubicBezTo>
                    <a:cubicBezTo>
                      <a:pt x="61" y="36"/>
                      <a:pt x="37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32" y="50"/>
                      <a:pt x="49" y="32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1258"/>
              <p:cNvSpPr>
                <a:spLocks noEditPoints="1"/>
              </p:cNvSpPr>
              <p:nvPr/>
            </p:nvSpPr>
            <p:spPr bwMode="auto">
              <a:xfrm>
                <a:off x="10048875" y="3343275"/>
                <a:ext cx="168275" cy="268288"/>
              </a:xfrm>
              <a:custGeom>
                <a:avLst/>
                <a:gdLst>
                  <a:gd name="T0" fmla="*/ 27 w 52"/>
                  <a:gd name="T1" fmla="*/ 83 h 83"/>
                  <a:gd name="T2" fmla="*/ 24 w 52"/>
                  <a:gd name="T3" fmla="*/ 82 h 83"/>
                  <a:gd name="T4" fmla="*/ 22 w 52"/>
                  <a:gd name="T5" fmla="*/ 2 h 83"/>
                  <a:gd name="T6" fmla="*/ 25 w 52"/>
                  <a:gd name="T7" fmla="*/ 0 h 83"/>
                  <a:gd name="T8" fmla="*/ 29 w 52"/>
                  <a:gd name="T9" fmla="*/ 2 h 83"/>
                  <a:gd name="T10" fmla="*/ 31 w 52"/>
                  <a:gd name="T11" fmla="*/ 82 h 83"/>
                  <a:gd name="T12" fmla="*/ 27 w 52"/>
                  <a:gd name="T13" fmla="*/ 83 h 83"/>
                  <a:gd name="T14" fmla="*/ 27 w 52"/>
                  <a:gd name="T15" fmla="*/ 83 h 83"/>
                  <a:gd name="T16" fmla="*/ 26 w 52"/>
                  <a:gd name="T17" fmla="*/ 13 h 83"/>
                  <a:gd name="T18" fmla="*/ 27 w 52"/>
                  <a:gd name="T19" fmla="*/ 71 h 83"/>
                  <a:gd name="T20" fmla="*/ 26 w 52"/>
                  <a:gd name="T21" fmla="*/ 1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83">
                    <a:moveTo>
                      <a:pt x="27" y="83"/>
                    </a:moveTo>
                    <a:cubicBezTo>
                      <a:pt x="26" y="83"/>
                      <a:pt x="25" y="83"/>
                      <a:pt x="24" y="82"/>
                    </a:cubicBezTo>
                    <a:cubicBezTo>
                      <a:pt x="1" y="60"/>
                      <a:pt x="0" y="24"/>
                      <a:pt x="22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27" y="0"/>
                      <a:pt x="28" y="1"/>
                      <a:pt x="29" y="2"/>
                    </a:cubicBezTo>
                    <a:cubicBezTo>
                      <a:pt x="51" y="23"/>
                      <a:pt x="52" y="59"/>
                      <a:pt x="31" y="82"/>
                    </a:cubicBezTo>
                    <a:cubicBezTo>
                      <a:pt x="30" y="83"/>
                      <a:pt x="29" y="83"/>
                      <a:pt x="27" y="83"/>
                    </a:cubicBezTo>
                    <a:cubicBezTo>
                      <a:pt x="27" y="83"/>
                      <a:pt x="27" y="83"/>
                      <a:pt x="27" y="83"/>
                    </a:cubicBezTo>
                    <a:close/>
                    <a:moveTo>
                      <a:pt x="26" y="13"/>
                    </a:moveTo>
                    <a:cubicBezTo>
                      <a:pt x="12" y="30"/>
                      <a:pt x="13" y="54"/>
                      <a:pt x="27" y="71"/>
                    </a:cubicBezTo>
                    <a:cubicBezTo>
                      <a:pt x="40" y="54"/>
                      <a:pt x="39" y="29"/>
                      <a:pt x="2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84" name="Скругленный прямоугольник 83"/>
          <p:cNvSpPr/>
          <p:nvPr/>
        </p:nvSpPr>
        <p:spPr>
          <a:xfrm>
            <a:off x="5630454" y="4822429"/>
            <a:ext cx="3235723" cy="3121350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5631046" y="3965409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Ожидаемые результаты</a:t>
            </a:r>
            <a:endParaRPr lang="ru-RU" dirty="0"/>
          </a:p>
        </p:txBody>
      </p:sp>
      <p:sp>
        <p:nvSpPr>
          <p:cNvPr id="106" name="Прямоугольник 105"/>
          <p:cNvSpPr/>
          <p:nvPr/>
        </p:nvSpPr>
        <p:spPr>
          <a:xfrm>
            <a:off x="384715" y="7943778"/>
            <a:ext cx="12215274" cy="59603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Приоритетный проект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«Малый бизнес и поддержка индивидуальной предпринимательской инициативы» (протокол от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7.12.2016 №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15)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В том числе в рамках реализации мероприятий по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развитию сельскохозяйственной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кооперации</a:t>
            </a:r>
          </a:p>
        </p:txBody>
      </p:sp>
      <p:sp>
        <p:nvSpPr>
          <p:cNvPr id="88" name="Прямоугольник 87"/>
          <p:cNvSpPr/>
          <p:nvPr/>
        </p:nvSpPr>
        <p:spPr>
          <a:xfrm>
            <a:off x="9060407" y="4822428"/>
            <a:ext cx="3258590" cy="60722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 defTabSz="957263">
              <a:lnSpc>
                <a:spcPct val="106000"/>
              </a:lnSpc>
              <a:spcBef>
                <a:spcPts val="2400"/>
              </a:spcBef>
            </a:pPr>
            <a:r>
              <a:rPr lang="ru-RU" sz="14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ъем лизинговой поддержки</a:t>
            </a: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, оказанной РЛК 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субъектам </a:t>
            </a: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ИМП, составит  </a:t>
            </a:r>
            <a:r>
              <a:rPr lang="ru-RU" sz="1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не менее </a:t>
            </a:r>
            <a:r>
              <a:rPr lang="ru-RU" sz="1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,8 млрд </a:t>
            </a:r>
            <a:r>
              <a:rPr lang="ru-RU" sz="16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.</a:t>
            </a:r>
            <a:endParaRPr lang="ru-RU" sz="1600" b="1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92" name="Прямоугольник 91"/>
          <p:cNvSpPr/>
          <p:nvPr/>
        </p:nvSpPr>
        <p:spPr>
          <a:xfrm>
            <a:off x="5631046" y="4442702"/>
            <a:ext cx="3235131" cy="30447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anchor="ctr">
            <a:noAutofit/>
          </a:bodyPr>
          <a:lstStyle/>
          <a:p>
            <a:pPr indent="-168275" algn="ctr"/>
            <a:r>
              <a:rPr lang="ru-RU" sz="16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017</a:t>
            </a:r>
            <a:endParaRPr lang="ru-RU" sz="16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9060407" y="4442702"/>
            <a:ext cx="3258590" cy="304478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square" anchor="ctr">
            <a:noAutofit/>
          </a:bodyPr>
          <a:lstStyle/>
          <a:p>
            <a:pPr indent="-168275" algn="ctr"/>
            <a:r>
              <a:rPr lang="ru-RU" sz="1600" b="1" dirty="0" smtClean="0">
                <a:latin typeface="Arial Narrow" panose="020B0606020202030204" pitchFamily="34" charset="0"/>
                <a:cs typeface="Times New Roman" panose="02020603050405020304" pitchFamily="18" charset="0"/>
              </a:rPr>
              <a:t>2018</a:t>
            </a:r>
            <a:endParaRPr lang="ru-RU" sz="16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5631046" y="4822428"/>
            <a:ext cx="3235131" cy="607222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 defTabSz="957263">
              <a:lnSpc>
                <a:spcPct val="106000"/>
              </a:lnSpc>
            </a:pPr>
            <a:r>
              <a:rPr lang="ru-RU" sz="14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ъем лизинговой </a:t>
            </a:r>
            <a:r>
              <a:rPr lang="ru-RU" sz="1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ддержки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, оказанной РЛК субъектам </a:t>
            </a: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ИМП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, составит </a:t>
            </a:r>
            <a:r>
              <a:rPr lang="ru-RU" sz="1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не менее </a:t>
            </a:r>
            <a:r>
              <a:rPr lang="ru-RU" sz="16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0 млн </a:t>
            </a:r>
            <a:r>
              <a:rPr lang="ru-RU" sz="16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. </a:t>
            </a:r>
            <a:endParaRPr lang="ru-RU" sz="1400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 defTabSz="957263">
              <a:lnSpc>
                <a:spcPct val="106000"/>
              </a:lnSpc>
            </a:pPr>
            <a:r>
              <a:rPr lang="ru-RU" sz="14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(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текущий объем заявок – </a:t>
            </a:r>
            <a:r>
              <a:rPr lang="ru-RU" sz="14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 </a:t>
            </a:r>
            <a:r>
              <a:rPr lang="ru-RU" sz="1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млрд руб.</a:t>
            </a:r>
            <a:r>
              <a:rPr lang="ru-RU" sz="1400" dirty="0">
                <a:solidFill>
                  <a:schemeClr val="accent2"/>
                </a:solidFill>
                <a:latin typeface="Arial Narrow" panose="020B0606020202030204" pitchFamily="34" charset="0"/>
              </a:rPr>
              <a:t>)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5867764" y="5957570"/>
            <a:ext cx="2998413" cy="2975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реждены 2 РЛК</a:t>
            </a:r>
            <a:endParaRPr lang="ru-RU" sz="14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7" name="L-Shape 10"/>
          <p:cNvSpPr/>
          <p:nvPr/>
        </p:nvSpPr>
        <p:spPr>
          <a:xfrm rot="13701821">
            <a:off x="5668016" y="6010834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08" name="Прямоугольник 107"/>
          <p:cNvSpPr/>
          <p:nvPr/>
        </p:nvSpPr>
        <p:spPr>
          <a:xfrm>
            <a:off x="5867764" y="6314757"/>
            <a:ext cx="29984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ализуется принцип отсутствия межрегиональных барьеров для получения поддержки</a:t>
            </a:r>
            <a:endParaRPr lang="ru-RU" sz="1400" b="1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9" name="L-Shape 10"/>
          <p:cNvSpPr/>
          <p:nvPr/>
        </p:nvSpPr>
        <p:spPr>
          <a:xfrm rot="13701821">
            <a:off x="5668016" y="6366812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sp>
        <p:nvSpPr>
          <p:cNvPr id="110" name="Прямоугольник 109"/>
          <p:cNvSpPr/>
          <p:nvPr/>
        </p:nvSpPr>
        <p:spPr>
          <a:xfrm>
            <a:off x="5867764" y="6984073"/>
            <a:ext cx="2998413" cy="9130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1585"/>
              </a:lnSpc>
              <a:spcBef>
                <a:spcPts val="600"/>
              </a:spcBef>
              <a:spcAft>
                <a:spcPts val="0"/>
              </a:spcAft>
            </a:pP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изовано рассмотрение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ов </a:t>
            </a:r>
            <a:r>
              <a:rPr lang="ru-RU" sz="140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з </a:t>
            </a:r>
            <a:r>
              <a:rPr lang="ru-RU" sz="140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тарстана, Башкортостана, Тульской, Челябинской, Владимирской областей, Чукотского автономного округа и др.</a:t>
            </a:r>
            <a:endParaRPr lang="ru-RU" sz="1400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1" name="L-Shape 10"/>
          <p:cNvSpPr/>
          <p:nvPr/>
        </p:nvSpPr>
        <p:spPr>
          <a:xfrm rot="13701821">
            <a:off x="5668016" y="7037136"/>
            <a:ext cx="170455" cy="170455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19" name="Прямая соединительная линия 118"/>
          <p:cNvCxnSpPr/>
          <p:nvPr/>
        </p:nvCxnSpPr>
        <p:spPr>
          <a:xfrm>
            <a:off x="9091451" y="5621680"/>
            <a:ext cx="3170717" cy="0"/>
          </a:xfrm>
          <a:prstGeom prst="line">
            <a:avLst/>
          </a:prstGeom>
          <a:ln w="190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Прямая соединительная линия 119"/>
          <p:cNvCxnSpPr/>
          <p:nvPr/>
        </p:nvCxnSpPr>
        <p:spPr>
          <a:xfrm>
            <a:off x="5652682" y="5857649"/>
            <a:ext cx="3170717" cy="0"/>
          </a:xfrm>
          <a:prstGeom prst="line">
            <a:avLst/>
          </a:prstGeom>
          <a:ln w="19050"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744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Меры поддержк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хозяйственной кооперации </a:t>
            </a:r>
          </a:p>
          <a:p>
            <a:pPr lvl="0" algn="ctr">
              <a:defRPr/>
            </a:pPr>
            <a:r>
              <a:rPr kumimoji="0" lang="ru-RU" sz="20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еализованные</a:t>
            </a:r>
            <a:r>
              <a:rPr kumimoji="0" lang="ru-RU" sz="20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мероприятия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орпорация МСП реализует комплекс мер, направленных на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овлечение крестьянских (фермерских) хозяйств и личных подсобных хозяйств в сельскохозяйственные кооперативы, увеличение числа сельскохозяйственных кооперативов и рабочих мест, созданных ими, а также на увеличение выручки от реализации товаров, работ и услуг сельскохозяйственных кооперативов</a:t>
            </a:r>
          </a:p>
        </p:txBody>
      </p:sp>
      <p:sp>
        <p:nvSpPr>
          <p:cNvPr id="109" name="TextBox 27"/>
          <p:cNvSpPr txBox="1">
            <a:spLocks noChangeArrowheads="1"/>
          </p:cNvSpPr>
          <p:nvPr/>
        </p:nvSpPr>
        <p:spPr bwMode="auto">
          <a:xfrm>
            <a:off x="1625321" y="2031339"/>
            <a:ext cx="4662105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1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Подготовлены и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утверждены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рекомендации по разработке программ развития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сельскохозяйственной </a:t>
            </a:r>
            <a:r>
              <a:rPr lang="ru-RU" altLang="ru-RU" sz="1600" b="1" dirty="0">
                <a:latin typeface="Arial Narrow" panose="020B0606020202030204" pitchFamily="34" charset="0"/>
              </a:rPr>
              <a:t>кооперации</a:t>
            </a:r>
            <a:r>
              <a:rPr lang="ru-RU" altLang="ru-RU" sz="1600" dirty="0">
                <a:latin typeface="Arial Narrow" panose="020B0606020202030204" pitchFamily="34" charset="0"/>
              </a:rPr>
              <a:t> в субъектах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РФ</a:t>
            </a:r>
            <a:endParaRPr lang="ru-RU" altLang="ru-RU" sz="800" dirty="0">
              <a:latin typeface="Arial Narrow" panose="020B0606020202030204" pitchFamily="34" charset="0"/>
            </a:endParaRPr>
          </a:p>
        </p:txBody>
      </p:sp>
      <p:grpSp>
        <p:nvGrpSpPr>
          <p:cNvPr id="154" name="Group 58"/>
          <p:cNvGrpSpPr/>
          <p:nvPr/>
        </p:nvGrpSpPr>
        <p:grpSpPr>
          <a:xfrm>
            <a:off x="523182" y="2117564"/>
            <a:ext cx="726132" cy="720102"/>
            <a:chOff x="9766301" y="7064375"/>
            <a:chExt cx="573087" cy="568326"/>
          </a:xfrm>
          <a:solidFill>
            <a:srgbClr val="0070C0"/>
          </a:solidFill>
        </p:grpSpPr>
        <p:sp>
          <p:nvSpPr>
            <p:cNvPr id="155" name="Freeform 325"/>
            <p:cNvSpPr>
              <a:spLocks/>
            </p:cNvSpPr>
            <p:nvPr/>
          </p:nvSpPr>
          <p:spPr bwMode="auto">
            <a:xfrm>
              <a:off x="10031413" y="7127875"/>
              <a:ext cx="34925" cy="376238"/>
            </a:xfrm>
            <a:custGeom>
              <a:avLst/>
              <a:gdLst>
                <a:gd name="T0" fmla="*/ 6 w 12"/>
                <a:gd name="T1" fmla="*/ 129 h 129"/>
                <a:gd name="T2" fmla="*/ 0 w 12"/>
                <a:gd name="T3" fmla="*/ 123 h 129"/>
                <a:gd name="T4" fmla="*/ 0 w 12"/>
                <a:gd name="T5" fmla="*/ 6 h 129"/>
                <a:gd name="T6" fmla="*/ 6 w 12"/>
                <a:gd name="T7" fmla="*/ 0 h 129"/>
                <a:gd name="T8" fmla="*/ 12 w 12"/>
                <a:gd name="T9" fmla="*/ 6 h 129"/>
                <a:gd name="T10" fmla="*/ 12 w 12"/>
                <a:gd name="T11" fmla="*/ 123 h 129"/>
                <a:gd name="T12" fmla="*/ 6 w 12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9">
                  <a:moveTo>
                    <a:pt x="6" y="129"/>
                  </a:moveTo>
                  <a:cubicBezTo>
                    <a:pt x="3" y="129"/>
                    <a:pt x="0" y="126"/>
                    <a:pt x="0" y="12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6"/>
                    <a:pt x="9" y="129"/>
                    <a:pt x="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6" name="Freeform 326"/>
            <p:cNvSpPr>
              <a:spLocks/>
            </p:cNvSpPr>
            <p:nvPr/>
          </p:nvSpPr>
          <p:spPr bwMode="auto">
            <a:xfrm>
              <a:off x="10085388" y="7148513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7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7" name="Freeform 327"/>
            <p:cNvSpPr>
              <a:spLocks/>
            </p:cNvSpPr>
            <p:nvPr/>
          </p:nvSpPr>
          <p:spPr bwMode="auto">
            <a:xfrm>
              <a:off x="10085388" y="7221538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8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8" name="Freeform 328"/>
            <p:cNvSpPr>
              <a:spLocks/>
            </p:cNvSpPr>
            <p:nvPr/>
          </p:nvSpPr>
          <p:spPr bwMode="auto">
            <a:xfrm>
              <a:off x="9821863" y="7148513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7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59" name="Freeform 329"/>
            <p:cNvSpPr>
              <a:spLocks/>
            </p:cNvSpPr>
            <p:nvPr/>
          </p:nvSpPr>
          <p:spPr bwMode="auto">
            <a:xfrm>
              <a:off x="9821863" y="7221538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8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0" name="Freeform 330"/>
            <p:cNvSpPr>
              <a:spLocks/>
            </p:cNvSpPr>
            <p:nvPr/>
          </p:nvSpPr>
          <p:spPr bwMode="auto">
            <a:xfrm>
              <a:off x="9821863" y="7294563"/>
              <a:ext cx="184150" cy="79375"/>
            </a:xfrm>
            <a:custGeom>
              <a:avLst/>
              <a:gdLst>
                <a:gd name="T0" fmla="*/ 57 w 63"/>
                <a:gd name="T1" fmla="*/ 27 h 27"/>
                <a:gd name="T2" fmla="*/ 55 w 63"/>
                <a:gd name="T3" fmla="*/ 27 h 27"/>
                <a:gd name="T4" fmla="*/ 5 w 63"/>
                <a:gd name="T5" fmla="*/ 12 h 27"/>
                <a:gd name="T6" fmla="*/ 1 w 63"/>
                <a:gd name="T7" fmla="*/ 5 h 27"/>
                <a:gd name="T8" fmla="*/ 8 w 63"/>
                <a:gd name="T9" fmla="*/ 1 h 27"/>
                <a:gd name="T10" fmla="*/ 58 w 63"/>
                <a:gd name="T11" fmla="*/ 15 h 27"/>
                <a:gd name="T12" fmla="*/ 62 w 63"/>
                <a:gd name="T13" fmla="*/ 23 h 27"/>
                <a:gd name="T14" fmla="*/ 57 w 6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27">
                  <a:moveTo>
                    <a:pt x="57" y="27"/>
                  </a:moveTo>
                  <a:cubicBezTo>
                    <a:pt x="56" y="27"/>
                    <a:pt x="56" y="27"/>
                    <a:pt x="55" y="27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61" y="16"/>
                    <a:pt x="63" y="19"/>
                    <a:pt x="62" y="23"/>
                  </a:cubicBezTo>
                  <a:cubicBezTo>
                    <a:pt x="62" y="25"/>
                    <a:pt x="59" y="2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1" name="Freeform 331"/>
            <p:cNvSpPr>
              <a:spLocks/>
            </p:cNvSpPr>
            <p:nvPr/>
          </p:nvSpPr>
          <p:spPr bwMode="auto">
            <a:xfrm>
              <a:off x="10085388" y="7318375"/>
              <a:ext cx="125413" cy="60325"/>
            </a:xfrm>
            <a:custGeom>
              <a:avLst/>
              <a:gdLst>
                <a:gd name="T0" fmla="*/ 7 w 43"/>
                <a:gd name="T1" fmla="*/ 21 h 21"/>
                <a:gd name="T2" fmla="*/ 1 w 43"/>
                <a:gd name="T3" fmla="*/ 17 h 21"/>
                <a:gd name="T4" fmla="*/ 5 w 43"/>
                <a:gd name="T5" fmla="*/ 10 h 21"/>
                <a:gd name="T6" fmla="*/ 34 w 43"/>
                <a:gd name="T7" fmla="*/ 1 h 21"/>
                <a:gd name="T8" fmla="*/ 42 w 43"/>
                <a:gd name="T9" fmla="*/ 5 h 21"/>
                <a:gd name="T10" fmla="*/ 38 w 43"/>
                <a:gd name="T11" fmla="*/ 13 h 21"/>
                <a:gd name="T12" fmla="*/ 9 w 43"/>
                <a:gd name="T13" fmla="*/ 21 h 21"/>
                <a:gd name="T14" fmla="*/ 7 w 4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1">
                  <a:moveTo>
                    <a:pt x="7" y="21"/>
                  </a:moveTo>
                  <a:cubicBezTo>
                    <a:pt x="4" y="21"/>
                    <a:pt x="2" y="20"/>
                    <a:pt x="1" y="17"/>
                  </a:cubicBezTo>
                  <a:cubicBezTo>
                    <a:pt x="0" y="14"/>
                    <a:pt x="2" y="10"/>
                    <a:pt x="5" y="1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8" y="0"/>
                    <a:pt x="41" y="2"/>
                    <a:pt x="42" y="5"/>
                  </a:cubicBezTo>
                  <a:cubicBezTo>
                    <a:pt x="43" y="8"/>
                    <a:pt x="41" y="12"/>
                    <a:pt x="38" y="1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2" name="Freeform 332"/>
            <p:cNvSpPr>
              <a:spLocks/>
            </p:cNvSpPr>
            <p:nvPr/>
          </p:nvSpPr>
          <p:spPr bwMode="auto">
            <a:xfrm>
              <a:off x="10044113" y="7064375"/>
              <a:ext cx="295275" cy="511175"/>
            </a:xfrm>
            <a:custGeom>
              <a:avLst/>
              <a:gdLst>
                <a:gd name="T0" fmla="*/ 4 w 101"/>
                <a:gd name="T1" fmla="*/ 175 h 175"/>
                <a:gd name="T2" fmla="*/ 0 w 101"/>
                <a:gd name="T3" fmla="*/ 164 h 175"/>
                <a:gd name="T4" fmla="*/ 85 w 101"/>
                <a:gd name="T5" fmla="*/ 140 h 175"/>
                <a:gd name="T6" fmla="*/ 89 w 101"/>
                <a:gd name="T7" fmla="*/ 135 h 175"/>
                <a:gd name="T8" fmla="*/ 89 w 101"/>
                <a:gd name="T9" fmla="*/ 18 h 175"/>
                <a:gd name="T10" fmla="*/ 87 w 101"/>
                <a:gd name="T11" fmla="*/ 14 h 175"/>
                <a:gd name="T12" fmla="*/ 83 w 101"/>
                <a:gd name="T13" fmla="*/ 13 h 175"/>
                <a:gd name="T14" fmla="*/ 4 w 101"/>
                <a:gd name="T15" fmla="*/ 34 h 175"/>
                <a:gd name="T16" fmla="*/ 0 w 101"/>
                <a:gd name="T17" fmla="*/ 23 h 175"/>
                <a:gd name="T18" fmla="*/ 79 w 101"/>
                <a:gd name="T19" fmla="*/ 1 h 175"/>
                <a:gd name="T20" fmla="*/ 95 w 101"/>
                <a:gd name="T21" fmla="*/ 4 h 175"/>
                <a:gd name="T22" fmla="*/ 101 w 101"/>
                <a:gd name="T23" fmla="*/ 18 h 175"/>
                <a:gd name="T24" fmla="*/ 101 w 101"/>
                <a:gd name="T25" fmla="*/ 135 h 175"/>
                <a:gd name="T26" fmla="*/ 89 w 101"/>
                <a:gd name="T27" fmla="*/ 152 h 175"/>
                <a:gd name="T28" fmla="*/ 4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4" y="175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8" y="139"/>
                    <a:pt x="89" y="137"/>
                    <a:pt x="89" y="13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9" y="16"/>
                    <a:pt x="89" y="15"/>
                    <a:pt x="87" y="14"/>
                  </a:cubicBezTo>
                  <a:cubicBezTo>
                    <a:pt x="86" y="13"/>
                    <a:pt x="84" y="12"/>
                    <a:pt x="83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85" y="0"/>
                    <a:pt x="90" y="1"/>
                    <a:pt x="95" y="4"/>
                  </a:cubicBezTo>
                  <a:cubicBezTo>
                    <a:pt x="99" y="7"/>
                    <a:pt x="101" y="12"/>
                    <a:pt x="101" y="1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101" y="143"/>
                    <a:pt x="96" y="150"/>
                    <a:pt x="89" y="152"/>
                  </a:cubicBezTo>
                  <a:lnTo>
                    <a:pt x="4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3" name="Freeform 333"/>
            <p:cNvSpPr>
              <a:spLocks/>
            </p:cNvSpPr>
            <p:nvPr/>
          </p:nvSpPr>
          <p:spPr bwMode="auto">
            <a:xfrm>
              <a:off x="10044113" y="7513638"/>
              <a:ext cx="295275" cy="119063"/>
            </a:xfrm>
            <a:custGeom>
              <a:avLst/>
              <a:gdLst>
                <a:gd name="T0" fmla="*/ 4 w 101"/>
                <a:gd name="T1" fmla="*/ 41 h 41"/>
                <a:gd name="T2" fmla="*/ 0 w 101"/>
                <a:gd name="T3" fmla="*/ 29 h 41"/>
                <a:gd name="T4" fmla="*/ 85 w 101"/>
                <a:gd name="T5" fmla="*/ 6 h 41"/>
                <a:gd name="T6" fmla="*/ 89 w 101"/>
                <a:gd name="T7" fmla="*/ 0 h 41"/>
                <a:gd name="T8" fmla="*/ 101 w 101"/>
                <a:gd name="T9" fmla="*/ 0 h 41"/>
                <a:gd name="T10" fmla="*/ 89 w 101"/>
                <a:gd name="T11" fmla="*/ 17 h 41"/>
                <a:gd name="T12" fmla="*/ 4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4" y="41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8" y="5"/>
                    <a:pt x="89" y="3"/>
                    <a:pt x="8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8"/>
                    <a:pt x="96" y="15"/>
                    <a:pt x="89" y="17"/>
                  </a:cubicBezTo>
                  <a:lnTo>
                    <a:pt x="4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4" name="Freeform 334"/>
            <p:cNvSpPr>
              <a:spLocks/>
            </p:cNvSpPr>
            <p:nvPr/>
          </p:nvSpPr>
          <p:spPr bwMode="auto">
            <a:xfrm>
              <a:off x="9766301" y="7513638"/>
              <a:ext cx="295275" cy="119063"/>
            </a:xfrm>
            <a:custGeom>
              <a:avLst/>
              <a:gdLst>
                <a:gd name="T0" fmla="*/ 98 w 101"/>
                <a:gd name="T1" fmla="*/ 41 h 41"/>
                <a:gd name="T2" fmla="*/ 13 w 101"/>
                <a:gd name="T3" fmla="*/ 17 h 41"/>
                <a:gd name="T4" fmla="*/ 0 w 101"/>
                <a:gd name="T5" fmla="*/ 0 h 41"/>
                <a:gd name="T6" fmla="*/ 12 w 101"/>
                <a:gd name="T7" fmla="*/ 0 h 41"/>
                <a:gd name="T8" fmla="*/ 16 w 101"/>
                <a:gd name="T9" fmla="*/ 6 h 41"/>
                <a:gd name="T10" fmla="*/ 101 w 101"/>
                <a:gd name="T11" fmla="*/ 29 h 41"/>
                <a:gd name="T12" fmla="*/ 98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98" y="41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6" y="15"/>
                    <a:pt x="0" y="8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"/>
                    <a:pt x="14" y="5"/>
                    <a:pt x="16" y="6"/>
                  </a:cubicBezTo>
                  <a:cubicBezTo>
                    <a:pt x="101" y="29"/>
                    <a:pt x="101" y="29"/>
                    <a:pt x="101" y="29"/>
                  </a:cubicBezTo>
                  <a:lnTo>
                    <a:pt x="9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65" name="Freeform 335"/>
            <p:cNvSpPr>
              <a:spLocks/>
            </p:cNvSpPr>
            <p:nvPr/>
          </p:nvSpPr>
          <p:spPr bwMode="auto">
            <a:xfrm>
              <a:off x="9772651" y="7064375"/>
              <a:ext cx="293688" cy="511175"/>
            </a:xfrm>
            <a:custGeom>
              <a:avLst/>
              <a:gdLst>
                <a:gd name="T0" fmla="*/ 98 w 101"/>
                <a:gd name="T1" fmla="*/ 175 h 175"/>
                <a:gd name="T2" fmla="*/ 13 w 101"/>
                <a:gd name="T3" fmla="*/ 152 h 175"/>
                <a:gd name="T4" fmla="*/ 0 w 101"/>
                <a:gd name="T5" fmla="*/ 135 h 175"/>
                <a:gd name="T6" fmla="*/ 0 w 101"/>
                <a:gd name="T7" fmla="*/ 18 h 175"/>
                <a:gd name="T8" fmla="*/ 7 w 101"/>
                <a:gd name="T9" fmla="*/ 4 h 175"/>
                <a:gd name="T10" fmla="*/ 22 w 101"/>
                <a:gd name="T11" fmla="*/ 1 h 175"/>
                <a:gd name="T12" fmla="*/ 101 w 101"/>
                <a:gd name="T13" fmla="*/ 23 h 175"/>
                <a:gd name="T14" fmla="*/ 98 w 101"/>
                <a:gd name="T15" fmla="*/ 34 h 175"/>
                <a:gd name="T16" fmla="*/ 19 w 101"/>
                <a:gd name="T17" fmla="*/ 13 h 175"/>
                <a:gd name="T18" fmla="*/ 14 w 101"/>
                <a:gd name="T19" fmla="*/ 14 h 175"/>
                <a:gd name="T20" fmla="*/ 12 w 101"/>
                <a:gd name="T21" fmla="*/ 18 h 175"/>
                <a:gd name="T22" fmla="*/ 12 w 101"/>
                <a:gd name="T23" fmla="*/ 135 h 175"/>
                <a:gd name="T24" fmla="*/ 16 w 101"/>
                <a:gd name="T25" fmla="*/ 140 h 175"/>
                <a:gd name="T26" fmla="*/ 101 w 101"/>
                <a:gd name="T27" fmla="*/ 164 h 175"/>
                <a:gd name="T28" fmla="*/ 98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98" y="175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5" y="150"/>
                    <a:pt x="0" y="143"/>
                    <a:pt x="0" y="13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1" y="1"/>
                    <a:pt x="17" y="0"/>
                    <a:pt x="22" y="1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6"/>
                    <a:pt x="12" y="1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7"/>
                    <a:pt x="14" y="139"/>
                    <a:pt x="16" y="140"/>
                  </a:cubicBezTo>
                  <a:cubicBezTo>
                    <a:pt x="101" y="164"/>
                    <a:pt x="101" y="164"/>
                    <a:pt x="101" y="164"/>
                  </a:cubicBezTo>
                  <a:lnTo>
                    <a:pt x="98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25" name="Прямоугольник 1"/>
          <p:cNvSpPr>
            <a:spLocks noChangeArrowheads="1"/>
          </p:cNvSpPr>
          <p:nvPr/>
        </p:nvSpPr>
        <p:spPr bwMode="auto">
          <a:xfrm>
            <a:off x="1625322" y="4941878"/>
            <a:ext cx="457594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3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Корпорацией МСП, АО «МСП Банк» (при участии АО «</a:t>
            </a:r>
            <a:r>
              <a:rPr lang="ru-RU" altLang="ru-RU" sz="1600" dirty="0" err="1" smtClean="0">
                <a:latin typeface="Arial Narrow" panose="020B0606020202030204" pitchFamily="34" charset="0"/>
              </a:rPr>
              <a:t>Росэксимбанк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», АО «</a:t>
            </a:r>
            <a:r>
              <a:rPr lang="ru-RU" altLang="ru-RU" sz="1600" dirty="0" err="1" smtClean="0">
                <a:latin typeface="Arial Narrow" panose="020B0606020202030204" pitchFamily="34" charset="0"/>
              </a:rPr>
              <a:t>Росагролизинг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»)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утверждены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специализированные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кредитные и гарантийные продукты </a:t>
            </a:r>
            <a:r>
              <a:rPr lang="ru-RU" altLang="ru-RU" sz="1600" dirty="0">
                <a:latin typeface="Arial Narrow" panose="020B0606020202030204" pitchFamily="34" charset="0"/>
              </a:rPr>
              <a:t>в рамках развития сельскохозяйственной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кооперации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173" name="Group 1581"/>
          <p:cNvGrpSpPr/>
          <p:nvPr/>
        </p:nvGrpSpPr>
        <p:grpSpPr>
          <a:xfrm>
            <a:off x="537666" y="5311246"/>
            <a:ext cx="697165" cy="646258"/>
            <a:chOff x="3556001" y="8647113"/>
            <a:chExt cx="500063" cy="463550"/>
          </a:xfrm>
          <a:solidFill>
            <a:srgbClr val="0070C0"/>
          </a:solidFill>
        </p:grpSpPr>
        <p:sp>
          <p:nvSpPr>
            <p:cNvPr id="174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5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6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77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13" name="TextBox 27"/>
          <p:cNvSpPr txBox="1">
            <a:spLocks noChangeArrowheads="1"/>
          </p:cNvSpPr>
          <p:nvPr/>
        </p:nvSpPr>
        <p:spPr bwMode="auto">
          <a:xfrm>
            <a:off x="1625322" y="6525150"/>
            <a:ext cx="457594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4.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Оказана кредитно-гарантийная </a:t>
            </a:r>
            <a:r>
              <a:rPr lang="ru-RU" altLang="ru-RU" sz="1600" b="1" dirty="0">
                <a:latin typeface="Arial Narrow" panose="020B0606020202030204" pitchFamily="34" charset="0"/>
              </a:rPr>
              <a:t>поддержка </a:t>
            </a:r>
            <a:r>
              <a:rPr lang="ru-RU" altLang="ru-RU" sz="1600" dirty="0">
                <a:latin typeface="Arial Narrow" panose="020B0606020202030204" pitchFamily="34" charset="0"/>
              </a:rPr>
              <a:t>субъектов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МСП в </a:t>
            </a:r>
            <a:r>
              <a:rPr lang="ru-RU" altLang="ru-RU" sz="1600" dirty="0">
                <a:latin typeface="Arial Narrow" panose="020B0606020202030204" pitchFamily="34" charset="0"/>
              </a:rPr>
              <a:t>сфере сельского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хозяйства (в том числе в рамках развития сельскохозяйственной кооперации) в </a:t>
            </a:r>
            <a:r>
              <a:rPr lang="ru-RU" altLang="ru-RU" sz="1600" dirty="0">
                <a:latin typeface="Arial Narrow" panose="020B0606020202030204" pitchFamily="34" charset="0"/>
              </a:rPr>
              <a:t>рамках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НГС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в </a:t>
            </a:r>
            <a:r>
              <a:rPr lang="ru-RU" altLang="ru-RU" sz="1600" b="1" dirty="0">
                <a:latin typeface="Arial Narrow" panose="020B0606020202030204" pitchFamily="34" charset="0"/>
              </a:rPr>
              <a:t>размере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19,9 млрд рублей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(по состоянию на 31.10.2017)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178" name="Group 730"/>
          <p:cNvGrpSpPr/>
          <p:nvPr/>
        </p:nvGrpSpPr>
        <p:grpSpPr>
          <a:xfrm>
            <a:off x="482872" y="6879938"/>
            <a:ext cx="806753" cy="675419"/>
            <a:chOff x="8016876" y="5507038"/>
            <a:chExt cx="614363" cy="514350"/>
          </a:xfrm>
          <a:solidFill>
            <a:srgbClr val="0070C0"/>
          </a:solidFill>
        </p:grpSpPr>
        <p:sp>
          <p:nvSpPr>
            <p:cNvPr id="179" name="Freeform 1411"/>
            <p:cNvSpPr>
              <a:spLocks/>
            </p:cNvSpPr>
            <p:nvPr/>
          </p:nvSpPr>
          <p:spPr bwMode="auto">
            <a:xfrm>
              <a:off x="8016876" y="5507038"/>
              <a:ext cx="39688" cy="514350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0" name="Freeform 1412"/>
            <p:cNvSpPr>
              <a:spLocks/>
            </p:cNvSpPr>
            <p:nvPr/>
          </p:nvSpPr>
          <p:spPr bwMode="auto">
            <a:xfrm>
              <a:off x="8016876" y="5981700"/>
              <a:ext cx="614363" cy="39688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1" name="Freeform 1413"/>
            <p:cNvSpPr>
              <a:spLocks/>
            </p:cNvSpPr>
            <p:nvPr/>
          </p:nvSpPr>
          <p:spPr bwMode="auto">
            <a:xfrm>
              <a:off x="8081963" y="5519738"/>
              <a:ext cx="503238" cy="314325"/>
            </a:xfrm>
            <a:custGeom>
              <a:avLst/>
              <a:gdLst>
                <a:gd name="T0" fmla="*/ 7 w 156"/>
                <a:gd name="T1" fmla="*/ 97 h 97"/>
                <a:gd name="T2" fmla="*/ 3 w 156"/>
                <a:gd name="T3" fmla="*/ 95 h 97"/>
                <a:gd name="T4" fmla="*/ 3 w 156"/>
                <a:gd name="T5" fmla="*/ 86 h 97"/>
                <a:gd name="T6" fmla="*/ 78 w 156"/>
                <a:gd name="T7" fmla="*/ 15 h 97"/>
                <a:gd name="T8" fmla="*/ 86 w 156"/>
                <a:gd name="T9" fmla="*/ 15 h 97"/>
                <a:gd name="T10" fmla="*/ 111 w 156"/>
                <a:gd name="T11" fmla="*/ 34 h 97"/>
                <a:gd name="T12" fmla="*/ 145 w 156"/>
                <a:gd name="T13" fmla="*/ 2 h 97"/>
                <a:gd name="T14" fmla="*/ 153 w 156"/>
                <a:gd name="T15" fmla="*/ 2 h 97"/>
                <a:gd name="T16" fmla="*/ 153 w 156"/>
                <a:gd name="T17" fmla="*/ 11 h 97"/>
                <a:gd name="T18" fmla="*/ 115 w 156"/>
                <a:gd name="T19" fmla="*/ 46 h 97"/>
                <a:gd name="T20" fmla="*/ 107 w 156"/>
                <a:gd name="T21" fmla="*/ 47 h 97"/>
                <a:gd name="T22" fmla="*/ 83 w 156"/>
                <a:gd name="T23" fmla="*/ 27 h 97"/>
                <a:gd name="T24" fmla="*/ 11 w 156"/>
                <a:gd name="T25" fmla="*/ 95 h 97"/>
                <a:gd name="T26" fmla="*/ 7 w 156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97">
                  <a:moveTo>
                    <a:pt x="7" y="97"/>
                  </a:moveTo>
                  <a:cubicBezTo>
                    <a:pt x="5" y="97"/>
                    <a:pt x="4" y="96"/>
                    <a:pt x="3" y="95"/>
                  </a:cubicBezTo>
                  <a:cubicBezTo>
                    <a:pt x="0" y="92"/>
                    <a:pt x="0" y="89"/>
                    <a:pt x="3" y="8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3"/>
                    <a:pt x="84" y="13"/>
                    <a:pt x="86" y="15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6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3" y="48"/>
                    <a:pt x="110" y="48"/>
                    <a:pt x="107" y="4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6"/>
                    <a:pt x="8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2" name="Freeform 1414"/>
            <p:cNvSpPr>
              <a:spLocks/>
            </p:cNvSpPr>
            <p:nvPr/>
          </p:nvSpPr>
          <p:spPr bwMode="auto">
            <a:xfrm>
              <a:off x="8123238" y="5865813"/>
              <a:ext cx="39688" cy="96838"/>
            </a:xfrm>
            <a:custGeom>
              <a:avLst/>
              <a:gdLst>
                <a:gd name="T0" fmla="*/ 6 w 12"/>
                <a:gd name="T1" fmla="*/ 30 h 30"/>
                <a:gd name="T2" fmla="*/ 0 w 12"/>
                <a:gd name="T3" fmla="*/ 24 h 30"/>
                <a:gd name="T4" fmla="*/ 0 w 12"/>
                <a:gd name="T5" fmla="*/ 6 h 30"/>
                <a:gd name="T6" fmla="*/ 6 w 12"/>
                <a:gd name="T7" fmla="*/ 0 h 30"/>
                <a:gd name="T8" fmla="*/ 12 w 12"/>
                <a:gd name="T9" fmla="*/ 6 h 30"/>
                <a:gd name="T10" fmla="*/ 12 w 12"/>
                <a:gd name="T11" fmla="*/ 24 h 30"/>
                <a:gd name="T12" fmla="*/ 6 w 1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cubicBezTo>
                    <a:pt x="3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7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3" name="Freeform 1415"/>
            <p:cNvSpPr>
              <a:spLocks/>
            </p:cNvSpPr>
            <p:nvPr/>
          </p:nvSpPr>
          <p:spPr bwMode="auto">
            <a:xfrm>
              <a:off x="8194676" y="5807075"/>
              <a:ext cx="39688" cy="155575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4" name="Freeform 1416"/>
            <p:cNvSpPr>
              <a:spLocks/>
            </p:cNvSpPr>
            <p:nvPr/>
          </p:nvSpPr>
          <p:spPr bwMode="auto">
            <a:xfrm>
              <a:off x="8262938" y="5749925"/>
              <a:ext cx="38100" cy="212725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10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5" name="Freeform 1417"/>
            <p:cNvSpPr>
              <a:spLocks/>
            </p:cNvSpPr>
            <p:nvPr/>
          </p:nvSpPr>
          <p:spPr bwMode="auto">
            <a:xfrm>
              <a:off x="8334376" y="5678488"/>
              <a:ext cx="38100" cy="284163"/>
            </a:xfrm>
            <a:custGeom>
              <a:avLst/>
              <a:gdLst>
                <a:gd name="T0" fmla="*/ 6 w 12"/>
                <a:gd name="T1" fmla="*/ 88 h 88"/>
                <a:gd name="T2" fmla="*/ 0 w 12"/>
                <a:gd name="T3" fmla="*/ 82 h 88"/>
                <a:gd name="T4" fmla="*/ 0 w 12"/>
                <a:gd name="T5" fmla="*/ 6 h 88"/>
                <a:gd name="T6" fmla="*/ 6 w 12"/>
                <a:gd name="T7" fmla="*/ 0 h 88"/>
                <a:gd name="T8" fmla="*/ 12 w 12"/>
                <a:gd name="T9" fmla="*/ 6 h 88"/>
                <a:gd name="T10" fmla="*/ 12 w 12"/>
                <a:gd name="T11" fmla="*/ 82 h 88"/>
                <a:gd name="T12" fmla="*/ 6 w 12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8">
                  <a:moveTo>
                    <a:pt x="6" y="88"/>
                  </a:moveTo>
                  <a:cubicBezTo>
                    <a:pt x="3" y="88"/>
                    <a:pt x="0" y="85"/>
                    <a:pt x="0" y="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5"/>
                    <a:pt x="9" y="88"/>
                    <a:pt x="6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6" name="Freeform 1418"/>
            <p:cNvSpPr>
              <a:spLocks/>
            </p:cNvSpPr>
            <p:nvPr/>
          </p:nvSpPr>
          <p:spPr bwMode="auto">
            <a:xfrm>
              <a:off x="8404226" y="5734050"/>
              <a:ext cx="39688" cy="228600"/>
            </a:xfrm>
            <a:custGeom>
              <a:avLst/>
              <a:gdLst>
                <a:gd name="T0" fmla="*/ 6 w 12"/>
                <a:gd name="T1" fmla="*/ 71 h 71"/>
                <a:gd name="T2" fmla="*/ 0 w 12"/>
                <a:gd name="T3" fmla="*/ 65 h 71"/>
                <a:gd name="T4" fmla="*/ 0 w 12"/>
                <a:gd name="T5" fmla="*/ 6 h 71"/>
                <a:gd name="T6" fmla="*/ 6 w 12"/>
                <a:gd name="T7" fmla="*/ 0 h 71"/>
                <a:gd name="T8" fmla="*/ 12 w 12"/>
                <a:gd name="T9" fmla="*/ 6 h 71"/>
                <a:gd name="T10" fmla="*/ 12 w 12"/>
                <a:gd name="T11" fmla="*/ 65 h 71"/>
                <a:gd name="T12" fmla="*/ 6 w 12"/>
                <a:gd name="T1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1">
                  <a:moveTo>
                    <a:pt x="6" y="71"/>
                  </a:moveTo>
                  <a:cubicBezTo>
                    <a:pt x="2" y="71"/>
                    <a:pt x="0" y="68"/>
                    <a:pt x="0" y="6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8"/>
                    <a:pt x="9" y="71"/>
                    <a:pt x="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7" name="Freeform 1419"/>
            <p:cNvSpPr>
              <a:spLocks/>
            </p:cNvSpPr>
            <p:nvPr/>
          </p:nvSpPr>
          <p:spPr bwMode="auto">
            <a:xfrm>
              <a:off x="8472488" y="5697538"/>
              <a:ext cx="39688" cy="265113"/>
            </a:xfrm>
            <a:custGeom>
              <a:avLst/>
              <a:gdLst>
                <a:gd name="T0" fmla="*/ 6 w 12"/>
                <a:gd name="T1" fmla="*/ 82 h 82"/>
                <a:gd name="T2" fmla="*/ 0 w 12"/>
                <a:gd name="T3" fmla="*/ 76 h 82"/>
                <a:gd name="T4" fmla="*/ 0 w 12"/>
                <a:gd name="T5" fmla="*/ 6 h 82"/>
                <a:gd name="T6" fmla="*/ 6 w 12"/>
                <a:gd name="T7" fmla="*/ 0 h 82"/>
                <a:gd name="T8" fmla="*/ 12 w 12"/>
                <a:gd name="T9" fmla="*/ 6 h 82"/>
                <a:gd name="T10" fmla="*/ 12 w 12"/>
                <a:gd name="T11" fmla="*/ 76 h 82"/>
                <a:gd name="T12" fmla="*/ 6 w 1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2">
                  <a:moveTo>
                    <a:pt x="6" y="82"/>
                  </a:moveTo>
                  <a:cubicBezTo>
                    <a:pt x="3" y="82"/>
                    <a:pt x="0" y="79"/>
                    <a:pt x="0" y="7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79"/>
                    <a:pt x="10" y="82"/>
                    <a:pt x="6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8" name="Freeform 1420"/>
            <p:cNvSpPr>
              <a:spLocks/>
            </p:cNvSpPr>
            <p:nvPr/>
          </p:nvSpPr>
          <p:spPr bwMode="auto">
            <a:xfrm>
              <a:off x="8543926" y="5643563"/>
              <a:ext cx="38100" cy="319088"/>
            </a:xfrm>
            <a:custGeom>
              <a:avLst/>
              <a:gdLst>
                <a:gd name="T0" fmla="*/ 6 w 12"/>
                <a:gd name="T1" fmla="*/ 99 h 99"/>
                <a:gd name="T2" fmla="*/ 0 w 12"/>
                <a:gd name="T3" fmla="*/ 93 h 99"/>
                <a:gd name="T4" fmla="*/ 0 w 12"/>
                <a:gd name="T5" fmla="*/ 6 h 99"/>
                <a:gd name="T6" fmla="*/ 6 w 12"/>
                <a:gd name="T7" fmla="*/ 0 h 99"/>
                <a:gd name="T8" fmla="*/ 12 w 12"/>
                <a:gd name="T9" fmla="*/ 6 h 99"/>
                <a:gd name="T10" fmla="*/ 12 w 12"/>
                <a:gd name="T11" fmla="*/ 93 h 99"/>
                <a:gd name="T12" fmla="*/ 6 w 12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9">
                  <a:moveTo>
                    <a:pt x="6" y="99"/>
                  </a:moveTo>
                  <a:cubicBezTo>
                    <a:pt x="3" y="99"/>
                    <a:pt x="0" y="96"/>
                    <a:pt x="0" y="9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6"/>
                    <a:pt x="9" y="99"/>
                    <a:pt x="6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27" name="TextBox 27"/>
          <p:cNvSpPr txBox="1">
            <a:spLocks noChangeArrowheads="1"/>
          </p:cNvSpPr>
          <p:nvPr/>
        </p:nvSpPr>
        <p:spPr bwMode="auto">
          <a:xfrm>
            <a:off x="7619075" y="6525151"/>
            <a:ext cx="4716287" cy="1877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/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8</a:t>
            </a:r>
            <a:r>
              <a:rPr lang="ru-RU" altLang="ru-RU" sz="14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.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Разработан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и направлен высшим должностным лицам субъектов РФ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алгоритм (пошаговая инструкция)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использования с/х кооперативами комплекса мер поддержки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при открытии или расширении своей деятельности (Бизнес-навигатор МСП, участие в закупках крупнейших заказчиков, получение кредитно-гарантийной и лизинговой поддержки)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197" name="Group 1074"/>
          <p:cNvGrpSpPr/>
          <p:nvPr/>
        </p:nvGrpSpPr>
        <p:grpSpPr>
          <a:xfrm>
            <a:off x="6673870" y="7132543"/>
            <a:ext cx="675859" cy="662651"/>
            <a:chOff x="12446001" y="3830638"/>
            <a:chExt cx="487362" cy="477837"/>
          </a:xfrm>
          <a:solidFill>
            <a:srgbClr val="0070C0"/>
          </a:solidFill>
        </p:grpSpPr>
        <p:sp>
          <p:nvSpPr>
            <p:cNvPr id="198" name="Freeform 1280"/>
            <p:cNvSpPr>
              <a:spLocks/>
            </p:cNvSpPr>
            <p:nvPr/>
          </p:nvSpPr>
          <p:spPr bwMode="auto">
            <a:xfrm>
              <a:off x="12523788" y="3830638"/>
              <a:ext cx="409575" cy="390525"/>
            </a:xfrm>
            <a:custGeom>
              <a:avLst/>
              <a:gdLst>
                <a:gd name="T0" fmla="*/ 42 w 127"/>
                <a:gd name="T1" fmla="*/ 121 h 121"/>
                <a:gd name="T2" fmla="*/ 42 w 127"/>
                <a:gd name="T3" fmla="*/ 121 h 121"/>
                <a:gd name="T4" fmla="*/ 37 w 127"/>
                <a:gd name="T5" fmla="*/ 118 h 121"/>
                <a:gd name="T6" fmla="*/ 2 w 127"/>
                <a:gd name="T7" fmla="*/ 55 h 121"/>
                <a:gd name="T8" fmla="*/ 4 w 127"/>
                <a:gd name="T9" fmla="*/ 47 h 121"/>
                <a:gd name="T10" fmla="*/ 12 w 127"/>
                <a:gd name="T11" fmla="*/ 49 h 121"/>
                <a:gd name="T12" fmla="*/ 43 w 127"/>
                <a:gd name="T13" fmla="*/ 104 h 121"/>
                <a:gd name="T14" fmla="*/ 116 w 127"/>
                <a:gd name="T15" fmla="*/ 3 h 121"/>
                <a:gd name="T16" fmla="*/ 124 w 127"/>
                <a:gd name="T17" fmla="*/ 2 h 121"/>
                <a:gd name="T18" fmla="*/ 125 w 127"/>
                <a:gd name="T19" fmla="*/ 10 h 121"/>
                <a:gd name="T20" fmla="*/ 47 w 127"/>
                <a:gd name="T21" fmla="*/ 118 h 121"/>
                <a:gd name="T22" fmla="*/ 42 w 127"/>
                <a:gd name="T2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21">
                  <a:moveTo>
                    <a:pt x="42" y="121"/>
                  </a:moveTo>
                  <a:cubicBezTo>
                    <a:pt x="42" y="121"/>
                    <a:pt x="42" y="121"/>
                    <a:pt x="42" y="121"/>
                  </a:cubicBezTo>
                  <a:cubicBezTo>
                    <a:pt x="40" y="121"/>
                    <a:pt x="38" y="120"/>
                    <a:pt x="37" y="118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2"/>
                    <a:pt x="1" y="49"/>
                    <a:pt x="4" y="47"/>
                  </a:cubicBezTo>
                  <a:cubicBezTo>
                    <a:pt x="7" y="45"/>
                    <a:pt x="11" y="46"/>
                    <a:pt x="12" y="49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8" y="1"/>
                    <a:pt x="121" y="0"/>
                    <a:pt x="124" y="2"/>
                  </a:cubicBezTo>
                  <a:cubicBezTo>
                    <a:pt x="127" y="4"/>
                    <a:pt x="127" y="8"/>
                    <a:pt x="125" y="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6" y="120"/>
                    <a:pt x="44" y="121"/>
                    <a:pt x="4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199" name="Freeform 1281"/>
            <p:cNvSpPr>
              <a:spLocks/>
            </p:cNvSpPr>
            <p:nvPr/>
          </p:nvSpPr>
          <p:spPr bwMode="auto">
            <a:xfrm>
              <a:off x="12446001" y="3889375"/>
              <a:ext cx="422275" cy="419100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sp>
        <p:nvSpPr>
          <p:cNvPr id="118" name="TextBox 27"/>
          <p:cNvSpPr txBox="1">
            <a:spLocks noChangeArrowheads="1"/>
          </p:cNvSpPr>
          <p:nvPr/>
        </p:nvSpPr>
        <p:spPr bwMode="auto">
          <a:xfrm>
            <a:off x="7619075" y="5144896"/>
            <a:ext cx="4790362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7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На Портале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Бизнес-навигатора </a:t>
            </a:r>
            <a:r>
              <a:rPr lang="ru-RU" altLang="ru-RU" sz="1600" b="1" dirty="0">
                <a:latin typeface="Arial Narrow" panose="020B0606020202030204" pitchFamily="34" charset="0"/>
              </a:rPr>
              <a:t>МСП </a:t>
            </a:r>
            <a:r>
              <a:rPr lang="ru-RU" altLang="ru-RU" sz="1600" dirty="0">
                <a:latin typeface="Arial Narrow" panose="020B0606020202030204" pitchFamily="34" charset="0"/>
              </a:rPr>
              <a:t>созданы </a:t>
            </a:r>
            <a:r>
              <a:rPr lang="ru-RU" altLang="ru-RU" sz="1600" b="1" dirty="0">
                <a:latin typeface="Arial Narrow" panose="020B0606020202030204" pitchFamily="34" charset="0"/>
              </a:rPr>
              <a:t>информационные сервисы </a:t>
            </a:r>
            <a:r>
              <a:rPr lang="ru-RU" altLang="ru-RU" sz="1600" dirty="0">
                <a:latin typeface="Arial Narrow" panose="020B0606020202030204" pitchFamily="34" charset="0"/>
              </a:rPr>
              <a:t>для </a:t>
            </a:r>
            <a:r>
              <a:rPr lang="ru-RU" altLang="ru-RU" sz="1600" b="1" dirty="0">
                <a:latin typeface="Arial Narrow" panose="020B0606020202030204" pitchFamily="34" charset="0"/>
              </a:rPr>
              <a:t>расширения рынков сбыта </a:t>
            </a:r>
            <a:r>
              <a:rPr lang="ru-RU" altLang="ru-RU" sz="1600" dirty="0">
                <a:latin typeface="Arial Narrow" panose="020B0606020202030204" pitchFamily="34" charset="0"/>
              </a:rPr>
              <a:t>производителей продукции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с/х кооперации </a:t>
            </a:r>
            <a:r>
              <a:rPr lang="ru-RU" altLang="ru-RU" sz="1600" dirty="0">
                <a:latin typeface="Arial Narrow" panose="020B0606020202030204" pitchFamily="34" charset="0"/>
              </a:rPr>
              <a:t>и </a:t>
            </a:r>
            <a:r>
              <a:rPr lang="ru-RU" altLang="ru-RU" sz="1600" b="1" dirty="0">
                <a:latin typeface="Arial Narrow" panose="020B0606020202030204" pitchFamily="34" charset="0"/>
              </a:rPr>
              <a:t>информирования потребителей</a:t>
            </a:r>
            <a:r>
              <a:rPr lang="ru-RU" altLang="ru-RU" sz="1600" dirty="0">
                <a:latin typeface="Arial Narrow" panose="020B0606020202030204" pitchFamily="34" charset="0"/>
              </a:rPr>
              <a:t> о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такой продукции</a:t>
            </a:r>
            <a:endParaRPr lang="ru-RU" altLang="ru-RU" sz="1600" dirty="0">
              <a:latin typeface="Arial Narrow" panose="020B0606020202030204" pitchFamily="34" charset="0"/>
            </a:endParaRPr>
          </a:p>
        </p:txBody>
      </p:sp>
      <p:grpSp>
        <p:nvGrpSpPr>
          <p:cNvPr id="200" name="Group 382"/>
          <p:cNvGrpSpPr/>
          <p:nvPr/>
        </p:nvGrpSpPr>
        <p:grpSpPr>
          <a:xfrm>
            <a:off x="6661039" y="5444883"/>
            <a:ext cx="701520" cy="538798"/>
            <a:chOff x="11366500" y="13617575"/>
            <a:chExt cx="923925" cy="709613"/>
          </a:xfrm>
          <a:solidFill>
            <a:srgbClr val="0070C0"/>
          </a:solidFill>
        </p:grpSpPr>
        <p:sp>
          <p:nvSpPr>
            <p:cNvPr id="201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2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3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4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5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6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207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sp>
        <p:nvSpPr>
          <p:cNvPr id="124" name="TextBox 27"/>
          <p:cNvSpPr txBox="1">
            <a:spLocks noChangeArrowheads="1"/>
          </p:cNvSpPr>
          <p:nvPr/>
        </p:nvSpPr>
        <p:spPr bwMode="auto">
          <a:xfrm>
            <a:off x="1625322" y="3358605"/>
            <a:ext cx="457594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>
                <a:solidFill>
                  <a:srgbClr val="0070C0"/>
                </a:solidFill>
                <a:latin typeface="Arial Narrow" panose="020B0606020202030204" pitchFamily="34" charset="0"/>
              </a:rPr>
              <a:t>2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В </a:t>
            </a:r>
            <a:r>
              <a:rPr lang="ru-RU" altLang="ru-RU" sz="1600" b="1" dirty="0">
                <a:latin typeface="Arial Narrow" panose="020B0606020202030204" pitchFamily="34" charset="0"/>
              </a:rPr>
              <a:t>22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субъектах РФ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утверждены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/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планируются к утверждению в 2017 г.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комплексные </a:t>
            </a:r>
            <a:r>
              <a:rPr lang="ru-RU" altLang="ru-RU" sz="1600" b="1" dirty="0">
                <a:latin typeface="Arial Narrow" panose="020B0606020202030204" pitchFamily="34" charset="0"/>
              </a:rPr>
              <a:t>программы развития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с/х кооперации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, включающие инструменты финансовой, организационной, информационной </a:t>
            </a:r>
            <a:r>
              <a:rPr lang="ru-RU" altLang="ru-RU" sz="1600" dirty="0">
                <a:latin typeface="Arial Narrow" panose="020B0606020202030204" pitchFamily="34" charset="0"/>
              </a:rPr>
              <a:t>и законодательной поддержки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с/х </a:t>
            </a:r>
            <a:r>
              <a:rPr lang="ru-RU" altLang="ru-RU" sz="1600" dirty="0">
                <a:latin typeface="Arial Narrow" panose="020B0606020202030204" pitchFamily="34" charset="0"/>
              </a:rPr>
              <a:t>кооперации</a:t>
            </a:r>
          </a:p>
        </p:txBody>
      </p:sp>
      <p:grpSp>
        <p:nvGrpSpPr>
          <p:cNvPr id="208" name="Группа 207"/>
          <p:cNvGrpSpPr/>
          <p:nvPr/>
        </p:nvGrpSpPr>
        <p:grpSpPr>
          <a:xfrm>
            <a:off x="151723" y="3675541"/>
            <a:ext cx="1469050" cy="751122"/>
            <a:chOff x="5431529" y="3043868"/>
            <a:chExt cx="2319568" cy="952080"/>
          </a:xfrm>
          <a:solidFill>
            <a:srgbClr val="0070C0"/>
          </a:solidFill>
        </p:grpSpPr>
        <p:sp>
          <p:nvSpPr>
            <p:cNvPr id="209" name="Freeform 5"/>
            <p:cNvSpPr>
              <a:spLocks/>
            </p:cNvSpPr>
            <p:nvPr/>
          </p:nvSpPr>
          <p:spPr bwMode="auto">
            <a:xfrm>
              <a:off x="5960188" y="3774118"/>
              <a:ext cx="19580" cy="46846"/>
            </a:xfrm>
            <a:custGeom>
              <a:avLst/>
              <a:gdLst>
                <a:gd name="T0" fmla="*/ 5 w 15"/>
                <a:gd name="T1" fmla="*/ 3 h 34"/>
                <a:gd name="T2" fmla="*/ 6 w 15"/>
                <a:gd name="T3" fmla="*/ 2 h 34"/>
                <a:gd name="T4" fmla="*/ 8 w 15"/>
                <a:gd name="T5" fmla="*/ 2 h 34"/>
                <a:gd name="T6" fmla="*/ 8 w 15"/>
                <a:gd name="T7" fmla="*/ 3 h 34"/>
                <a:gd name="T8" fmla="*/ 9 w 15"/>
                <a:gd name="T9" fmla="*/ 4 h 34"/>
                <a:gd name="T10" fmla="*/ 10 w 15"/>
                <a:gd name="T11" fmla="*/ 5 h 34"/>
                <a:gd name="T12" fmla="*/ 11 w 15"/>
                <a:gd name="T13" fmla="*/ 7 h 34"/>
                <a:gd name="T14" fmla="*/ 11 w 15"/>
                <a:gd name="T15" fmla="*/ 9 h 34"/>
                <a:gd name="T16" fmla="*/ 11 w 15"/>
                <a:gd name="T17" fmla="*/ 9 h 34"/>
                <a:gd name="T18" fmla="*/ 11 w 15"/>
                <a:gd name="T19" fmla="*/ 12 h 34"/>
                <a:gd name="T20" fmla="*/ 10 w 15"/>
                <a:gd name="T21" fmla="*/ 14 h 34"/>
                <a:gd name="T22" fmla="*/ 11 w 15"/>
                <a:gd name="T23" fmla="*/ 14 h 34"/>
                <a:gd name="T24" fmla="*/ 11 w 15"/>
                <a:gd name="T25" fmla="*/ 16 h 34"/>
                <a:gd name="T26" fmla="*/ 11 w 15"/>
                <a:gd name="T27" fmla="*/ 18 h 34"/>
                <a:gd name="T28" fmla="*/ 13 w 15"/>
                <a:gd name="T29" fmla="*/ 20 h 34"/>
                <a:gd name="T30" fmla="*/ 14 w 15"/>
                <a:gd name="T31" fmla="*/ 20 h 34"/>
                <a:gd name="T32" fmla="*/ 15 w 15"/>
                <a:gd name="T33" fmla="*/ 22 h 34"/>
                <a:gd name="T34" fmla="*/ 14 w 15"/>
                <a:gd name="T35" fmla="*/ 24 h 34"/>
                <a:gd name="T36" fmla="*/ 14 w 15"/>
                <a:gd name="T37" fmla="*/ 24 h 34"/>
                <a:gd name="T38" fmla="*/ 13 w 15"/>
                <a:gd name="T39" fmla="*/ 26 h 34"/>
                <a:gd name="T40" fmla="*/ 12 w 15"/>
                <a:gd name="T41" fmla="*/ 27 h 34"/>
                <a:gd name="T42" fmla="*/ 11 w 15"/>
                <a:gd name="T43" fmla="*/ 29 h 34"/>
                <a:gd name="T44" fmla="*/ 10 w 15"/>
                <a:gd name="T45" fmla="*/ 30 h 34"/>
                <a:gd name="T46" fmla="*/ 9 w 15"/>
                <a:gd name="T47" fmla="*/ 30 h 34"/>
                <a:gd name="T48" fmla="*/ 10 w 15"/>
                <a:gd name="T49" fmla="*/ 33 h 34"/>
                <a:gd name="T50" fmla="*/ 9 w 15"/>
                <a:gd name="T51" fmla="*/ 33 h 34"/>
                <a:gd name="T52" fmla="*/ 9 w 15"/>
                <a:gd name="T53" fmla="*/ 34 h 34"/>
                <a:gd name="T54" fmla="*/ 9 w 15"/>
                <a:gd name="T55" fmla="*/ 34 h 34"/>
                <a:gd name="T56" fmla="*/ 7 w 15"/>
                <a:gd name="T57" fmla="*/ 33 h 34"/>
                <a:gd name="T58" fmla="*/ 6 w 15"/>
                <a:gd name="T59" fmla="*/ 32 h 34"/>
                <a:gd name="T60" fmla="*/ 7 w 15"/>
                <a:gd name="T61" fmla="*/ 31 h 34"/>
                <a:gd name="T62" fmla="*/ 6 w 15"/>
                <a:gd name="T63" fmla="*/ 31 h 34"/>
                <a:gd name="T64" fmla="*/ 5 w 15"/>
                <a:gd name="T65" fmla="*/ 29 h 34"/>
                <a:gd name="T66" fmla="*/ 5 w 15"/>
                <a:gd name="T67" fmla="*/ 29 h 34"/>
                <a:gd name="T68" fmla="*/ 3 w 15"/>
                <a:gd name="T69" fmla="*/ 28 h 34"/>
                <a:gd name="T70" fmla="*/ 2 w 15"/>
                <a:gd name="T71" fmla="*/ 27 h 34"/>
                <a:gd name="T72" fmla="*/ 1 w 15"/>
                <a:gd name="T73" fmla="*/ 25 h 34"/>
                <a:gd name="T74" fmla="*/ 2 w 15"/>
                <a:gd name="T75" fmla="*/ 26 h 34"/>
                <a:gd name="T76" fmla="*/ 2 w 15"/>
                <a:gd name="T77" fmla="*/ 24 h 34"/>
                <a:gd name="T78" fmla="*/ 2 w 15"/>
                <a:gd name="T79" fmla="*/ 23 h 34"/>
                <a:gd name="T80" fmla="*/ 1 w 15"/>
                <a:gd name="T81" fmla="*/ 23 h 34"/>
                <a:gd name="T82" fmla="*/ 2 w 15"/>
                <a:gd name="T83" fmla="*/ 22 h 34"/>
                <a:gd name="T84" fmla="*/ 2 w 15"/>
                <a:gd name="T85" fmla="*/ 20 h 34"/>
                <a:gd name="T86" fmla="*/ 2 w 15"/>
                <a:gd name="T87" fmla="*/ 19 h 34"/>
                <a:gd name="T88" fmla="*/ 2 w 15"/>
                <a:gd name="T89" fmla="*/ 18 h 34"/>
                <a:gd name="T90" fmla="*/ 3 w 15"/>
                <a:gd name="T91" fmla="*/ 16 h 34"/>
                <a:gd name="T92" fmla="*/ 2 w 15"/>
                <a:gd name="T93" fmla="*/ 15 h 34"/>
                <a:gd name="T94" fmla="*/ 2 w 15"/>
                <a:gd name="T95" fmla="*/ 15 h 34"/>
                <a:gd name="T96" fmla="*/ 2 w 15"/>
                <a:gd name="T97" fmla="*/ 14 h 34"/>
                <a:gd name="T98" fmla="*/ 2 w 15"/>
                <a:gd name="T99" fmla="*/ 13 h 34"/>
                <a:gd name="T100" fmla="*/ 3 w 15"/>
                <a:gd name="T101" fmla="*/ 12 h 34"/>
                <a:gd name="T102" fmla="*/ 3 w 15"/>
                <a:gd name="T103" fmla="*/ 12 h 34"/>
                <a:gd name="T104" fmla="*/ 3 w 15"/>
                <a:gd name="T105" fmla="*/ 11 h 34"/>
                <a:gd name="T106" fmla="*/ 3 w 15"/>
                <a:gd name="T107" fmla="*/ 10 h 34"/>
                <a:gd name="T108" fmla="*/ 3 w 15"/>
                <a:gd name="T109" fmla="*/ 9 h 34"/>
                <a:gd name="T110" fmla="*/ 2 w 15"/>
                <a:gd name="T111" fmla="*/ 9 h 34"/>
                <a:gd name="T112" fmla="*/ 1 w 15"/>
                <a:gd name="T113" fmla="*/ 8 h 34"/>
                <a:gd name="T114" fmla="*/ 2 w 15"/>
                <a:gd name="T115" fmla="*/ 8 h 34"/>
                <a:gd name="T116" fmla="*/ 2 w 15"/>
                <a:gd name="T117" fmla="*/ 8 h 34"/>
                <a:gd name="T118" fmla="*/ 0 w 15"/>
                <a:gd name="T119" fmla="*/ 6 h 34"/>
                <a:gd name="T120" fmla="*/ 2 w 15"/>
                <a:gd name="T121" fmla="*/ 4 h 34"/>
                <a:gd name="T122" fmla="*/ 3 w 15"/>
                <a:gd name="T123" fmla="*/ 3 h 34"/>
                <a:gd name="T124" fmla="*/ 4 w 15"/>
                <a:gd name="T125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4">
                  <a:moveTo>
                    <a:pt x="5" y="1"/>
                  </a:moveTo>
                  <a:lnTo>
                    <a:pt x="5" y="1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9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0" y="32"/>
                  </a:lnTo>
                  <a:lnTo>
                    <a:pt x="10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Freeform 6"/>
            <p:cNvSpPr>
              <a:spLocks noEditPoints="1"/>
            </p:cNvSpPr>
            <p:nvPr/>
          </p:nvSpPr>
          <p:spPr bwMode="auto">
            <a:xfrm>
              <a:off x="5960188" y="3789273"/>
              <a:ext cx="3916" cy="17912"/>
            </a:xfrm>
            <a:custGeom>
              <a:avLst/>
              <a:gdLst>
                <a:gd name="T0" fmla="*/ 0 w 3"/>
                <a:gd name="T1" fmla="*/ 13 h 13"/>
                <a:gd name="T2" fmla="*/ 0 w 3"/>
                <a:gd name="T3" fmla="*/ 13 h 13"/>
                <a:gd name="T4" fmla="*/ 0 w 3"/>
                <a:gd name="T5" fmla="*/ 13 h 13"/>
                <a:gd name="T6" fmla="*/ 1 w 3"/>
                <a:gd name="T7" fmla="*/ 13 h 13"/>
                <a:gd name="T8" fmla="*/ 1 w 3"/>
                <a:gd name="T9" fmla="*/ 13 h 13"/>
                <a:gd name="T10" fmla="*/ 1 w 3"/>
                <a:gd name="T11" fmla="*/ 13 h 13"/>
                <a:gd name="T12" fmla="*/ 1 w 3"/>
                <a:gd name="T13" fmla="*/ 13 h 13"/>
                <a:gd name="T14" fmla="*/ 1 w 3"/>
                <a:gd name="T15" fmla="*/ 13 h 13"/>
                <a:gd name="T16" fmla="*/ 1 w 3"/>
                <a:gd name="T17" fmla="*/ 13 h 13"/>
                <a:gd name="T18" fmla="*/ 0 w 3"/>
                <a:gd name="T19" fmla="*/ 13 h 13"/>
                <a:gd name="T20" fmla="*/ 0 w 3"/>
                <a:gd name="T21" fmla="*/ 13 h 13"/>
                <a:gd name="T22" fmla="*/ 0 w 3"/>
                <a:gd name="T23" fmla="*/ 13 h 13"/>
                <a:gd name="T24" fmla="*/ 0 w 3"/>
                <a:gd name="T25" fmla="*/ 13 h 13"/>
                <a:gd name="T26" fmla="*/ 0 w 3"/>
                <a:gd name="T27" fmla="*/ 13 h 13"/>
                <a:gd name="T28" fmla="*/ 0 w 3"/>
                <a:gd name="T29" fmla="*/ 13 h 13"/>
                <a:gd name="T30" fmla="*/ 0 w 3"/>
                <a:gd name="T31" fmla="*/ 13 h 13"/>
                <a:gd name="T32" fmla="*/ 0 w 3"/>
                <a:gd name="T33" fmla="*/ 13 h 13"/>
                <a:gd name="T34" fmla="*/ 0 w 3"/>
                <a:gd name="T35" fmla="*/ 13 h 13"/>
                <a:gd name="T36" fmla="*/ 0 w 3"/>
                <a:gd name="T37" fmla="*/ 13 h 13"/>
                <a:gd name="T38" fmla="*/ 0 w 3"/>
                <a:gd name="T39" fmla="*/ 13 h 13"/>
                <a:gd name="T40" fmla="*/ 0 w 3"/>
                <a:gd name="T41" fmla="*/ 13 h 13"/>
                <a:gd name="T42" fmla="*/ 0 w 3"/>
                <a:gd name="T43" fmla="*/ 13 h 13"/>
                <a:gd name="T44" fmla="*/ 0 w 3"/>
                <a:gd name="T45" fmla="*/ 13 h 13"/>
                <a:gd name="T46" fmla="*/ 0 w 3"/>
                <a:gd name="T47" fmla="*/ 13 h 13"/>
                <a:gd name="T48" fmla="*/ 0 w 3"/>
                <a:gd name="T49" fmla="*/ 13 h 13"/>
                <a:gd name="T50" fmla="*/ 0 w 3"/>
                <a:gd name="T51" fmla="*/ 13 h 13"/>
                <a:gd name="T52" fmla="*/ 3 w 3"/>
                <a:gd name="T53" fmla="*/ 0 h 13"/>
                <a:gd name="T54" fmla="*/ 3 w 3"/>
                <a:gd name="T55" fmla="*/ 0 h 13"/>
                <a:gd name="T56" fmla="*/ 3 w 3"/>
                <a:gd name="T57" fmla="*/ 0 h 13"/>
                <a:gd name="T58" fmla="*/ 3 w 3"/>
                <a:gd name="T59" fmla="*/ 0 h 13"/>
                <a:gd name="T60" fmla="*/ 3 w 3"/>
                <a:gd name="T61" fmla="*/ 0 h 13"/>
                <a:gd name="T62" fmla="*/ 3 w 3"/>
                <a:gd name="T63" fmla="*/ 0 h 13"/>
                <a:gd name="T64" fmla="*/ 3 w 3"/>
                <a:gd name="T65" fmla="*/ 0 h 13"/>
                <a:gd name="T66" fmla="*/ 3 w 3"/>
                <a:gd name="T67" fmla="*/ 0 h 13"/>
                <a:gd name="T68" fmla="*/ 3 w 3"/>
                <a:gd name="T69" fmla="*/ 0 h 13"/>
                <a:gd name="T70" fmla="*/ 3 w 3"/>
                <a:gd name="T71" fmla="*/ 0 h 13"/>
                <a:gd name="T72" fmla="*/ 3 w 3"/>
                <a:gd name="T73" fmla="*/ 0 h 13"/>
                <a:gd name="T74" fmla="*/ 3 w 3"/>
                <a:gd name="T75" fmla="*/ 0 h 13"/>
                <a:gd name="T76" fmla="*/ 3 w 3"/>
                <a:gd name="T7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Freeform 7"/>
            <p:cNvSpPr>
              <a:spLocks noEditPoints="1"/>
            </p:cNvSpPr>
            <p:nvPr/>
          </p:nvSpPr>
          <p:spPr bwMode="auto">
            <a:xfrm>
              <a:off x="5962798" y="3786518"/>
              <a:ext cx="5221" cy="33068"/>
            </a:xfrm>
            <a:custGeom>
              <a:avLst/>
              <a:gdLst>
                <a:gd name="T0" fmla="*/ 4 w 4"/>
                <a:gd name="T1" fmla="*/ 24 h 24"/>
                <a:gd name="T2" fmla="*/ 4 w 4"/>
                <a:gd name="T3" fmla="*/ 24 h 24"/>
                <a:gd name="T4" fmla="*/ 4 w 4"/>
                <a:gd name="T5" fmla="*/ 24 h 24"/>
                <a:gd name="T6" fmla="*/ 4 w 4"/>
                <a:gd name="T7" fmla="*/ 24 h 24"/>
                <a:gd name="T8" fmla="*/ 4 w 4"/>
                <a:gd name="T9" fmla="*/ 24 h 24"/>
                <a:gd name="T10" fmla="*/ 4 w 4"/>
                <a:gd name="T11" fmla="*/ 24 h 24"/>
                <a:gd name="T12" fmla="*/ 4 w 4"/>
                <a:gd name="T13" fmla="*/ 24 h 24"/>
                <a:gd name="T14" fmla="*/ 1 w 4"/>
                <a:gd name="T15" fmla="*/ 1 h 24"/>
                <a:gd name="T16" fmla="*/ 1 w 4"/>
                <a:gd name="T17" fmla="*/ 2 h 24"/>
                <a:gd name="T18" fmla="*/ 1 w 4"/>
                <a:gd name="T19" fmla="*/ 1 h 24"/>
                <a:gd name="T20" fmla="*/ 1 w 4"/>
                <a:gd name="T21" fmla="*/ 1 h 24"/>
                <a:gd name="T22" fmla="*/ 1 w 4"/>
                <a:gd name="T23" fmla="*/ 1 h 24"/>
                <a:gd name="T24" fmla="*/ 0 w 4"/>
                <a:gd name="T25" fmla="*/ 0 h 24"/>
                <a:gd name="T26" fmla="*/ 0 w 4"/>
                <a:gd name="T27" fmla="*/ 0 h 24"/>
                <a:gd name="T28" fmla="*/ 0 w 4"/>
                <a:gd name="T29" fmla="*/ 0 h 24"/>
                <a:gd name="T30" fmla="*/ 0 w 4"/>
                <a:gd name="T31" fmla="*/ 0 h 24"/>
                <a:gd name="T32" fmla="*/ 0 w 4"/>
                <a:gd name="T33" fmla="*/ 0 h 24"/>
                <a:gd name="T34" fmla="*/ 0 w 4"/>
                <a:gd name="T35" fmla="*/ 0 h 24"/>
                <a:gd name="T36" fmla="*/ 0 w 4"/>
                <a:gd name="T37" fmla="*/ 0 h 24"/>
                <a:gd name="T38" fmla="*/ 0 w 4"/>
                <a:gd name="T39" fmla="*/ 0 h 24"/>
                <a:gd name="T40" fmla="*/ 0 w 4"/>
                <a:gd name="T41" fmla="*/ 0 h 24"/>
                <a:gd name="T42" fmla="*/ 0 w 4"/>
                <a:gd name="T43" fmla="*/ 0 h 24"/>
                <a:gd name="T44" fmla="*/ 0 w 4"/>
                <a:gd name="T4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" h="24"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1" y="1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Freeform 8"/>
            <p:cNvSpPr>
              <a:spLocks/>
            </p:cNvSpPr>
            <p:nvPr/>
          </p:nvSpPr>
          <p:spPr bwMode="auto">
            <a:xfrm>
              <a:off x="5773525" y="3775495"/>
              <a:ext cx="3916" cy="2756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3 w 3"/>
                <a:gd name="T7" fmla="*/ 1 h 2"/>
                <a:gd name="T8" fmla="*/ 3 w 3"/>
                <a:gd name="T9" fmla="*/ 1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1 h 2"/>
                <a:gd name="T16" fmla="*/ 3 w 3"/>
                <a:gd name="T17" fmla="*/ 2 h 2"/>
                <a:gd name="T18" fmla="*/ 3 w 3"/>
                <a:gd name="T19" fmla="*/ 2 h 2"/>
                <a:gd name="T20" fmla="*/ 2 w 3"/>
                <a:gd name="T21" fmla="*/ 2 h 2"/>
                <a:gd name="T22" fmla="*/ 2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1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0 w 3"/>
                <a:gd name="T45" fmla="*/ 2 h 2"/>
                <a:gd name="T46" fmla="*/ 1 w 3"/>
                <a:gd name="T47" fmla="*/ 1 h 2"/>
                <a:gd name="T48" fmla="*/ 1 w 3"/>
                <a:gd name="T49" fmla="*/ 1 h 2"/>
                <a:gd name="T50" fmla="*/ 1 w 3"/>
                <a:gd name="T51" fmla="*/ 1 h 2"/>
                <a:gd name="T52" fmla="*/ 1 w 3"/>
                <a:gd name="T53" fmla="*/ 1 h 2"/>
                <a:gd name="T54" fmla="*/ 0 w 3"/>
                <a:gd name="T55" fmla="*/ 1 h 2"/>
                <a:gd name="T56" fmla="*/ 0 w 3"/>
                <a:gd name="T57" fmla="*/ 0 h 2"/>
                <a:gd name="T58" fmla="*/ 1 w 3"/>
                <a:gd name="T59" fmla="*/ 0 h 2"/>
                <a:gd name="T60" fmla="*/ 0 w 3"/>
                <a:gd name="T61" fmla="*/ 0 h 2"/>
                <a:gd name="T62" fmla="*/ 0 w 3"/>
                <a:gd name="T63" fmla="*/ 0 h 2"/>
                <a:gd name="T64" fmla="*/ 0 w 3"/>
                <a:gd name="T65" fmla="*/ 0 h 2"/>
                <a:gd name="T66" fmla="*/ 0 w 3"/>
                <a:gd name="T67" fmla="*/ 0 h 2"/>
                <a:gd name="T68" fmla="*/ 1 w 3"/>
                <a:gd name="T69" fmla="*/ 0 h 2"/>
                <a:gd name="T70" fmla="*/ 1 w 3"/>
                <a:gd name="T71" fmla="*/ 0 h 2"/>
                <a:gd name="T72" fmla="*/ 1 w 3"/>
                <a:gd name="T73" fmla="*/ 0 h 2"/>
                <a:gd name="T74" fmla="*/ 1 w 3"/>
                <a:gd name="T75" fmla="*/ 0 h 2"/>
                <a:gd name="T76" fmla="*/ 1 w 3"/>
                <a:gd name="T77" fmla="*/ 0 h 2"/>
                <a:gd name="T78" fmla="*/ 1 w 3"/>
                <a:gd name="T79" fmla="*/ 0 h 2"/>
                <a:gd name="T80" fmla="*/ 1 w 3"/>
                <a:gd name="T81" fmla="*/ 0 h 2"/>
                <a:gd name="T82" fmla="*/ 1 w 3"/>
                <a:gd name="T83" fmla="*/ 0 h 2"/>
                <a:gd name="T84" fmla="*/ 2 w 3"/>
                <a:gd name="T85" fmla="*/ 0 h 2"/>
                <a:gd name="T86" fmla="*/ 2 w 3"/>
                <a:gd name="T87" fmla="*/ 0 h 2"/>
                <a:gd name="T88" fmla="*/ 2 w 3"/>
                <a:gd name="T89" fmla="*/ 0 h 2"/>
                <a:gd name="T90" fmla="*/ 3 w 3"/>
                <a:gd name="T91" fmla="*/ 0 h 2"/>
                <a:gd name="T92" fmla="*/ 3 w 3"/>
                <a:gd name="T93" fmla="*/ 0 h 2"/>
                <a:gd name="T94" fmla="*/ 3 w 3"/>
                <a:gd name="T95" fmla="*/ 0 h 2"/>
                <a:gd name="T96" fmla="*/ 3 w 3"/>
                <a:gd name="T97" fmla="*/ 0 h 2"/>
                <a:gd name="T98" fmla="*/ 3 w 3"/>
                <a:gd name="T99" fmla="*/ 0 h 2"/>
                <a:gd name="T100" fmla="*/ 3 w 3"/>
                <a:gd name="T101" fmla="*/ 0 h 2"/>
                <a:gd name="T102" fmla="*/ 3 w 3"/>
                <a:gd name="T103" fmla="*/ 0 h 2"/>
                <a:gd name="T104" fmla="*/ 3 w 3"/>
                <a:gd name="T105" fmla="*/ 0 h 2"/>
                <a:gd name="T106" fmla="*/ 3 w 3"/>
                <a:gd name="T107" fmla="*/ 0 h 2"/>
                <a:gd name="T108" fmla="*/ 3 w 3"/>
                <a:gd name="T109" fmla="*/ 0 h 2"/>
                <a:gd name="T110" fmla="*/ 3 w 3"/>
                <a:gd name="T1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Freeform 9"/>
            <p:cNvSpPr>
              <a:spLocks/>
            </p:cNvSpPr>
            <p:nvPr/>
          </p:nvSpPr>
          <p:spPr bwMode="auto">
            <a:xfrm>
              <a:off x="5859677" y="3674914"/>
              <a:ext cx="79625" cy="42713"/>
            </a:xfrm>
            <a:custGeom>
              <a:avLst/>
              <a:gdLst>
                <a:gd name="T0" fmla="*/ 46 w 61"/>
                <a:gd name="T1" fmla="*/ 0 h 31"/>
                <a:gd name="T2" fmla="*/ 49 w 61"/>
                <a:gd name="T3" fmla="*/ 2 h 31"/>
                <a:gd name="T4" fmla="*/ 52 w 61"/>
                <a:gd name="T5" fmla="*/ 3 h 31"/>
                <a:gd name="T6" fmla="*/ 55 w 61"/>
                <a:gd name="T7" fmla="*/ 2 h 31"/>
                <a:gd name="T8" fmla="*/ 58 w 61"/>
                <a:gd name="T9" fmla="*/ 3 h 31"/>
                <a:gd name="T10" fmla="*/ 58 w 61"/>
                <a:gd name="T11" fmla="*/ 6 h 31"/>
                <a:gd name="T12" fmla="*/ 58 w 61"/>
                <a:gd name="T13" fmla="*/ 8 h 31"/>
                <a:gd name="T14" fmla="*/ 60 w 61"/>
                <a:gd name="T15" fmla="*/ 11 h 31"/>
                <a:gd name="T16" fmla="*/ 60 w 61"/>
                <a:gd name="T17" fmla="*/ 14 h 31"/>
                <a:gd name="T18" fmla="*/ 58 w 61"/>
                <a:gd name="T19" fmla="*/ 16 h 31"/>
                <a:gd name="T20" fmla="*/ 55 w 61"/>
                <a:gd name="T21" fmla="*/ 15 h 31"/>
                <a:gd name="T22" fmla="*/ 57 w 61"/>
                <a:gd name="T23" fmla="*/ 17 h 31"/>
                <a:gd name="T24" fmla="*/ 55 w 61"/>
                <a:gd name="T25" fmla="*/ 19 h 31"/>
                <a:gd name="T26" fmla="*/ 56 w 61"/>
                <a:gd name="T27" fmla="*/ 21 h 31"/>
                <a:gd name="T28" fmla="*/ 55 w 61"/>
                <a:gd name="T29" fmla="*/ 23 h 31"/>
                <a:gd name="T30" fmla="*/ 53 w 61"/>
                <a:gd name="T31" fmla="*/ 24 h 31"/>
                <a:gd name="T32" fmla="*/ 51 w 61"/>
                <a:gd name="T33" fmla="*/ 25 h 31"/>
                <a:gd name="T34" fmla="*/ 50 w 61"/>
                <a:gd name="T35" fmla="*/ 26 h 31"/>
                <a:gd name="T36" fmla="*/ 46 w 61"/>
                <a:gd name="T37" fmla="*/ 27 h 31"/>
                <a:gd name="T38" fmla="*/ 42 w 61"/>
                <a:gd name="T39" fmla="*/ 28 h 31"/>
                <a:gd name="T40" fmla="*/ 40 w 61"/>
                <a:gd name="T41" fmla="*/ 30 h 31"/>
                <a:gd name="T42" fmla="*/ 38 w 61"/>
                <a:gd name="T43" fmla="*/ 30 h 31"/>
                <a:gd name="T44" fmla="*/ 35 w 61"/>
                <a:gd name="T45" fmla="*/ 29 h 31"/>
                <a:gd name="T46" fmla="*/ 32 w 61"/>
                <a:gd name="T47" fmla="*/ 28 h 31"/>
                <a:gd name="T48" fmla="*/ 28 w 61"/>
                <a:gd name="T49" fmla="*/ 28 h 31"/>
                <a:gd name="T50" fmla="*/ 24 w 61"/>
                <a:gd name="T51" fmla="*/ 27 h 31"/>
                <a:gd name="T52" fmla="*/ 21 w 61"/>
                <a:gd name="T53" fmla="*/ 24 h 31"/>
                <a:gd name="T54" fmla="*/ 20 w 61"/>
                <a:gd name="T55" fmla="*/ 23 h 31"/>
                <a:gd name="T56" fmla="*/ 19 w 61"/>
                <a:gd name="T57" fmla="*/ 22 h 31"/>
                <a:gd name="T58" fmla="*/ 16 w 61"/>
                <a:gd name="T59" fmla="*/ 23 h 31"/>
                <a:gd name="T60" fmla="*/ 13 w 61"/>
                <a:gd name="T61" fmla="*/ 24 h 31"/>
                <a:gd name="T62" fmla="*/ 10 w 61"/>
                <a:gd name="T63" fmla="*/ 26 h 31"/>
                <a:gd name="T64" fmla="*/ 7 w 61"/>
                <a:gd name="T65" fmla="*/ 25 h 31"/>
                <a:gd name="T66" fmla="*/ 5 w 61"/>
                <a:gd name="T67" fmla="*/ 24 h 31"/>
                <a:gd name="T68" fmla="*/ 2 w 61"/>
                <a:gd name="T69" fmla="*/ 24 h 31"/>
                <a:gd name="T70" fmla="*/ 0 w 61"/>
                <a:gd name="T71" fmla="*/ 21 h 31"/>
                <a:gd name="T72" fmla="*/ 1 w 61"/>
                <a:gd name="T73" fmla="*/ 19 h 31"/>
                <a:gd name="T74" fmla="*/ 1 w 61"/>
                <a:gd name="T75" fmla="*/ 17 h 31"/>
                <a:gd name="T76" fmla="*/ 2 w 61"/>
                <a:gd name="T77" fmla="*/ 17 h 31"/>
                <a:gd name="T78" fmla="*/ 4 w 61"/>
                <a:gd name="T79" fmla="*/ 18 h 31"/>
                <a:gd name="T80" fmla="*/ 5 w 61"/>
                <a:gd name="T81" fmla="*/ 19 h 31"/>
                <a:gd name="T82" fmla="*/ 6 w 61"/>
                <a:gd name="T83" fmla="*/ 19 h 31"/>
                <a:gd name="T84" fmla="*/ 7 w 61"/>
                <a:gd name="T85" fmla="*/ 17 h 31"/>
                <a:gd name="T86" fmla="*/ 8 w 61"/>
                <a:gd name="T87" fmla="*/ 17 h 31"/>
                <a:gd name="T88" fmla="*/ 10 w 61"/>
                <a:gd name="T89" fmla="*/ 18 h 31"/>
                <a:gd name="T90" fmla="*/ 13 w 61"/>
                <a:gd name="T91" fmla="*/ 18 h 31"/>
                <a:gd name="T92" fmla="*/ 16 w 61"/>
                <a:gd name="T93" fmla="*/ 17 h 31"/>
                <a:gd name="T94" fmla="*/ 18 w 61"/>
                <a:gd name="T95" fmla="*/ 16 h 31"/>
                <a:gd name="T96" fmla="*/ 21 w 61"/>
                <a:gd name="T97" fmla="*/ 14 h 31"/>
                <a:gd name="T98" fmla="*/ 23 w 61"/>
                <a:gd name="T99" fmla="*/ 16 h 31"/>
                <a:gd name="T100" fmla="*/ 26 w 61"/>
                <a:gd name="T101" fmla="*/ 16 h 31"/>
                <a:gd name="T102" fmla="*/ 28 w 61"/>
                <a:gd name="T103" fmla="*/ 18 h 31"/>
                <a:gd name="T104" fmla="*/ 27 w 61"/>
                <a:gd name="T105" fmla="*/ 14 h 31"/>
                <a:gd name="T106" fmla="*/ 26 w 61"/>
                <a:gd name="T107" fmla="*/ 11 h 31"/>
                <a:gd name="T108" fmla="*/ 27 w 61"/>
                <a:gd name="T109" fmla="*/ 9 h 31"/>
                <a:gd name="T110" fmla="*/ 31 w 61"/>
                <a:gd name="T111" fmla="*/ 7 h 31"/>
                <a:gd name="T112" fmla="*/ 32 w 61"/>
                <a:gd name="T113" fmla="*/ 5 h 31"/>
                <a:gd name="T114" fmla="*/ 34 w 61"/>
                <a:gd name="T115" fmla="*/ 4 h 31"/>
                <a:gd name="T116" fmla="*/ 35 w 61"/>
                <a:gd name="T117" fmla="*/ 3 h 31"/>
                <a:gd name="T118" fmla="*/ 37 w 61"/>
                <a:gd name="T119" fmla="*/ 5 h 31"/>
                <a:gd name="T120" fmla="*/ 40 w 61"/>
                <a:gd name="T121" fmla="*/ 5 h 31"/>
                <a:gd name="T122" fmla="*/ 42 w 61"/>
                <a:gd name="T123" fmla="*/ 2 h 31"/>
                <a:gd name="T124" fmla="*/ 43 w 61"/>
                <a:gd name="T12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" h="31">
                  <a:moveTo>
                    <a:pt x="43" y="0"/>
                  </a:move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9" y="3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5"/>
                  </a:lnTo>
                  <a:lnTo>
                    <a:pt x="59" y="16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5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6" y="21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7"/>
                  </a:lnTo>
                  <a:lnTo>
                    <a:pt x="51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3" y="27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30"/>
                  </a:lnTo>
                  <a:lnTo>
                    <a:pt x="37" y="29"/>
                  </a:lnTo>
                  <a:lnTo>
                    <a:pt x="36" y="30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6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7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Freeform 10"/>
            <p:cNvSpPr>
              <a:spLocks/>
            </p:cNvSpPr>
            <p:nvPr/>
          </p:nvSpPr>
          <p:spPr bwMode="auto">
            <a:xfrm>
              <a:off x="6001958" y="3555042"/>
              <a:ext cx="100510" cy="82670"/>
            </a:xfrm>
            <a:custGeom>
              <a:avLst/>
              <a:gdLst>
                <a:gd name="T0" fmla="*/ 43 w 77"/>
                <a:gd name="T1" fmla="*/ 1 h 60"/>
                <a:gd name="T2" fmla="*/ 45 w 77"/>
                <a:gd name="T3" fmla="*/ 2 h 60"/>
                <a:gd name="T4" fmla="*/ 49 w 77"/>
                <a:gd name="T5" fmla="*/ 3 h 60"/>
                <a:gd name="T6" fmla="*/ 52 w 77"/>
                <a:gd name="T7" fmla="*/ 6 h 60"/>
                <a:gd name="T8" fmla="*/ 56 w 77"/>
                <a:gd name="T9" fmla="*/ 4 h 60"/>
                <a:gd name="T10" fmla="*/ 60 w 77"/>
                <a:gd name="T11" fmla="*/ 5 h 60"/>
                <a:gd name="T12" fmla="*/ 63 w 77"/>
                <a:gd name="T13" fmla="*/ 8 h 60"/>
                <a:gd name="T14" fmla="*/ 61 w 77"/>
                <a:gd name="T15" fmla="*/ 11 h 60"/>
                <a:gd name="T16" fmla="*/ 63 w 77"/>
                <a:gd name="T17" fmla="*/ 15 h 60"/>
                <a:gd name="T18" fmla="*/ 63 w 77"/>
                <a:gd name="T19" fmla="*/ 18 h 60"/>
                <a:gd name="T20" fmla="*/ 64 w 77"/>
                <a:gd name="T21" fmla="*/ 20 h 60"/>
                <a:gd name="T22" fmla="*/ 66 w 77"/>
                <a:gd name="T23" fmla="*/ 24 h 60"/>
                <a:gd name="T24" fmla="*/ 69 w 77"/>
                <a:gd name="T25" fmla="*/ 26 h 60"/>
                <a:gd name="T26" fmla="*/ 69 w 77"/>
                <a:gd name="T27" fmla="*/ 30 h 60"/>
                <a:gd name="T28" fmla="*/ 73 w 77"/>
                <a:gd name="T29" fmla="*/ 30 h 60"/>
                <a:gd name="T30" fmla="*/ 75 w 77"/>
                <a:gd name="T31" fmla="*/ 33 h 60"/>
                <a:gd name="T32" fmla="*/ 76 w 77"/>
                <a:gd name="T33" fmla="*/ 35 h 60"/>
                <a:gd name="T34" fmla="*/ 72 w 77"/>
                <a:gd name="T35" fmla="*/ 38 h 60"/>
                <a:gd name="T36" fmla="*/ 67 w 77"/>
                <a:gd name="T37" fmla="*/ 37 h 60"/>
                <a:gd name="T38" fmla="*/ 66 w 77"/>
                <a:gd name="T39" fmla="*/ 40 h 60"/>
                <a:gd name="T40" fmla="*/ 67 w 77"/>
                <a:gd name="T41" fmla="*/ 44 h 60"/>
                <a:gd name="T42" fmla="*/ 68 w 77"/>
                <a:gd name="T43" fmla="*/ 47 h 60"/>
                <a:gd name="T44" fmla="*/ 66 w 77"/>
                <a:gd name="T45" fmla="*/ 50 h 60"/>
                <a:gd name="T46" fmla="*/ 63 w 77"/>
                <a:gd name="T47" fmla="*/ 50 h 60"/>
                <a:gd name="T48" fmla="*/ 60 w 77"/>
                <a:gd name="T49" fmla="*/ 53 h 60"/>
                <a:gd name="T50" fmla="*/ 59 w 77"/>
                <a:gd name="T51" fmla="*/ 56 h 60"/>
                <a:gd name="T52" fmla="*/ 60 w 77"/>
                <a:gd name="T53" fmla="*/ 59 h 60"/>
                <a:gd name="T54" fmla="*/ 57 w 77"/>
                <a:gd name="T55" fmla="*/ 57 h 60"/>
                <a:gd name="T56" fmla="*/ 52 w 77"/>
                <a:gd name="T57" fmla="*/ 57 h 60"/>
                <a:gd name="T58" fmla="*/ 49 w 77"/>
                <a:gd name="T59" fmla="*/ 57 h 60"/>
                <a:gd name="T60" fmla="*/ 45 w 77"/>
                <a:gd name="T61" fmla="*/ 58 h 60"/>
                <a:gd name="T62" fmla="*/ 41 w 77"/>
                <a:gd name="T63" fmla="*/ 56 h 60"/>
                <a:gd name="T64" fmla="*/ 37 w 77"/>
                <a:gd name="T65" fmla="*/ 56 h 60"/>
                <a:gd name="T66" fmla="*/ 35 w 77"/>
                <a:gd name="T67" fmla="*/ 56 h 60"/>
                <a:gd name="T68" fmla="*/ 33 w 77"/>
                <a:gd name="T69" fmla="*/ 56 h 60"/>
                <a:gd name="T70" fmla="*/ 29 w 77"/>
                <a:gd name="T71" fmla="*/ 54 h 60"/>
                <a:gd name="T72" fmla="*/ 25 w 77"/>
                <a:gd name="T73" fmla="*/ 53 h 60"/>
                <a:gd name="T74" fmla="*/ 19 w 77"/>
                <a:gd name="T75" fmla="*/ 52 h 60"/>
                <a:gd name="T76" fmla="*/ 15 w 77"/>
                <a:gd name="T77" fmla="*/ 52 h 60"/>
                <a:gd name="T78" fmla="*/ 9 w 77"/>
                <a:gd name="T79" fmla="*/ 53 h 60"/>
                <a:gd name="T80" fmla="*/ 5 w 77"/>
                <a:gd name="T81" fmla="*/ 55 h 60"/>
                <a:gd name="T82" fmla="*/ 3 w 77"/>
                <a:gd name="T83" fmla="*/ 54 h 60"/>
                <a:gd name="T84" fmla="*/ 4 w 77"/>
                <a:gd name="T85" fmla="*/ 53 h 60"/>
                <a:gd name="T86" fmla="*/ 2 w 77"/>
                <a:gd name="T87" fmla="*/ 49 h 60"/>
                <a:gd name="T88" fmla="*/ 3 w 77"/>
                <a:gd name="T89" fmla="*/ 45 h 60"/>
                <a:gd name="T90" fmla="*/ 6 w 77"/>
                <a:gd name="T91" fmla="*/ 39 h 60"/>
                <a:gd name="T92" fmla="*/ 4 w 77"/>
                <a:gd name="T93" fmla="*/ 33 h 60"/>
                <a:gd name="T94" fmla="*/ 4 w 77"/>
                <a:gd name="T95" fmla="*/ 28 h 60"/>
                <a:gd name="T96" fmla="*/ 8 w 77"/>
                <a:gd name="T97" fmla="*/ 27 h 60"/>
                <a:gd name="T98" fmla="*/ 11 w 77"/>
                <a:gd name="T99" fmla="*/ 27 h 60"/>
                <a:gd name="T100" fmla="*/ 13 w 77"/>
                <a:gd name="T101" fmla="*/ 26 h 60"/>
                <a:gd name="T102" fmla="*/ 18 w 77"/>
                <a:gd name="T103" fmla="*/ 24 h 60"/>
                <a:gd name="T104" fmla="*/ 19 w 77"/>
                <a:gd name="T105" fmla="*/ 25 h 60"/>
                <a:gd name="T106" fmla="*/ 20 w 77"/>
                <a:gd name="T107" fmla="*/ 23 h 60"/>
                <a:gd name="T108" fmla="*/ 20 w 77"/>
                <a:gd name="T109" fmla="*/ 20 h 60"/>
                <a:gd name="T110" fmla="*/ 22 w 77"/>
                <a:gd name="T111" fmla="*/ 16 h 60"/>
                <a:gd name="T112" fmla="*/ 25 w 77"/>
                <a:gd name="T113" fmla="*/ 14 h 60"/>
                <a:gd name="T114" fmla="*/ 29 w 77"/>
                <a:gd name="T115" fmla="*/ 12 h 60"/>
                <a:gd name="T116" fmla="*/ 27 w 77"/>
                <a:gd name="T117" fmla="*/ 11 h 60"/>
                <a:gd name="T118" fmla="*/ 27 w 77"/>
                <a:gd name="T119" fmla="*/ 9 h 60"/>
                <a:gd name="T120" fmla="*/ 30 w 77"/>
                <a:gd name="T121" fmla="*/ 6 h 60"/>
                <a:gd name="T122" fmla="*/ 34 w 77"/>
                <a:gd name="T123" fmla="*/ 5 h 60"/>
                <a:gd name="T124" fmla="*/ 37 w 77"/>
                <a:gd name="T125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60">
                  <a:moveTo>
                    <a:pt x="40" y="0"/>
                  </a:move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2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10"/>
                  </a:lnTo>
                  <a:lnTo>
                    <a:pt x="62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1" y="15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lnTo>
                    <a:pt x="62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7" y="24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2" y="30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2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3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9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7" y="37"/>
                  </a:lnTo>
                  <a:lnTo>
                    <a:pt x="67" y="37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9"/>
                  </a:lnTo>
                  <a:lnTo>
                    <a:pt x="65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40"/>
                  </a:lnTo>
                  <a:lnTo>
                    <a:pt x="66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8" y="44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5" y="50"/>
                  </a:lnTo>
                  <a:lnTo>
                    <a:pt x="65" y="51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5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4" y="57"/>
                  </a:lnTo>
                  <a:lnTo>
                    <a:pt x="54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49" y="59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8"/>
                  </a:lnTo>
                  <a:lnTo>
                    <a:pt x="45" y="59"/>
                  </a:lnTo>
                  <a:lnTo>
                    <a:pt x="45" y="58"/>
                  </a:lnTo>
                  <a:lnTo>
                    <a:pt x="44" y="58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8" y="57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7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7" y="57"/>
                  </a:lnTo>
                  <a:lnTo>
                    <a:pt x="37" y="56"/>
                  </a:lnTo>
                  <a:lnTo>
                    <a:pt x="36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5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3"/>
                  </a:lnTo>
                  <a:lnTo>
                    <a:pt x="28" y="53"/>
                  </a:lnTo>
                  <a:lnTo>
                    <a:pt x="27" y="53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6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Freeform 11"/>
            <p:cNvSpPr>
              <a:spLocks/>
            </p:cNvSpPr>
            <p:nvPr/>
          </p:nvSpPr>
          <p:spPr bwMode="auto">
            <a:xfrm>
              <a:off x="5785273" y="3633579"/>
              <a:ext cx="40465" cy="33068"/>
            </a:xfrm>
            <a:custGeom>
              <a:avLst/>
              <a:gdLst>
                <a:gd name="T0" fmla="*/ 19 w 31"/>
                <a:gd name="T1" fmla="*/ 2 h 24"/>
                <a:gd name="T2" fmla="*/ 21 w 31"/>
                <a:gd name="T3" fmla="*/ 2 h 24"/>
                <a:gd name="T4" fmla="*/ 23 w 31"/>
                <a:gd name="T5" fmla="*/ 3 h 24"/>
                <a:gd name="T6" fmla="*/ 25 w 31"/>
                <a:gd name="T7" fmla="*/ 4 h 24"/>
                <a:gd name="T8" fmla="*/ 26 w 31"/>
                <a:gd name="T9" fmla="*/ 5 h 24"/>
                <a:gd name="T10" fmla="*/ 26 w 31"/>
                <a:gd name="T11" fmla="*/ 6 h 24"/>
                <a:gd name="T12" fmla="*/ 25 w 31"/>
                <a:gd name="T13" fmla="*/ 8 h 24"/>
                <a:gd name="T14" fmla="*/ 27 w 31"/>
                <a:gd name="T15" fmla="*/ 9 h 24"/>
                <a:gd name="T16" fmla="*/ 29 w 31"/>
                <a:gd name="T17" fmla="*/ 10 h 24"/>
                <a:gd name="T18" fmla="*/ 29 w 31"/>
                <a:gd name="T19" fmla="*/ 11 h 24"/>
                <a:gd name="T20" fmla="*/ 31 w 31"/>
                <a:gd name="T21" fmla="*/ 13 h 24"/>
                <a:gd name="T22" fmla="*/ 31 w 31"/>
                <a:gd name="T23" fmla="*/ 14 h 24"/>
                <a:gd name="T24" fmla="*/ 29 w 31"/>
                <a:gd name="T25" fmla="*/ 16 h 24"/>
                <a:gd name="T26" fmla="*/ 28 w 31"/>
                <a:gd name="T27" fmla="*/ 17 h 24"/>
                <a:gd name="T28" fmla="*/ 27 w 31"/>
                <a:gd name="T29" fmla="*/ 18 h 24"/>
                <a:gd name="T30" fmla="*/ 26 w 31"/>
                <a:gd name="T31" fmla="*/ 19 h 24"/>
                <a:gd name="T32" fmla="*/ 26 w 31"/>
                <a:gd name="T33" fmla="*/ 21 h 24"/>
                <a:gd name="T34" fmla="*/ 28 w 31"/>
                <a:gd name="T35" fmla="*/ 22 h 24"/>
                <a:gd name="T36" fmla="*/ 25 w 31"/>
                <a:gd name="T37" fmla="*/ 24 h 24"/>
                <a:gd name="T38" fmla="*/ 24 w 31"/>
                <a:gd name="T39" fmla="*/ 24 h 24"/>
                <a:gd name="T40" fmla="*/ 23 w 31"/>
                <a:gd name="T41" fmla="*/ 22 h 24"/>
                <a:gd name="T42" fmla="*/ 21 w 31"/>
                <a:gd name="T43" fmla="*/ 21 h 24"/>
                <a:gd name="T44" fmla="*/ 20 w 31"/>
                <a:gd name="T45" fmla="*/ 21 h 24"/>
                <a:gd name="T46" fmla="*/ 18 w 31"/>
                <a:gd name="T47" fmla="*/ 18 h 24"/>
                <a:gd name="T48" fmla="*/ 18 w 31"/>
                <a:gd name="T49" fmla="*/ 16 h 24"/>
                <a:gd name="T50" fmla="*/ 17 w 31"/>
                <a:gd name="T51" fmla="*/ 18 h 24"/>
                <a:gd name="T52" fmla="*/ 14 w 31"/>
                <a:gd name="T53" fmla="*/ 18 h 24"/>
                <a:gd name="T54" fmla="*/ 14 w 31"/>
                <a:gd name="T55" fmla="*/ 18 h 24"/>
                <a:gd name="T56" fmla="*/ 14 w 31"/>
                <a:gd name="T57" fmla="*/ 15 h 24"/>
                <a:gd name="T58" fmla="*/ 12 w 31"/>
                <a:gd name="T59" fmla="*/ 14 h 24"/>
                <a:gd name="T60" fmla="*/ 10 w 31"/>
                <a:gd name="T61" fmla="*/ 14 h 24"/>
                <a:gd name="T62" fmla="*/ 9 w 31"/>
                <a:gd name="T63" fmla="*/ 13 h 24"/>
                <a:gd name="T64" fmla="*/ 8 w 31"/>
                <a:gd name="T65" fmla="*/ 12 h 24"/>
                <a:gd name="T66" fmla="*/ 6 w 31"/>
                <a:gd name="T67" fmla="*/ 11 h 24"/>
                <a:gd name="T68" fmla="*/ 6 w 31"/>
                <a:gd name="T69" fmla="*/ 9 h 24"/>
                <a:gd name="T70" fmla="*/ 3 w 31"/>
                <a:gd name="T71" fmla="*/ 9 h 24"/>
                <a:gd name="T72" fmla="*/ 2 w 31"/>
                <a:gd name="T73" fmla="*/ 8 h 24"/>
                <a:gd name="T74" fmla="*/ 1 w 31"/>
                <a:gd name="T75" fmla="*/ 6 h 24"/>
                <a:gd name="T76" fmla="*/ 2 w 31"/>
                <a:gd name="T77" fmla="*/ 4 h 24"/>
                <a:gd name="T78" fmla="*/ 5 w 31"/>
                <a:gd name="T79" fmla="*/ 3 h 24"/>
                <a:gd name="T80" fmla="*/ 6 w 31"/>
                <a:gd name="T81" fmla="*/ 2 h 24"/>
                <a:gd name="T82" fmla="*/ 9 w 31"/>
                <a:gd name="T83" fmla="*/ 3 h 24"/>
                <a:gd name="T84" fmla="*/ 11 w 31"/>
                <a:gd name="T85" fmla="*/ 4 h 24"/>
                <a:gd name="T86" fmla="*/ 13 w 31"/>
                <a:gd name="T87" fmla="*/ 3 h 24"/>
                <a:gd name="T88" fmla="*/ 15 w 31"/>
                <a:gd name="T89" fmla="*/ 3 h 24"/>
                <a:gd name="T90" fmla="*/ 14 w 31"/>
                <a:gd name="T91" fmla="*/ 5 h 24"/>
                <a:gd name="T92" fmla="*/ 14 w 31"/>
                <a:gd name="T93" fmla="*/ 5 h 24"/>
                <a:gd name="T94" fmla="*/ 15 w 31"/>
                <a:gd name="T95" fmla="*/ 5 h 24"/>
                <a:gd name="T96" fmla="*/ 15 w 31"/>
                <a:gd name="T97" fmla="*/ 3 h 24"/>
                <a:gd name="T98" fmla="*/ 14 w 31"/>
                <a:gd name="T99" fmla="*/ 2 h 24"/>
                <a:gd name="T100" fmla="*/ 15 w 31"/>
                <a:gd name="T101" fmla="*/ 2 h 24"/>
                <a:gd name="T102" fmla="*/ 16 w 31"/>
                <a:gd name="T103" fmla="*/ 1 h 24"/>
                <a:gd name="T104" fmla="*/ 19 w 31"/>
                <a:gd name="T10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" h="24">
                  <a:moveTo>
                    <a:pt x="18" y="1"/>
                  </a:moveTo>
                  <a:lnTo>
                    <a:pt x="19" y="1"/>
                  </a:lnTo>
                  <a:lnTo>
                    <a:pt x="19" y="2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1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Freeform 12"/>
            <p:cNvSpPr>
              <a:spLocks noEditPoints="1"/>
            </p:cNvSpPr>
            <p:nvPr/>
          </p:nvSpPr>
          <p:spPr bwMode="auto">
            <a:xfrm>
              <a:off x="5923638" y="3734160"/>
              <a:ext cx="40465" cy="41335"/>
            </a:xfrm>
            <a:custGeom>
              <a:avLst/>
              <a:gdLst>
                <a:gd name="T0" fmla="*/ 11 w 31"/>
                <a:gd name="T1" fmla="*/ 0 h 30"/>
                <a:gd name="T2" fmla="*/ 11 w 31"/>
                <a:gd name="T3" fmla="*/ 1 h 30"/>
                <a:gd name="T4" fmla="*/ 13 w 31"/>
                <a:gd name="T5" fmla="*/ 1 h 30"/>
                <a:gd name="T6" fmla="*/ 14 w 31"/>
                <a:gd name="T7" fmla="*/ 2 h 30"/>
                <a:gd name="T8" fmla="*/ 15 w 31"/>
                <a:gd name="T9" fmla="*/ 1 h 30"/>
                <a:gd name="T10" fmla="*/ 17 w 31"/>
                <a:gd name="T11" fmla="*/ 3 h 30"/>
                <a:gd name="T12" fmla="*/ 19 w 31"/>
                <a:gd name="T13" fmla="*/ 1 h 30"/>
                <a:gd name="T14" fmla="*/ 21 w 31"/>
                <a:gd name="T15" fmla="*/ 2 h 30"/>
                <a:gd name="T16" fmla="*/ 23 w 31"/>
                <a:gd name="T17" fmla="*/ 2 h 30"/>
                <a:gd name="T18" fmla="*/ 24 w 31"/>
                <a:gd name="T19" fmla="*/ 3 h 30"/>
                <a:gd name="T20" fmla="*/ 25 w 31"/>
                <a:gd name="T21" fmla="*/ 3 h 30"/>
                <a:gd name="T22" fmla="*/ 25 w 31"/>
                <a:gd name="T23" fmla="*/ 5 h 30"/>
                <a:gd name="T24" fmla="*/ 28 w 31"/>
                <a:gd name="T25" fmla="*/ 4 h 30"/>
                <a:gd name="T26" fmla="*/ 30 w 31"/>
                <a:gd name="T27" fmla="*/ 4 h 30"/>
                <a:gd name="T28" fmla="*/ 29 w 31"/>
                <a:gd name="T29" fmla="*/ 7 h 30"/>
                <a:gd name="T30" fmla="*/ 28 w 31"/>
                <a:gd name="T31" fmla="*/ 8 h 30"/>
                <a:gd name="T32" fmla="*/ 27 w 31"/>
                <a:gd name="T33" fmla="*/ 10 h 30"/>
                <a:gd name="T34" fmla="*/ 29 w 31"/>
                <a:gd name="T35" fmla="*/ 11 h 30"/>
                <a:gd name="T36" fmla="*/ 30 w 31"/>
                <a:gd name="T37" fmla="*/ 13 h 30"/>
                <a:gd name="T38" fmla="*/ 31 w 31"/>
                <a:gd name="T39" fmla="*/ 14 h 30"/>
                <a:gd name="T40" fmla="*/ 29 w 31"/>
                <a:gd name="T41" fmla="*/ 15 h 30"/>
                <a:gd name="T42" fmla="*/ 28 w 31"/>
                <a:gd name="T43" fmla="*/ 15 h 30"/>
                <a:gd name="T44" fmla="*/ 30 w 31"/>
                <a:gd name="T45" fmla="*/ 17 h 30"/>
                <a:gd name="T46" fmla="*/ 30 w 31"/>
                <a:gd name="T47" fmla="*/ 19 h 30"/>
                <a:gd name="T48" fmla="*/ 30 w 31"/>
                <a:gd name="T49" fmla="*/ 19 h 30"/>
                <a:gd name="T50" fmla="*/ 29 w 31"/>
                <a:gd name="T51" fmla="*/ 19 h 30"/>
                <a:gd name="T52" fmla="*/ 27 w 31"/>
                <a:gd name="T53" fmla="*/ 20 h 30"/>
                <a:gd name="T54" fmla="*/ 26 w 31"/>
                <a:gd name="T55" fmla="*/ 21 h 30"/>
                <a:gd name="T56" fmla="*/ 27 w 31"/>
                <a:gd name="T57" fmla="*/ 22 h 30"/>
                <a:gd name="T58" fmla="*/ 26 w 31"/>
                <a:gd name="T59" fmla="*/ 22 h 30"/>
                <a:gd name="T60" fmla="*/ 24 w 31"/>
                <a:gd name="T61" fmla="*/ 23 h 30"/>
                <a:gd name="T62" fmla="*/ 23 w 31"/>
                <a:gd name="T63" fmla="*/ 25 h 30"/>
                <a:gd name="T64" fmla="*/ 22 w 31"/>
                <a:gd name="T65" fmla="*/ 28 h 30"/>
                <a:gd name="T66" fmla="*/ 23 w 31"/>
                <a:gd name="T67" fmla="*/ 30 h 30"/>
                <a:gd name="T68" fmla="*/ 21 w 31"/>
                <a:gd name="T69" fmla="*/ 30 h 30"/>
                <a:gd name="T70" fmla="*/ 19 w 31"/>
                <a:gd name="T71" fmla="*/ 28 h 30"/>
                <a:gd name="T72" fmla="*/ 17 w 31"/>
                <a:gd name="T73" fmla="*/ 27 h 30"/>
                <a:gd name="T74" fmla="*/ 15 w 31"/>
                <a:gd name="T75" fmla="*/ 26 h 30"/>
                <a:gd name="T76" fmla="*/ 16 w 31"/>
                <a:gd name="T77" fmla="*/ 26 h 30"/>
                <a:gd name="T78" fmla="*/ 16 w 31"/>
                <a:gd name="T79" fmla="*/ 25 h 30"/>
                <a:gd name="T80" fmla="*/ 15 w 31"/>
                <a:gd name="T81" fmla="*/ 24 h 30"/>
                <a:gd name="T82" fmla="*/ 13 w 31"/>
                <a:gd name="T83" fmla="*/ 22 h 30"/>
                <a:gd name="T84" fmla="*/ 12 w 31"/>
                <a:gd name="T85" fmla="*/ 21 h 30"/>
                <a:gd name="T86" fmla="*/ 8 w 31"/>
                <a:gd name="T87" fmla="*/ 16 h 30"/>
                <a:gd name="T88" fmla="*/ 7 w 31"/>
                <a:gd name="T89" fmla="*/ 15 h 30"/>
                <a:gd name="T90" fmla="*/ 5 w 31"/>
                <a:gd name="T91" fmla="*/ 13 h 30"/>
                <a:gd name="T92" fmla="*/ 4 w 31"/>
                <a:gd name="T93" fmla="*/ 12 h 30"/>
                <a:gd name="T94" fmla="*/ 4 w 31"/>
                <a:gd name="T95" fmla="*/ 10 h 30"/>
                <a:gd name="T96" fmla="*/ 2 w 31"/>
                <a:gd name="T97" fmla="*/ 7 h 30"/>
                <a:gd name="T98" fmla="*/ 1 w 31"/>
                <a:gd name="T99" fmla="*/ 5 h 30"/>
                <a:gd name="T100" fmla="*/ 0 w 31"/>
                <a:gd name="T101" fmla="*/ 3 h 30"/>
                <a:gd name="T102" fmla="*/ 1 w 31"/>
                <a:gd name="T103" fmla="*/ 0 h 30"/>
                <a:gd name="T104" fmla="*/ 2 w 31"/>
                <a:gd name="T105" fmla="*/ 1 h 30"/>
                <a:gd name="T106" fmla="*/ 4 w 31"/>
                <a:gd name="T107" fmla="*/ 3 h 30"/>
                <a:gd name="T108" fmla="*/ 5 w 31"/>
                <a:gd name="T109" fmla="*/ 2 h 30"/>
                <a:gd name="T110" fmla="*/ 7 w 31"/>
                <a:gd name="T111" fmla="*/ 1 h 30"/>
                <a:gd name="T112" fmla="*/ 9 w 31"/>
                <a:gd name="T113" fmla="*/ 1 h 30"/>
                <a:gd name="T114" fmla="*/ 10 w 31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" h="30"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0" y="0"/>
                  </a:moveTo>
                  <a:lnTo>
                    <a:pt x="11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4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9" y="18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8"/>
                  </a:lnTo>
                  <a:lnTo>
                    <a:pt x="3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3"/>
            <p:cNvSpPr>
              <a:spLocks/>
            </p:cNvSpPr>
            <p:nvPr/>
          </p:nvSpPr>
          <p:spPr bwMode="auto">
            <a:xfrm>
              <a:off x="5992820" y="3750694"/>
              <a:ext cx="66571" cy="45469"/>
            </a:xfrm>
            <a:custGeom>
              <a:avLst/>
              <a:gdLst>
                <a:gd name="T0" fmla="*/ 6 w 51"/>
                <a:gd name="T1" fmla="*/ 2 h 33"/>
                <a:gd name="T2" fmla="*/ 5 w 51"/>
                <a:gd name="T3" fmla="*/ 4 h 33"/>
                <a:gd name="T4" fmla="*/ 9 w 51"/>
                <a:gd name="T5" fmla="*/ 4 h 33"/>
                <a:gd name="T6" fmla="*/ 12 w 51"/>
                <a:gd name="T7" fmla="*/ 5 h 33"/>
                <a:gd name="T8" fmla="*/ 15 w 51"/>
                <a:gd name="T9" fmla="*/ 6 h 33"/>
                <a:gd name="T10" fmla="*/ 19 w 51"/>
                <a:gd name="T11" fmla="*/ 6 h 33"/>
                <a:gd name="T12" fmla="*/ 22 w 51"/>
                <a:gd name="T13" fmla="*/ 6 h 33"/>
                <a:gd name="T14" fmla="*/ 26 w 51"/>
                <a:gd name="T15" fmla="*/ 6 h 33"/>
                <a:gd name="T16" fmla="*/ 29 w 51"/>
                <a:gd name="T17" fmla="*/ 4 h 33"/>
                <a:gd name="T18" fmla="*/ 32 w 51"/>
                <a:gd name="T19" fmla="*/ 2 h 33"/>
                <a:gd name="T20" fmla="*/ 36 w 51"/>
                <a:gd name="T21" fmla="*/ 2 h 33"/>
                <a:gd name="T22" fmla="*/ 40 w 51"/>
                <a:gd name="T23" fmla="*/ 1 h 33"/>
                <a:gd name="T24" fmla="*/ 44 w 51"/>
                <a:gd name="T25" fmla="*/ 3 h 33"/>
                <a:gd name="T26" fmla="*/ 48 w 51"/>
                <a:gd name="T27" fmla="*/ 5 h 33"/>
                <a:gd name="T28" fmla="*/ 51 w 51"/>
                <a:gd name="T29" fmla="*/ 8 h 33"/>
                <a:gd name="T30" fmla="*/ 48 w 51"/>
                <a:gd name="T31" fmla="*/ 9 h 33"/>
                <a:gd name="T32" fmla="*/ 46 w 51"/>
                <a:gd name="T33" fmla="*/ 11 h 33"/>
                <a:gd name="T34" fmla="*/ 45 w 51"/>
                <a:gd name="T35" fmla="*/ 11 h 33"/>
                <a:gd name="T36" fmla="*/ 45 w 51"/>
                <a:gd name="T37" fmla="*/ 14 h 33"/>
                <a:gd name="T38" fmla="*/ 44 w 51"/>
                <a:gd name="T39" fmla="*/ 18 h 33"/>
                <a:gd name="T40" fmla="*/ 42 w 51"/>
                <a:gd name="T41" fmla="*/ 18 h 33"/>
                <a:gd name="T42" fmla="*/ 41 w 51"/>
                <a:gd name="T43" fmla="*/ 20 h 33"/>
                <a:gd name="T44" fmla="*/ 43 w 51"/>
                <a:gd name="T45" fmla="*/ 20 h 33"/>
                <a:gd name="T46" fmla="*/ 44 w 51"/>
                <a:gd name="T47" fmla="*/ 20 h 33"/>
                <a:gd name="T48" fmla="*/ 44 w 51"/>
                <a:gd name="T49" fmla="*/ 22 h 33"/>
                <a:gd name="T50" fmla="*/ 45 w 51"/>
                <a:gd name="T51" fmla="*/ 24 h 33"/>
                <a:gd name="T52" fmla="*/ 45 w 51"/>
                <a:gd name="T53" fmla="*/ 25 h 33"/>
                <a:gd name="T54" fmla="*/ 44 w 51"/>
                <a:gd name="T55" fmla="*/ 25 h 33"/>
                <a:gd name="T56" fmla="*/ 41 w 51"/>
                <a:gd name="T57" fmla="*/ 25 h 33"/>
                <a:gd name="T58" fmla="*/ 39 w 51"/>
                <a:gd name="T59" fmla="*/ 24 h 33"/>
                <a:gd name="T60" fmla="*/ 38 w 51"/>
                <a:gd name="T61" fmla="*/ 25 h 33"/>
                <a:gd name="T62" fmla="*/ 35 w 51"/>
                <a:gd name="T63" fmla="*/ 25 h 33"/>
                <a:gd name="T64" fmla="*/ 32 w 51"/>
                <a:gd name="T65" fmla="*/ 28 h 33"/>
                <a:gd name="T66" fmla="*/ 30 w 51"/>
                <a:gd name="T67" fmla="*/ 29 h 33"/>
                <a:gd name="T68" fmla="*/ 31 w 51"/>
                <a:gd name="T69" fmla="*/ 32 h 33"/>
                <a:gd name="T70" fmla="*/ 29 w 51"/>
                <a:gd name="T71" fmla="*/ 32 h 33"/>
                <a:gd name="T72" fmla="*/ 26 w 51"/>
                <a:gd name="T73" fmla="*/ 32 h 33"/>
                <a:gd name="T74" fmla="*/ 23 w 51"/>
                <a:gd name="T75" fmla="*/ 33 h 33"/>
                <a:gd name="T76" fmla="*/ 20 w 51"/>
                <a:gd name="T77" fmla="*/ 32 h 33"/>
                <a:gd name="T78" fmla="*/ 18 w 51"/>
                <a:gd name="T79" fmla="*/ 30 h 33"/>
                <a:gd name="T80" fmla="*/ 15 w 51"/>
                <a:gd name="T81" fmla="*/ 31 h 33"/>
                <a:gd name="T82" fmla="*/ 13 w 51"/>
                <a:gd name="T83" fmla="*/ 31 h 33"/>
                <a:gd name="T84" fmla="*/ 10 w 51"/>
                <a:gd name="T85" fmla="*/ 32 h 33"/>
                <a:gd name="T86" fmla="*/ 6 w 51"/>
                <a:gd name="T87" fmla="*/ 32 h 33"/>
                <a:gd name="T88" fmla="*/ 6 w 51"/>
                <a:gd name="T89" fmla="*/ 29 h 33"/>
                <a:gd name="T90" fmla="*/ 6 w 51"/>
                <a:gd name="T91" fmla="*/ 27 h 33"/>
                <a:gd name="T92" fmla="*/ 3 w 51"/>
                <a:gd name="T93" fmla="*/ 24 h 33"/>
                <a:gd name="T94" fmla="*/ 1 w 51"/>
                <a:gd name="T95" fmla="*/ 21 h 33"/>
                <a:gd name="T96" fmla="*/ 1 w 51"/>
                <a:gd name="T97" fmla="*/ 19 h 33"/>
                <a:gd name="T98" fmla="*/ 1 w 51"/>
                <a:gd name="T99" fmla="*/ 15 h 33"/>
                <a:gd name="T100" fmla="*/ 4 w 51"/>
                <a:gd name="T101" fmla="*/ 15 h 33"/>
                <a:gd name="T102" fmla="*/ 6 w 51"/>
                <a:gd name="T103" fmla="*/ 12 h 33"/>
                <a:gd name="T104" fmla="*/ 4 w 51"/>
                <a:gd name="T105" fmla="*/ 9 h 33"/>
                <a:gd name="T106" fmla="*/ 1 w 51"/>
                <a:gd name="T107" fmla="*/ 8 h 33"/>
                <a:gd name="T108" fmla="*/ 0 w 51"/>
                <a:gd name="T109" fmla="*/ 4 h 33"/>
                <a:gd name="T110" fmla="*/ 3 w 51"/>
                <a:gd name="T111" fmla="*/ 2 h 33"/>
                <a:gd name="T112" fmla="*/ 3 w 51"/>
                <a:gd name="T1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" h="33">
                  <a:moveTo>
                    <a:pt x="3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3" y="2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6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7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1" y="31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9" y="32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6" y="33"/>
                  </a:lnTo>
                  <a:lnTo>
                    <a:pt x="26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4" y="30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4"/>
            <p:cNvSpPr>
              <a:spLocks/>
            </p:cNvSpPr>
            <p:nvPr/>
          </p:nvSpPr>
          <p:spPr bwMode="auto">
            <a:xfrm>
              <a:off x="6048950" y="37782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5"/>
            <p:cNvSpPr>
              <a:spLocks/>
            </p:cNvSpPr>
            <p:nvPr/>
          </p:nvSpPr>
          <p:spPr bwMode="auto">
            <a:xfrm>
              <a:off x="5909279" y="3735539"/>
              <a:ext cx="2611" cy="11023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1 w 2"/>
                <a:gd name="T5" fmla="*/ 2 h 8"/>
                <a:gd name="T6" fmla="*/ 1 w 2"/>
                <a:gd name="T7" fmla="*/ 3 h 8"/>
                <a:gd name="T8" fmla="*/ 1 w 2"/>
                <a:gd name="T9" fmla="*/ 4 h 8"/>
                <a:gd name="T10" fmla="*/ 1 w 2"/>
                <a:gd name="T11" fmla="*/ 4 h 8"/>
                <a:gd name="T12" fmla="*/ 1 w 2"/>
                <a:gd name="T13" fmla="*/ 5 h 8"/>
                <a:gd name="T14" fmla="*/ 1 w 2"/>
                <a:gd name="T15" fmla="*/ 5 h 8"/>
                <a:gd name="T16" fmla="*/ 1 w 2"/>
                <a:gd name="T17" fmla="*/ 6 h 8"/>
                <a:gd name="T18" fmla="*/ 1 w 2"/>
                <a:gd name="T19" fmla="*/ 6 h 8"/>
                <a:gd name="T20" fmla="*/ 1 w 2"/>
                <a:gd name="T21" fmla="*/ 6 h 8"/>
                <a:gd name="T22" fmla="*/ 1 w 2"/>
                <a:gd name="T23" fmla="*/ 6 h 8"/>
                <a:gd name="T24" fmla="*/ 1 w 2"/>
                <a:gd name="T25" fmla="*/ 6 h 8"/>
                <a:gd name="T26" fmla="*/ 1 w 2"/>
                <a:gd name="T27" fmla="*/ 6 h 8"/>
                <a:gd name="T28" fmla="*/ 0 w 2"/>
                <a:gd name="T29" fmla="*/ 6 h 8"/>
                <a:gd name="T30" fmla="*/ 1 w 2"/>
                <a:gd name="T31" fmla="*/ 7 h 8"/>
                <a:gd name="T32" fmla="*/ 1 w 2"/>
                <a:gd name="T33" fmla="*/ 7 h 8"/>
                <a:gd name="T34" fmla="*/ 2 w 2"/>
                <a:gd name="T35" fmla="*/ 8 h 8"/>
                <a:gd name="T36" fmla="*/ 1 w 2"/>
                <a:gd name="T37" fmla="*/ 7 h 8"/>
                <a:gd name="T38" fmla="*/ 1 w 2"/>
                <a:gd name="T39" fmla="*/ 7 h 8"/>
                <a:gd name="T40" fmla="*/ 1 w 2"/>
                <a:gd name="T41" fmla="*/ 7 h 8"/>
                <a:gd name="T42" fmla="*/ 1 w 2"/>
                <a:gd name="T43" fmla="*/ 7 h 8"/>
                <a:gd name="T44" fmla="*/ 0 w 2"/>
                <a:gd name="T45" fmla="*/ 7 h 8"/>
                <a:gd name="T46" fmla="*/ 0 w 2"/>
                <a:gd name="T47" fmla="*/ 6 h 8"/>
                <a:gd name="T48" fmla="*/ 0 w 2"/>
                <a:gd name="T49" fmla="*/ 5 h 8"/>
                <a:gd name="T50" fmla="*/ 1 w 2"/>
                <a:gd name="T51" fmla="*/ 6 h 8"/>
                <a:gd name="T52" fmla="*/ 1 w 2"/>
                <a:gd name="T53" fmla="*/ 6 h 8"/>
                <a:gd name="T54" fmla="*/ 0 w 2"/>
                <a:gd name="T55" fmla="*/ 5 h 8"/>
                <a:gd name="T56" fmla="*/ 0 w 2"/>
                <a:gd name="T57" fmla="*/ 5 h 8"/>
                <a:gd name="T58" fmla="*/ 0 w 2"/>
                <a:gd name="T59" fmla="*/ 4 h 8"/>
                <a:gd name="T60" fmla="*/ 0 w 2"/>
                <a:gd name="T61" fmla="*/ 4 h 8"/>
                <a:gd name="T62" fmla="*/ 0 w 2"/>
                <a:gd name="T63" fmla="*/ 3 h 8"/>
                <a:gd name="T64" fmla="*/ 0 w 2"/>
                <a:gd name="T65" fmla="*/ 3 h 8"/>
                <a:gd name="T66" fmla="*/ 1 w 2"/>
                <a:gd name="T67" fmla="*/ 3 h 8"/>
                <a:gd name="T68" fmla="*/ 0 w 2"/>
                <a:gd name="T69" fmla="*/ 3 h 8"/>
                <a:gd name="T70" fmla="*/ 0 w 2"/>
                <a:gd name="T71" fmla="*/ 3 h 8"/>
                <a:gd name="T72" fmla="*/ 0 w 2"/>
                <a:gd name="T73" fmla="*/ 2 h 8"/>
                <a:gd name="T74" fmla="*/ 0 w 2"/>
                <a:gd name="T75" fmla="*/ 1 h 8"/>
                <a:gd name="T76" fmla="*/ 0 w 2"/>
                <a:gd name="T7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0" name="Freeform 16"/>
            <p:cNvSpPr>
              <a:spLocks noEditPoints="1"/>
            </p:cNvSpPr>
            <p:nvPr/>
          </p:nvSpPr>
          <p:spPr bwMode="auto">
            <a:xfrm>
              <a:off x="5900142" y="3713493"/>
              <a:ext cx="62656" cy="66136"/>
            </a:xfrm>
            <a:custGeom>
              <a:avLst/>
              <a:gdLst>
                <a:gd name="T0" fmla="*/ 32 w 48"/>
                <a:gd name="T1" fmla="*/ 41 h 48"/>
                <a:gd name="T2" fmla="*/ 34 w 48"/>
                <a:gd name="T3" fmla="*/ 42 h 48"/>
                <a:gd name="T4" fmla="*/ 37 w 48"/>
                <a:gd name="T5" fmla="*/ 44 h 48"/>
                <a:gd name="T6" fmla="*/ 41 w 48"/>
                <a:gd name="T7" fmla="*/ 47 h 48"/>
                <a:gd name="T8" fmla="*/ 38 w 48"/>
                <a:gd name="T9" fmla="*/ 45 h 48"/>
                <a:gd name="T10" fmla="*/ 36 w 48"/>
                <a:gd name="T11" fmla="*/ 43 h 48"/>
                <a:gd name="T12" fmla="*/ 34 w 48"/>
                <a:gd name="T13" fmla="*/ 42 h 48"/>
                <a:gd name="T14" fmla="*/ 30 w 48"/>
                <a:gd name="T15" fmla="*/ 41 h 48"/>
                <a:gd name="T16" fmla="*/ 32 w 48"/>
                <a:gd name="T17" fmla="*/ 41 h 48"/>
                <a:gd name="T18" fmla="*/ 26 w 48"/>
                <a:gd name="T19" fmla="*/ 2 h 48"/>
                <a:gd name="T20" fmla="*/ 27 w 48"/>
                <a:gd name="T21" fmla="*/ 4 h 48"/>
                <a:gd name="T22" fmla="*/ 31 w 48"/>
                <a:gd name="T23" fmla="*/ 7 h 48"/>
                <a:gd name="T24" fmla="*/ 36 w 48"/>
                <a:gd name="T25" fmla="*/ 9 h 48"/>
                <a:gd name="T26" fmla="*/ 38 w 48"/>
                <a:gd name="T27" fmla="*/ 9 h 48"/>
                <a:gd name="T28" fmla="*/ 43 w 48"/>
                <a:gd name="T29" fmla="*/ 8 h 48"/>
                <a:gd name="T30" fmla="*/ 44 w 48"/>
                <a:gd name="T31" fmla="*/ 11 h 48"/>
                <a:gd name="T32" fmla="*/ 44 w 48"/>
                <a:gd name="T33" fmla="*/ 14 h 48"/>
                <a:gd name="T34" fmla="*/ 48 w 48"/>
                <a:gd name="T35" fmla="*/ 16 h 48"/>
                <a:gd name="T36" fmla="*/ 45 w 48"/>
                <a:gd name="T37" fmla="*/ 19 h 48"/>
                <a:gd name="T38" fmla="*/ 43 w 48"/>
                <a:gd name="T39" fmla="*/ 18 h 48"/>
                <a:gd name="T40" fmla="*/ 40 w 48"/>
                <a:gd name="T41" fmla="*/ 18 h 48"/>
                <a:gd name="T42" fmla="*/ 36 w 48"/>
                <a:gd name="T43" fmla="*/ 18 h 48"/>
                <a:gd name="T44" fmla="*/ 33 w 48"/>
                <a:gd name="T45" fmla="*/ 16 h 48"/>
                <a:gd name="T46" fmla="*/ 29 w 48"/>
                <a:gd name="T47" fmla="*/ 15 h 48"/>
                <a:gd name="T48" fmla="*/ 26 w 48"/>
                <a:gd name="T49" fmla="*/ 16 h 48"/>
                <a:gd name="T50" fmla="*/ 22 w 48"/>
                <a:gd name="T51" fmla="*/ 18 h 48"/>
                <a:gd name="T52" fmla="*/ 19 w 48"/>
                <a:gd name="T53" fmla="*/ 16 h 48"/>
                <a:gd name="T54" fmla="*/ 20 w 48"/>
                <a:gd name="T55" fmla="*/ 21 h 48"/>
                <a:gd name="T56" fmla="*/ 22 w 48"/>
                <a:gd name="T57" fmla="*/ 27 h 48"/>
                <a:gd name="T58" fmla="*/ 25 w 48"/>
                <a:gd name="T59" fmla="*/ 30 h 48"/>
                <a:gd name="T60" fmla="*/ 31 w 48"/>
                <a:gd name="T61" fmla="*/ 37 h 48"/>
                <a:gd name="T62" fmla="*/ 33 w 48"/>
                <a:gd name="T63" fmla="*/ 40 h 48"/>
                <a:gd name="T64" fmla="*/ 29 w 48"/>
                <a:gd name="T65" fmla="*/ 38 h 48"/>
                <a:gd name="T66" fmla="*/ 24 w 48"/>
                <a:gd name="T67" fmla="*/ 35 h 48"/>
                <a:gd name="T68" fmla="*/ 23 w 48"/>
                <a:gd name="T69" fmla="*/ 35 h 48"/>
                <a:gd name="T70" fmla="*/ 21 w 48"/>
                <a:gd name="T71" fmla="*/ 36 h 48"/>
                <a:gd name="T72" fmla="*/ 20 w 48"/>
                <a:gd name="T73" fmla="*/ 33 h 48"/>
                <a:gd name="T74" fmla="*/ 19 w 48"/>
                <a:gd name="T75" fmla="*/ 32 h 48"/>
                <a:gd name="T76" fmla="*/ 17 w 48"/>
                <a:gd name="T77" fmla="*/ 32 h 48"/>
                <a:gd name="T78" fmla="*/ 16 w 48"/>
                <a:gd name="T79" fmla="*/ 30 h 48"/>
                <a:gd name="T80" fmla="*/ 13 w 48"/>
                <a:gd name="T81" fmla="*/ 26 h 48"/>
                <a:gd name="T82" fmla="*/ 15 w 48"/>
                <a:gd name="T83" fmla="*/ 26 h 48"/>
                <a:gd name="T84" fmla="*/ 17 w 48"/>
                <a:gd name="T85" fmla="*/ 27 h 48"/>
                <a:gd name="T86" fmla="*/ 14 w 48"/>
                <a:gd name="T87" fmla="*/ 25 h 48"/>
                <a:gd name="T88" fmla="*/ 11 w 48"/>
                <a:gd name="T89" fmla="*/ 22 h 48"/>
                <a:gd name="T90" fmla="*/ 11 w 48"/>
                <a:gd name="T91" fmla="*/ 18 h 48"/>
                <a:gd name="T92" fmla="*/ 9 w 48"/>
                <a:gd name="T93" fmla="*/ 15 h 48"/>
                <a:gd name="T94" fmla="*/ 6 w 48"/>
                <a:gd name="T95" fmla="*/ 17 h 48"/>
                <a:gd name="T96" fmla="*/ 4 w 48"/>
                <a:gd name="T97" fmla="*/ 19 h 48"/>
                <a:gd name="T98" fmla="*/ 3 w 48"/>
                <a:gd name="T99" fmla="*/ 20 h 48"/>
                <a:gd name="T100" fmla="*/ 2 w 48"/>
                <a:gd name="T101" fmla="*/ 18 h 48"/>
                <a:gd name="T102" fmla="*/ 1 w 48"/>
                <a:gd name="T103" fmla="*/ 16 h 48"/>
                <a:gd name="T104" fmla="*/ 1 w 48"/>
                <a:gd name="T105" fmla="*/ 14 h 48"/>
                <a:gd name="T106" fmla="*/ 3 w 48"/>
                <a:gd name="T107" fmla="*/ 13 h 48"/>
                <a:gd name="T108" fmla="*/ 8 w 48"/>
                <a:gd name="T109" fmla="*/ 12 h 48"/>
                <a:gd name="T110" fmla="*/ 11 w 48"/>
                <a:gd name="T111" fmla="*/ 13 h 48"/>
                <a:gd name="T112" fmla="*/ 15 w 48"/>
                <a:gd name="T113" fmla="*/ 13 h 48"/>
                <a:gd name="T114" fmla="*/ 16 w 48"/>
                <a:gd name="T115" fmla="*/ 9 h 48"/>
                <a:gd name="T116" fmla="*/ 18 w 48"/>
                <a:gd name="T117" fmla="*/ 6 h 48"/>
                <a:gd name="T118" fmla="*/ 20 w 48"/>
                <a:gd name="T119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48">
                  <a:moveTo>
                    <a:pt x="29" y="40"/>
                  </a:move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3" y="42"/>
                  </a:lnTo>
                  <a:lnTo>
                    <a:pt x="33" y="4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1"/>
                  </a:lnTo>
                  <a:lnTo>
                    <a:pt x="35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1" y="42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0"/>
                  </a:lnTo>
                  <a:close/>
                  <a:moveTo>
                    <a:pt x="34" y="40"/>
                  </a:moveTo>
                  <a:lnTo>
                    <a:pt x="34" y="41"/>
                  </a:lnTo>
                  <a:lnTo>
                    <a:pt x="34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4" y="40"/>
                  </a:lnTo>
                  <a:close/>
                  <a:moveTo>
                    <a:pt x="23" y="1"/>
                  </a:move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8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6" y="16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7" y="33"/>
                  </a:lnTo>
                  <a:lnTo>
                    <a:pt x="30" y="35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1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5" y="30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7" y="27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1" name="Freeform 17"/>
            <p:cNvSpPr>
              <a:spLocks noEditPoints="1"/>
            </p:cNvSpPr>
            <p:nvPr/>
          </p:nvSpPr>
          <p:spPr bwMode="auto">
            <a:xfrm>
              <a:off x="5902753" y="3734160"/>
              <a:ext cx="45686" cy="39958"/>
            </a:xfrm>
            <a:custGeom>
              <a:avLst/>
              <a:gdLst>
                <a:gd name="T0" fmla="*/ 34 w 35"/>
                <a:gd name="T1" fmla="*/ 29 h 29"/>
                <a:gd name="T2" fmla="*/ 26 w 35"/>
                <a:gd name="T3" fmla="*/ 28 h 29"/>
                <a:gd name="T4" fmla="*/ 25 w 35"/>
                <a:gd name="T5" fmla="*/ 29 h 29"/>
                <a:gd name="T6" fmla="*/ 27 w 35"/>
                <a:gd name="T7" fmla="*/ 28 h 29"/>
                <a:gd name="T8" fmla="*/ 32 w 35"/>
                <a:gd name="T9" fmla="*/ 29 h 29"/>
                <a:gd name="T10" fmla="*/ 29 w 35"/>
                <a:gd name="T11" fmla="*/ 28 h 29"/>
                <a:gd name="T12" fmla="*/ 26 w 35"/>
                <a:gd name="T13" fmla="*/ 26 h 29"/>
                <a:gd name="T14" fmla="*/ 28 w 35"/>
                <a:gd name="T15" fmla="*/ 27 h 29"/>
                <a:gd name="T16" fmla="*/ 24 w 35"/>
                <a:gd name="T17" fmla="*/ 27 h 29"/>
                <a:gd name="T18" fmla="*/ 18 w 35"/>
                <a:gd name="T19" fmla="*/ 26 h 29"/>
                <a:gd name="T20" fmla="*/ 20 w 35"/>
                <a:gd name="T21" fmla="*/ 25 h 29"/>
                <a:gd name="T22" fmla="*/ 20 w 35"/>
                <a:gd name="T23" fmla="*/ 26 h 29"/>
                <a:gd name="T24" fmla="*/ 24 w 35"/>
                <a:gd name="T25" fmla="*/ 25 h 29"/>
                <a:gd name="T26" fmla="*/ 23 w 35"/>
                <a:gd name="T27" fmla="*/ 23 h 29"/>
                <a:gd name="T28" fmla="*/ 27 w 35"/>
                <a:gd name="T29" fmla="*/ 24 h 29"/>
                <a:gd name="T30" fmla="*/ 24 w 35"/>
                <a:gd name="T31" fmla="*/ 25 h 29"/>
                <a:gd name="T32" fmla="*/ 23 w 35"/>
                <a:gd name="T33" fmla="*/ 23 h 29"/>
                <a:gd name="T34" fmla="*/ 23 w 35"/>
                <a:gd name="T35" fmla="*/ 21 h 29"/>
                <a:gd name="T36" fmla="*/ 25 w 35"/>
                <a:gd name="T37" fmla="*/ 22 h 29"/>
                <a:gd name="T38" fmla="*/ 21 w 35"/>
                <a:gd name="T39" fmla="*/ 22 h 29"/>
                <a:gd name="T40" fmla="*/ 21 w 35"/>
                <a:gd name="T41" fmla="*/ 22 h 29"/>
                <a:gd name="T42" fmla="*/ 20 w 35"/>
                <a:gd name="T43" fmla="*/ 21 h 29"/>
                <a:gd name="T44" fmla="*/ 16 w 35"/>
                <a:gd name="T45" fmla="*/ 19 h 29"/>
                <a:gd name="T46" fmla="*/ 16 w 35"/>
                <a:gd name="T47" fmla="*/ 18 h 29"/>
                <a:gd name="T48" fmla="*/ 16 w 35"/>
                <a:gd name="T49" fmla="*/ 18 h 29"/>
                <a:gd name="T50" fmla="*/ 17 w 35"/>
                <a:gd name="T51" fmla="*/ 18 h 29"/>
                <a:gd name="T52" fmla="*/ 16 w 35"/>
                <a:gd name="T53" fmla="*/ 18 h 29"/>
                <a:gd name="T54" fmla="*/ 15 w 35"/>
                <a:gd name="T55" fmla="*/ 16 h 29"/>
                <a:gd name="T56" fmla="*/ 13 w 35"/>
                <a:gd name="T57" fmla="*/ 16 h 29"/>
                <a:gd name="T58" fmla="*/ 12 w 35"/>
                <a:gd name="T59" fmla="*/ 15 h 29"/>
                <a:gd name="T60" fmla="*/ 11 w 35"/>
                <a:gd name="T61" fmla="*/ 14 h 29"/>
                <a:gd name="T62" fmla="*/ 12 w 35"/>
                <a:gd name="T63" fmla="*/ 14 h 29"/>
                <a:gd name="T64" fmla="*/ 13 w 35"/>
                <a:gd name="T65" fmla="*/ 14 h 29"/>
                <a:gd name="T66" fmla="*/ 10 w 35"/>
                <a:gd name="T67" fmla="*/ 12 h 29"/>
                <a:gd name="T68" fmla="*/ 10 w 35"/>
                <a:gd name="T69" fmla="*/ 13 h 29"/>
                <a:gd name="T70" fmla="*/ 12 w 35"/>
                <a:gd name="T71" fmla="*/ 16 h 29"/>
                <a:gd name="T72" fmla="*/ 12 w 35"/>
                <a:gd name="T73" fmla="*/ 16 h 29"/>
                <a:gd name="T74" fmla="*/ 10 w 35"/>
                <a:gd name="T75" fmla="*/ 14 h 29"/>
                <a:gd name="T76" fmla="*/ 9 w 35"/>
                <a:gd name="T77" fmla="*/ 12 h 29"/>
                <a:gd name="T78" fmla="*/ 10 w 35"/>
                <a:gd name="T79" fmla="*/ 12 h 29"/>
                <a:gd name="T80" fmla="*/ 9 w 35"/>
                <a:gd name="T81" fmla="*/ 12 h 29"/>
                <a:gd name="T82" fmla="*/ 8 w 35"/>
                <a:gd name="T83" fmla="*/ 11 h 29"/>
                <a:gd name="T84" fmla="*/ 7 w 35"/>
                <a:gd name="T85" fmla="*/ 11 h 29"/>
                <a:gd name="T86" fmla="*/ 9 w 35"/>
                <a:gd name="T87" fmla="*/ 10 h 29"/>
                <a:gd name="T88" fmla="*/ 10 w 35"/>
                <a:gd name="T89" fmla="*/ 10 h 29"/>
                <a:gd name="T90" fmla="*/ 5 w 35"/>
                <a:gd name="T91" fmla="*/ 8 h 29"/>
                <a:gd name="T92" fmla="*/ 5 w 35"/>
                <a:gd name="T93" fmla="*/ 7 h 29"/>
                <a:gd name="T94" fmla="*/ 10 w 35"/>
                <a:gd name="T95" fmla="*/ 8 h 29"/>
                <a:gd name="T96" fmla="*/ 11 w 35"/>
                <a:gd name="T97" fmla="*/ 10 h 29"/>
                <a:gd name="T98" fmla="*/ 12 w 35"/>
                <a:gd name="T99" fmla="*/ 11 h 29"/>
                <a:gd name="T100" fmla="*/ 10 w 35"/>
                <a:gd name="T101" fmla="*/ 10 h 29"/>
                <a:gd name="T102" fmla="*/ 9 w 35"/>
                <a:gd name="T103" fmla="*/ 7 h 29"/>
                <a:gd name="T104" fmla="*/ 9 w 35"/>
                <a:gd name="T105" fmla="*/ 5 h 29"/>
                <a:gd name="T106" fmla="*/ 9 w 35"/>
                <a:gd name="T107" fmla="*/ 7 h 29"/>
                <a:gd name="T108" fmla="*/ 8 w 35"/>
                <a:gd name="T109" fmla="*/ 5 h 29"/>
                <a:gd name="T110" fmla="*/ 0 w 35"/>
                <a:gd name="T111" fmla="*/ 4 h 29"/>
                <a:gd name="T112" fmla="*/ 1 w 35"/>
                <a:gd name="T113" fmla="*/ 4 h 29"/>
                <a:gd name="T114" fmla="*/ 7 w 35"/>
                <a:gd name="T115" fmla="*/ 1 h 29"/>
                <a:gd name="T116" fmla="*/ 9 w 35"/>
                <a:gd name="T117" fmla="*/ 3 h 29"/>
                <a:gd name="T118" fmla="*/ 8 w 35"/>
                <a:gd name="T119" fmla="*/ 3 h 29"/>
                <a:gd name="T120" fmla="*/ 6 w 35"/>
                <a:gd name="T121" fmla="*/ 3 h 29"/>
                <a:gd name="T122" fmla="*/ 6 w 35"/>
                <a:gd name="T1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lnTo>
                    <a:pt x="34" y="29"/>
                  </a:lnTo>
                  <a:lnTo>
                    <a:pt x="35" y="29"/>
                  </a:lnTo>
                  <a:close/>
                  <a:moveTo>
                    <a:pt x="33" y="29"/>
                  </a:move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4" y="29"/>
                  </a:lnTo>
                  <a:lnTo>
                    <a:pt x="33" y="29"/>
                  </a:lnTo>
                  <a:close/>
                  <a:moveTo>
                    <a:pt x="26" y="29"/>
                  </a:moveTo>
                  <a:lnTo>
                    <a:pt x="26" y="28"/>
                  </a:lnTo>
                  <a:lnTo>
                    <a:pt x="26" y="29"/>
                  </a:lnTo>
                  <a:close/>
                  <a:moveTo>
                    <a:pt x="33" y="28"/>
                  </a:move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3" y="28"/>
                  </a:lnTo>
                  <a:close/>
                  <a:moveTo>
                    <a:pt x="27" y="28"/>
                  </a:moveTo>
                  <a:lnTo>
                    <a:pt x="26" y="28"/>
                  </a:lnTo>
                  <a:lnTo>
                    <a:pt x="27" y="28"/>
                  </a:lnTo>
                  <a:close/>
                  <a:moveTo>
                    <a:pt x="23" y="28"/>
                  </a:moveTo>
                  <a:lnTo>
                    <a:pt x="23" y="29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8"/>
                  </a:lnTo>
                  <a:close/>
                  <a:moveTo>
                    <a:pt x="25" y="28"/>
                  </a:moveTo>
                  <a:lnTo>
                    <a:pt x="26" y="28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close/>
                  <a:moveTo>
                    <a:pt x="26" y="28"/>
                  </a:moveTo>
                  <a:lnTo>
                    <a:pt x="27" y="28"/>
                  </a:lnTo>
                  <a:lnTo>
                    <a:pt x="26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29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31" y="28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close/>
                  <a:moveTo>
                    <a:pt x="24" y="26"/>
                  </a:move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close/>
                  <a:moveTo>
                    <a:pt x="18" y="26"/>
                  </a:moveTo>
                  <a:lnTo>
                    <a:pt x="18" y="26"/>
                  </a:lnTo>
                  <a:lnTo>
                    <a:pt x="18" y="26"/>
                  </a:lnTo>
                  <a:close/>
                  <a:moveTo>
                    <a:pt x="17" y="25"/>
                  </a:moveTo>
                  <a:lnTo>
                    <a:pt x="16" y="26"/>
                  </a:lnTo>
                  <a:lnTo>
                    <a:pt x="16" y="25"/>
                  </a:lnTo>
                  <a:lnTo>
                    <a:pt x="17" y="25"/>
                  </a:lnTo>
                  <a:close/>
                  <a:moveTo>
                    <a:pt x="20" y="25"/>
                  </a:move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24" y="25"/>
                  </a:moveTo>
                  <a:lnTo>
                    <a:pt x="24" y="25"/>
                  </a:lnTo>
                  <a:lnTo>
                    <a:pt x="24" y="25"/>
                  </a:lnTo>
                  <a:close/>
                  <a:moveTo>
                    <a:pt x="21" y="24"/>
                  </a:move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close/>
                  <a:moveTo>
                    <a:pt x="23" y="23"/>
                  </a:move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1"/>
                  </a:lnTo>
                  <a:close/>
                  <a:moveTo>
                    <a:pt x="20" y="21"/>
                  </a:move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1"/>
                  </a:lnTo>
                  <a:close/>
                  <a:moveTo>
                    <a:pt x="20" y="21"/>
                  </a:move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close/>
                  <a:moveTo>
                    <a:pt x="15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6" y="18"/>
                  </a:lnTo>
                  <a:lnTo>
                    <a:pt x="17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7" y="18"/>
                  </a:moveTo>
                  <a:lnTo>
                    <a:pt x="17" y="17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7"/>
                  </a:lnTo>
                  <a:lnTo>
                    <a:pt x="16" y="18"/>
                  </a:lnTo>
                  <a:close/>
                  <a:moveTo>
                    <a:pt x="13" y="17"/>
                  </a:moveTo>
                  <a:lnTo>
                    <a:pt x="13" y="17"/>
                  </a:lnTo>
                  <a:lnTo>
                    <a:pt x="13" y="17"/>
                  </a:lnTo>
                  <a:close/>
                  <a:moveTo>
                    <a:pt x="13" y="16"/>
                  </a:move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6"/>
                  </a:moveTo>
                  <a:lnTo>
                    <a:pt x="13" y="16"/>
                  </a:lnTo>
                  <a:lnTo>
                    <a:pt x="12" y="16"/>
                  </a:lnTo>
                  <a:close/>
                  <a:moveTo>
                    <a:pt x="15" y="16"/>
                  </a:moveTo>
                  <a:lnTo>
                    <a:pt x="15" y="16"/>
                  </a:lnTo>
                  <a:lnTo>
                    <a:pt x="15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3" y="16"/>
                  </a:move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5"/>
                  </a:moveTo>
                  <a:lnTo>
                    <a:pt x="12" y="16"/>
                  </a:lnTo>
                  <a:lnTo>
                    <a:pt x="12" y="15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4" y="15"/>
                  </a:moveTo>
                  <a:lnTo>
                    <a:pt x="13" y="15"/>
                  </a:lnTo>
                  <a:lnTo>
                    <a:pt x="14" y="15"/>
                  </a:lnTo>
                  <a:close/>
                  <a:moveTo>
                    <a:pt x="11" y="14"/>
                  </a:move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11" y="13"/>
                  </a:moveTo>
                  <a:lnTo>
                    <a:pt x="12" y="13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1" y="13"/>
                  </a:move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0" y="12"/>
                  </a:moveTo>
                  <a:lnTo>
                    <a:pt x="10" y="13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close/>
                  <a:moveTo>
                    <a:pt x="9" y="12"/>
                  </a:move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9" y="11"/>
                  </a:move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8" y="11"/>
                  </a:move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close/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close/>
                  <a:moveTo>
                    <a:pt x="9" y="10"/>
                  </a:moveTo>
                  <a:lnTo>
                    <a:pt x="9" y="10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10"/>
                  </a:lnTo>
                  <a:close/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10" y="10"/>
                  </a:lnTo>
                  <a:close/>
                  <a:moveTo>
                    <a:pt x="7" y="10"/>
                  </a:moveTo>
                  <a:lnTo>
                    <a:pt x="6" y="10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5" y="8"/>
                  </a:move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5" y="7"/>
                  </a:move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5" y="6"/>
                  </a:moveTo>
                  <a:lnTo>
                    <a:pt x="5" y="5"/>
                  </a:lnTo>
                  <a:lnTo>
                    <a:pt x="5" y="6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9" y="4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9" y="4"/>
                  </a:move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  <a:moveTo>
                    <a:pt x="0" y="4"/>
                  </a:moveTo>
                  <a:lnTo>
                    <a:pt x="1" y="4"/>
                  </a:lnTo>
                  <a:lnTo>
                    <a:pt x="0" y="4"/>
                  </a:lnTo>
                  <a:close/>
                  <a:moveTo>
                    <a:pt x="6" y="3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6" y="4"/>
                  </a:lnTo>
                  <a:lnTo>
                    <a:pt x="6" y="3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2" name="Freeform 18"/>
            <p:cNvSpPr>
              <a:spLocks noEditPoints="1"/>
            </p:cNvSpPr>
            <p:nvPr/>
          </p:nvSpPr>
          <p:spPr bwMode="auto">
            <a:xfrm>
              <a:off x="5901447" y="3732783"/>
              <a:ext cx="45686" cy="46846"/>
            </a:xfrm>
            <a:custGeom>
              <a:avLst/>
              <a:gdLst>
                <a:gd name="T0" fmla="*/ 22 w 35"/>
                <a:gd name="T1" fmla="*/ 34 h 34"/>
                <a:gd name="T2" fmla="*/ 35 w 35"/>
                <a:gd name="T3" fmla="*/ 30 h 34"/>
                <a:gd name="T4" fmla="*/ 28 w 35"/>
                <a:gd name="T5" fmla="*/ 30 h 34"/>
                <a:gd name="T6" fmla="*/ 28 w 35"/>
                <a:gd name="T7" fmla="*/ 29 h 34"/>
                <a:gd name="T8" fmla="*/ 28 w 35"/>
                <a:gd name="T9" fmla="*/ 29 h 34"/>
                <a:gd name="T10" fmla="*/ 25 w 35"/>
                <a:gd name="T11" fmla="*/ 29 h 34"/>
                <a:gd name="T12" fmla="*/ 30 w 35"/>
                <a:gd name="T13" fmla="*/ 29 h 34"/>
                <a:gd name="T14" fmla="*/ 25 w 35"/>
                <a:gd name="T15" fmla="*/ 28 h 34"/>
                <a:gd name="T16" fmla="*/ 25 w 35"/>
                <a:gd name="T17" fmla="*/ 28 h 34"/>
                <a:gd name="T18" fmla="*/ 29 w 35"/>
                <a:gd name="T19" fmla="*/ 26 h 34"/>
                <a:gd name="T20" fmla="*/ 21 w 35"/>
                <a:gd name="T21" fmla="*/ 27 h 34"/>
                <a:gd name="T22" fmla="*/ 23 w 35"/>
                <a:gd name="T23" fmla="*/ 25 h 34"/>
                <a:gd name="T24" fmla="*/ 22 w 35"/>
                <a:gd name="T25" fmla="*/ 25 h 34"/>
                <a:gd name="T26" fmla="*/ 25 w 35"/>
                <a:gd name="T27" fmla="*/ 24 h 34"/>
                <a:gd name="T28" fmla="*/ 21 w 35"/>
                <a:gd name="T29" fmla="*/ 22 h 34"/>
                <a:gd name="T30" fmla="*/ 21 w 35"/>
                <a:gd name="T31" fmla="*/ 22 h 34"/>
                <a:gd name="T32" fmla="*/ 19 w 35"/>
                <a:gd name="T33" fmla="*/ 20 h 34"/>
                <a:gd name="T34" fmla="*/ 19 w 35"/>
                <a:gd name="T35" fmla="*/ 20 h 34"/>
                <a:gd name="T36" fmla="*/ 19 w 35"/>
                <a:gd name="T37" fmla="*/ 19 h 34"/>
                <a:gd name="T38" fmla="*/ 18 w 35"/>
                <a:gd name="T39" fmla="*/ 19 h 34"/>
                <a:gd name="T40" fmla="*/ 17 w 35"/>
                <a:gd name="T41" fmla="*/ 19 h 34"/>
                <a:gd name="T42" fmla="*/ 17 w 35"/>
                <a:gd name="T43" fmla="*/ 19 h 34"/>
                <a:gd name="T44" fmla="*/ 15 w 35"/>
                <a:gd name="T45" fmla="*/ 19 h 34"/>
                <a:gd name="T46" fmla="*/ 14 w 35"/>
                <a:gd name="T47" fmla="*/ 18 h 34"/>
                <a:gd name="T48" fmla="*/ 14 w 35"/>
                <a:gd name="T49" fmla="*/ 18 h 34"/>
                <a:gd name="T50" fmla="*/ 14 w 35"/>
                <a:gd name="T51" fmla="*/ 17 h 34"/>
                <a:gd name="T52" fmla="*/ 14 w 35"/>
                <a:gd name="T53" fmla="*/ 16 h 34"/>
                <a:gd name="T54" fmla="*/ 14 w 35"/>
                <a:gd name="T55" fmla="*/ 16 h 34"/>
                <a:gd name="T56" fmla="*/ 14 w 35"/>
                <a:gd name="T57" fmla="*/ 16 h 34"/>
                <a:gd name="T58" fmla="*/ 12 w 35"/>
                <a:gd name="T59" fmla="*/ 16 h 34"/>
                <a:gd name="T60" fmla="*/ 13 w 35"/>
                <a:gd name="T61" fmla="*/ 15 h 34"/>
                <a:gd name="T62" fmla="*/ 12 w 35"/>
                <a:gd name="T63" fmla="*/ 15 h 34"/>
                <a:gd name="T64" fmla="*/ 12 w 35"/>
                <a:gd name="T65" fmla="*/ 14 h 34"/>
                <a:gd name="T66" fmla="*/ 11 w 35"/>
                <a:gd name="T67" fmla="*/ 13 h 34"/>
                <a:gd name="T68" fmla="*/ 10 w 35"/>
                <a:gd name="T69" fmla="*/ 13 h 34"/>
                <a:gd name="T70" fmla="*/ 13 w 35"/>
                <a:gd name="T71" fmla="*/ 12 h 34"/>
                <a:gd name="T72" fmla="*/ 13 w 35"/>
                <a:gd name="T73" fmla="*/ 12 h 34"/>
                <a:gd name="T74" fmla="*/ 8 w 35"/>
                <a:gd name="T75" fmla="*/ 11 h 34"/>
                <a:gd name="T76" fmla="*/ 10 w 35"/>
                <a:gd name="T77" fmla="*/ 11 h 34"/>
                <a:gd name="T78" fmla="*/ 9 w 35"/>
                <a:gd name="T79" fmla="*/ 7 h 34"/>
                <a:gd name="T80" fmla="*/ 2 w 35"/>
                <a:gd name="T81" fmla="*/ 5 h 34"/>
                <a:gd name="T82" fmla="*/ 1 w 35"/>
                <a:gd name="T83" fmla="*/ 4 h 34"/>
                <a:gd name="T84" fmla="*/ 0 w 35"/>
                <a:gd name="T85" fmla="*/ 2 h 34"/>
                <a:gd name="T86" fmla="*/ 7 w 35"/>
                <a:gd name="T8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4">
                  <a:moveTo>
                    <a:pt x="22" y="34"/>
                  </a:moveTo>
                  <a:lnTo>
                    <a:pt x="21" y="34"/>
                  </a:lnTo>
                  <a:lnTo>
                    <a:pt x="22" y="34"/>
                  </a:lnTo>
                  <a:close/>
                  <a:moveTo>
                    <a:pt x="35" y="30"/>
                  </a:moveTo>
                  <a:lnTo>
                    <a:pt x="35" y="30"/>
                  </a:lnTo>
                  <a:lnTo>
                    <a:pt x="35" y="30"/>
                  </a:lnTo>
                  <a:close/>
                  <a:moveTo>
                    <a:pt x="28" y="30"/>
                  </a:moveTo>
                  <a:lnTo>
                    <a:pt x="28" y="29"/>
                  </a:lnTo>
                  <a:lnTo>
                    <a:pt x="28" y="30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5" y="29"/>
                  </a:moveTo>
                  <a:lnTo>
                    <a:pt x="25" y="30"/>
                  </a:lnTo>
                  <a:lnTo>
                    <a:pt x="25" y="29"/>
                  </a:lnTo>
                  <a:close/>
                  <a:moveTo>
                    <a:pt x="30" y="29"/>
                  </a:moveTo>
                  <a:lnTo>
                    <a:pt x="30" y="29"/>
                  </a:lnTo>
                  <a:lnTo>
                    <a:pt x="30" y="29"/>
                  </a:lnTo>
                  <a:close/>
                  <a:moveTo>
                    <a:pt x="25" y="28"/>
                  </a:move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7"/>
                  </a:lnTo>
                  <a:lnTo>
                    <a:pt x="25" y="28"/>
                  </a:lnTo>
                  <a:close/>
                  <a:moveTo>
                    <a:pt x="29" y="26"/>
                  </a:moveTo>
                  <a:lnTo>
                    <a:pt x="29" y="27"/>
                  </a:lnTo>
                  <a:lnTo>
                    <a:pt x="29" y="26"/>
                  </a:lnTo>
                  <a:close/>
                  <a:moveTo>
                    <a:pt x="21" y="27"/>
                  </a:moveTo>
                  <a:lnTo>
                    <a:pt x="21" y="26"/>
                  </a:lnTo>
                  <a:lnTo>
                    <a:pt x="21" y="27"/>
                  </a:lnTo>
                  <a:close/>
                  <a:moveTo>
                    <a:pt x="23" y="25"/>
                  </a:moveTo>
                  <a:lnTo>
                    <a:pt x="22" y="25"/>
                  </a:lnTo>
                  <a:lnTo>
                    <a:pt x="23" y="25"/>
                  </a:lnTo>
                  <a:close/>
                  <a:moveTo>
                    <a:pt x="22" y="25"/>
                  </a:moveTo>
                  <a:lnTo>
                    <a:pt x="22" y="24"/>
                  </a:lnTo>
                  <a:lnTo>
                    <a:pt x="22" y="25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21" y="22"/>
                  </a:moveTo>
                  <a:lnTo>
                    <a:pt x="21" y="22"/>
                  </a:lnTo>
                  <a:lnTo>
                    <a:pt x="21" y="22"/>
                  </a:lnTo>
                  <a:close/>
                  <a:moveTo>
                    <a:pt x="21" y="22"/>
                  </a:moveTo>
                  <a:lnTo>
                    <a:pt x="20" y="22"/>
                  </a:lnTo>
                  <a:lnTo>
                    <a:pt x="21" y="22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close/>
                  <a:moveTo>
                    <a:pt x="18" y="19"/>
                  </a:move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17" y="19"/>
                  </a:moveTo>
                  <a:lnTo>
                    <a:pt x="17" y="19"/>
                  </a:lnTo>
                  <a:lnTo>
                    <a:pt x="17" y="19"/>
                  </a:lnTo>
                  <a:close/>
                  <a:moveTo>
                    <a:pt x="17" y="19"/>
                  </a:moveTo>
                  <a:lnTo>
                    <a:pt x="16" y="19"/>
                  </a:lnTo>
                  <a:lnTo>
                    <a:pt x="17" y="19"/>
                  </a:lnTo>
                  <a:close/>
                  <a:moveTo>
                    <a:pt x="15" y="19"/>
                  </a:moveTo>
                  <a:lnTo>
                    <a:pt x="14" y="19"/>
                  </a:lnTo>
                  <a:lnTo>
                    <a:pt x="15" y="19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7"/>
                  </a:moveTo>
                  <a:lnTo>
                    <a:pt x="13" y="17"/>
                  </a:lnTo>
                  <a:lnTo>
                    <a:pt x="14" y="17"/>
                  </a:lnTo>
                  <a:close/>
                  <a:moveTo>
                    <a:pt x="14" y="16"/>
                  </a:moveTo>
                  <a:lnTo>
                    <a:pt x="14" y="16"/>
                  </a:lnTo>
                  <a:lnTo>
                    <a:pt x="14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2" y="16"/>
                  </a:moveTo>
                  <a:lnTo>
                    <a:pt x="12" y="15"/>
                  </a:lnTo>
                  <a:lnTo>
                    <a:pt x="12" y="16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1" y="15"/>
                  </a:lnTo>
                  <a:lnTo>
                    <a:pt x="12" y="15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11" y="13"/>
                  </a:moveTo>
                  <a:lnTo>
                    <a:pt x="10" y="13"/>
                  </a:lnTo>
                  <a:lnTo>
                    <a:pt x="11" y="13"/>
                  </a:lnTo>
                  <a:close/>
                  <a:moveTo>
                    <a:pt x="10" y="13"/>
                  </a:moveTo>
                  <a:lnTo>
                    <a:pt x="9" y="13"/>
                  </a:lnTo>
                  <a:lnTo>
                    <a:pt x="10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8" y="11"/>
                  </a:moveTo>
                  <a:lnTo>
                    <a:pt x="8" y="12"/>
                  </a:lnTo>
                  <a:lnTo>
                    <a:pt x="8" y="11"/>
                  </a:lnTo>
                  <a:close/>
                  <a:moveTo>
                    <a:pt x="10" y="11"/>
                  </a:moveTo>
                  <a:lnTo>
                    <a:pt x="9" y="11"/>
                  </a:lnTo>
                  <a:lnTo>
                    <a:pt x="10" y="11"/>
                  </a:lnTo>
                  <a:close/>
                  <a:moveTo>
                    <a:pt x="9" y="7"/>
                  </a:moveTo>
                  <a:lnTo>
                    <a:pt x="9" y="8"/>
                  </a:lnTo>
                  <a:lnTo>
                    <a:pt x="9" y="7"/>
                  </a:lnTo>
                  <a:close/>
                  <a:moveTo>
                    <a:pt x="2" y="5"/>
                  </a:moveTo>
                  <a:lnTo>
                    <a:pt x="1" y="5"/>
                  </a:lnTo>
                  <a:lnTo>
                    <a:pt x="2" y="5"/>
                  </a:lnTo>
                  <a:close/>
                  <a:moveTo>
                    <a:pt x="1" y="4"/>
                  </a:move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3" name="Freeform 19"/>
            <p:cNvSpPr>
              <a:spLocks/>
            </p:cNvSpPr>
            <p:nvPr/>
          </p:nvSpPr>
          <p:spPr bwMode="auto">
            <a:xfrm>
              <a:off x="5885783" y="3641846"/>
              <a:ext cx="71793" cy="39958"/>
            </a:xfrm>
            <a:custGeom>
              <a:avLst/>
              <a:gdLst>
                <a:gd name="T0" fmla="*/ 20 w 55"/>
                <a:gd name="T1" fmla="*/ 0 h 29"/>
                <a:gd name="T2" fmla="*/ 22 w 55"/>
                <a:gd name="T3" fmla="*/ 2 h 29"/>
                <a:gd name="T4" fmla="*/ 23 w 55"/>
                <a:gd name="T5" fmla="*/ 0 h 29"/>
                <a:gd name="T6" fmla="*/ 25 w 55"/>
                <a:gd name="T7" fmla="*/ 0 h 29"/>
                <a:gd name="T8" fmla="*/ 26 w 55"/>
                <a:gd name="T9" fmla="*/ 3 h 29"/>
                <a:gd name="T10" fmla="*/ 28 w 55"/>
                <a:gd name="T11" fmla="*/ 3 h 29"/>
                <a:gd name="T12" fmla="*/ 30 w 55"/>
                <a:gd name="T13" fmla="*/ 4 h 29"/>
                <a:gd name="T14" fmla="*/ 33 w 55"/>
                <a:gd name="T15" fmla="*/ 5 h 29"/>
                <a:gd name="T16" fmla="*/ 35 w 55"/>
                <a:gd name="T17" fmla="*/ 5 h 29"/>
                <a:gd name="T18" fmla="*/ 33 w 55"/>
                <a:gd name="T19" fmla="*/ 7 h 29"/>
                <a:gd name="T20" fmla="*/ 34 w 55"/>
                <a:gd name="T21" fmla="*/ 8 h 29"/>
                <a:gd name="T22" fmla="*/ 36 w 55"/>
                <a:gd name="T23" fmla="*/ 11 h 29"/>
                <a:gd name="T24" fmla="*/ 38 w 55"/>
                <a:gd name="T25" fmla="*/ 9 h 29"/>
                <a:gd name="T26" fmla="*/ 39 w 55"/>
                <a:gd name="T27" fmla="*/ 8 h 29"/>
                <a:gd name="T28" fmla="*/ 41 w 55"/>
                <a:gd name="T29" fmla="*/ 8 h 29"/>
                <a:gd name="T30" fmla="*/ 42 w 55"/>
                <a:gd name="T31" fmla="*/ 9 h 29"/>
                <a:gd name="T32" fmla="*/ 44 w 55"/>
                <a:gd name="T33" fmla="*/ 9 h 29"/>
                <a:gd name="T34" fmla="*/ 45 w 55"/>
                <a:gd name="T35" fmla="*/ 9 h 29"/>
                <a:gd name="T36" fmla="*/ 45 w 55"/>
                <a:gd name="T37" fmla="*/ 11 h 29"/>
                <a:gd name="T38" fmla="*/ 47 w 55"/>
                <a:gd name="T39" fmla="*/ 12 h 29"/>
                <a:gd name="T40" fmla="*/ 48 w 55"/>
                <a:gd name="T41" fmla="*/ 12 h 29"/>
                <a:gd name="T42" fmla="*/ 51 w 55"/>
                <a:gd name="T43" fmla="*/ 13 h 29"/>
                <a:gd name="T44" fmla="*/ 52 w 55"/>
                <a:gd name="T45" fmla="*/ 13 h 29"/>
                <a:gd name="T46" fmla="*/ 53 w 55"/>
                <a:gd name="T47" fmla="*/ 16 h 29"/>
                <a:gd name="T48" fmla="*/ 54 w 55"/>
                <a:gd name="T49" fmla="*/ 18 h 29"/>
                <a:gd name="T50" fmla="*/ 51 w 55"/>
                <a:gd name="T51" fmla="*/ 19 h 29"/>
                <a:gd name="T52" fmla="*/ 49 w 55"/>
                <a:gd name="T53" fmla="*/ 20 h 29"/>
                <a:gd name="T54" fmla="*/ 48 w 55"/>
                <a:gd name="T55" fmla="*/ 23 h 29"/>
                <a:gd name="T56" fmla="*/ 46 w 55"/>
                <a:gd name="T57" fmla="*/ 24 h 29"/>
                <a:gd name="T58" fmla="*/ 44 w 55"/>
                <a:gd name="T59" fmla="*/ 26 h 29"/>
                <a:gd name="T60" fmla="*/ 41 w 55"/>
                <a:gd name="T61" fmla="*/ 26 h 29"/>
                <a:gd name="T62" fmla="*/ 39 w 55"/>
                <a:gd name="T63" fmla="*/ 28 h 29"/>
                <a:gd name="T64" fmla="*/ 37 w 55"/>
                <a:gd name="T65" fmla="*/ 27 h 29"/>
                <a:gd name="T66" fmla="*/ 35 w 55"/>
                <a:gd name="T67" fmla="*/ 27 h 29"/>
                <a:gd name="T68" fmla="*/ 32 w 55"/>
                <a:gd name="T69" fmla="*/ 27 h 29"/>
                <a:gd name="T70" fmla="*/ 30 w 55"/>
                <a:gd name="T71" fmla="*/ 26 h 29"/>
                <a:gd name="T72" fmla="*/ 27 w 55"/>
                <a:gd name="T73" fmla="*/ 24 h 29"/>
                <a:gd name="T74" fmla="*/ 25 w 55"/>
                <a:gd name="T75" fmla="*/ 24 h 29"/>
                <a:gd name="T76" fmla="*/ 23 w 55"/>
                <a:gd name="T77" fmla="*/ 26 h 29"/>
                <a:gd name="T78" fmla="*/ 22 w 55"/>
                <a:gd name="T79" fmla="*/ 27 h 29"/>
                <a:gd name="T80" fmla="*/ 19 w 55"/>
                <a:gd name="T81" fmla="*/ 29 h 29"/>
                <a:gd name="T82" fmla="*/ 17 w 55"/>
                <a:gd name="T83" fmla="*/ 29 h 29"/>
                <a:gd name="T84" fmla="*/ 15 w 55"/>
                <a:gd name="T85" fmla="*/ 27 h 29"/>
                <a:gd name="T86" fmla="*/ 13 w 55"/>
                <a:gd name="T87" fmla="*/ 25 h 29"/>
                <a:gd name="T88" fmla="*/ 11 w 55"/>
                <a:gd name="T89" fmla="*/ 24 h 29"/>
                <a:gd name="T90" fmla="*/ 9 w 55"/>
                <a:gd name="T91" fmla="*/ 22 h 29"/>
                <a:gd name="T92" fmla="*/ 7 w 55"/>
                <a:gd name="T93" fmla="*/ 20 h 29"/>
                <a:gd name="T94" fmla="*/ 5 w 55"/>
                <a:gd name="T95" fmla="*/ 19 h 29"/>
                <a:gd name="T96" fmla="*/ 4 w 55"/>
                <a:gd name="T97" fmla="*/ 17 h 29"/>
                <a:gd name="T98" fmla="*/ 3 w 55"/>
                <a:gd name="T99" fmla="*/ 16 h 29"/>
                <a:gd name="T100" fmla="*/ 3 w 55"/>
                <a:gd name="T101" fmla="*/ 13 h 29"/>
                <a:gd name="T102" fmla="*/ 1 w 55"/>
                <a:gd name="T103" fmla="*/ 11 h 29"/>
                <a:gd name="T104" fmla="*/ 0 w 55"/>
                <a:gd name="T105" fmla="*/ 9 h 29"/>
                <a:gd name="T106" fmla="*/ 1 w 55"/>
                <a:gd name="T107" fmla="*/ 9 h 29"/>
                <a:gd name="T108" fmla="*/ 3 w 55"/>
                <a:gd name="T109" fmla="*/ 8 h 29"/>
                <a:gd name="T110" fmla="*/ 5 w 55"/>
                <a:gd name="T111" fmla="*/ 7 h 29"/>
                <a:gd name="T112" fmla="*/ 7 w 55"/>
                <a:gd name="T113" fmla="*/ 7 h 29"/>
                <a:gd name="T114" fmla="*/ 10 w 55"/>
                <a:gd name="T115" fmla="*/ 5 h 29"/>
                <a:gd name="T116" fmla="*/ 12 w 55"/>
                <a:gd name="T117" fmla="*/ 4 h 29"/>
                <a:gd name="T118" fmla="*/ 14 w 55"/>
                <a:gd name="T119" fmla="*/ 3 h 29"/>
                <a:gd name="T120" fmla="*/ 16 w 55"/>
                <a:gd name="T121" fmla="*/ 2 h 29"/>
                <a:gd name="T122" fmla="*/ 19 w 55"/>
                <a:gd name="T123" fmla="*/ 1 h 29"/>
                <a:gd name="T124" fmla="*/ 18 w 55"/>
                <a:gd name="T12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" h="29">
                  <a:moveTo>
                    <a:pt x="18" y="0"/>
                  </a:move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9" y="29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4" name="Freeform 20"/>
            <p:cNvSpPr>
              <a:spLocks noEditPoints="1"/>
            </p:cNvSpPr>
            <p:nvPr/>
          </p:nvSpPr>
          <p:spPr bwMode="auto">
            <a:xfrm>
              <a:off x="5847929" y="3541264"/>
              <a:ext cx="70488" cy="41335"/>
            </a:xfrm>
            <a:custGeom>
              <a:avLst/>
              <a:gdLst>
                <a:gd name="T0" fmla="*/ 24 w 54"/>
                <a:gd name="T1" fmla="*/ 26 h 30"/>
                <a:gd name="T2" fmla="*/ 25 w 54"/>
                <a:gd name="T3" fmla="*/ 27 h 30"/>
                <a:gd name="T4" fmla="*/ 26 w 54"/>
                <a:gd name="T5" fmla="*/ 26 h 30"/>
                <a:gd name="T6" fmla="*/ 27 w 54"/>
                <a:gd name="T7" fmla="*/ 28 h 30"/>
                <a:gd name="T8" fmla="*/ 26 w 54"/>
                <a:gd name="T9" fmla="*/ 29 h 30"/>
                <a:gd name="T10" fmla="*/ 26 w 54"/>
                <a:gd name="T11" fmla="*/ 29 h 30"/>
                <a:gd name="T12" fmla="*/ 24 w 54"/>
                <a:gd name="T13" fmla="*/ 29 h 30"/>
                <a:gd name="T14" fmla="*/ 24 w 54"/>
                <a:gd name="T15" fmla="*/ 29 h 30"/>
                <a:gd name="T16" fmla="*/ 22 w 54"/>
                <a:gd name="T17" fmla="*/ 28 h 30"/>
                <a:gd name="T18" fmla="*/ 21 w 54"/>
                <a:gd name="T19" fmla="*/ 27 h 30"/>
                <a:gd name="T20" fmla="*/ 21 w 54"/>
                <a:gd name="T21" fmla="*/ 26 h 30"/>
                <a:gd name="T22" fmla="*/ 21 w 54"/>
                <a:gd name="T23" fmla="*/ 25 h 30"/>
                <a:gd name="T24" fmla="*/ 27 w 54"/>
                <a:gd name="T25" fmla="*/ 26 h 30"/>
                <a:gd name="T26" fmla="*/ 29 w 54"/>
                <a:gd name="T27" fmla="*/ 26 h 30"/>
                <a:gd name="T28" fmla="*/ 29 w 54"/>
                <a:gd name="T29" fmla="*/ 27 h 30"/>
                <a:gd name="T30" fmla="*/ 28 w 54"/>
                <a:gd name="T31" fmla="*/ 30 h 30"/>
                <a:gd name="T32" fmla="*/ 27 w 54"/>
                <a:gd name="T33" fmla="*/ 29 h 30"/>
                <a:gd name="T34" fmla="*/ 28 w 54"/>
                <a:gd name="T35" fmla="*/ 28 h 30"/>
                <a:gd name="T36" fmla="*/ 27 w 54"/>
                <a:gd name="T37" fmla="*/ 27 h 30"/>
                <a:gd name="T38" fmla="*/ 26 w 54"/>
                <a:gd name="T39" fmla="*/ 26 h 30"/>
                <a:gd name="T40" fmla="*/ 27 w 54"/>
                <a:gd name="T41" fmla="*/ 26 h 30"/>
                <a:gd name="T42" fmla="*/ 53 w 54"/>
                <a:gd name="T43" fmla="*/ 23 h 30"/>
                <a:gd name="T44" fmla="*/ 54 w 54"/>
                <a:gd name="T45" fmla="*/ 25 h 30"/>
                <a:gd name="T46" fmla="*/ 51 w 54"/>
                <a:gd name="T47" fmla="*/ 25 h 30"/>
                <a:gd name="T48" fmla="*/ 50 w 54"/>
                <a:gd name="T49" fmla="*/ 23 h 30"/>
                <a:gd name="T50" fmla="*/ 51 w 54"/>
                <a:gd name="T51" fmla="*/ 21 h 30"/>
                <a:gd name="T52" fmla="*/ 15 w 54"/>
                <a:gd name="T53" fmla="*/ 17 h 30"/>
                <a:gd name="T54" fmla="*/ 16 w 54"/>
                <a:gd name="T55" fmla="*/ 18 h 30"/>
                <a:gd name="T56" fmla="*/ 16 w 54"/>
                <a:gd name="T57" fmla="*/ 19 h 30"/>
                <a:gd name="T58" fmla="*/ 17 w 54"/>
                <a:gd name="T59" fmla="*/ 19 h 30"/>
                <a:gd name="T60" fmla="*/ 17 w 54"/>
                <a:gd name="T61" fmla="*/ 18 h 30"/>
                <a:gd name="T62" fmla="*/ 18 w 54"/>
                <a:gd name="T63" fmla="*/ 19 h 30"/>
                <a:gd name="T64" fmla="*/ 18 w 54"/>
                <a:gd name="T65" fmla="*/ 21 h 30"/>
                <a:gd name="T66" fmla="*/ 19 w 54"/>
                <a:gd name="T67" fmla="*/ 22 h 30"/>
                <a:gd name="T68" fmla="*/ 18 w 54"/>
                <a:gd name="T69" fmla="*/ 24 h 30"/>
                <a:gd name="T70" fmla="*/ 16 w 54"/>
                <a:gd name="T71" fmla="*/ 24 h 30"/>
                <a:gd name="T72" fmla="*/ 15 w 54"/>
                <a:gd name="T73" fmla="*/ 24 h 30"/>
                <a:gd name="T74" fmla="*/ 14 w 54"/>
                <a:gd name="T75" fmla="*/ 24 h 30"/>
                <a:gd name="T76" fmla="*/ 13 w 54"/>
                <a:gd name="T77" fmla="*/ 23 h 30"/>
                <a:gd name="T78" fmla="*/ 13 w 54"/>
                <a:gd name="T79" fmla="*/ 22 h 30"/>
                <a:gd name="T80" fmla="*/ 13 w 54"/>
                <a:gd name="T81" fmla="*/ 22 h 30"/>
                <a:gd name="T82" fmla="*/ 11 w 54"/>
                <a:gd name="T83" fmla="*/ 22 h 30"/>
                <a:gd name="T84" fmla="*/ 10 w 54"/>
                <a:gd name="T85" fmla="*/ 20 h 30"/>
                <a:gd name="T86" fmla="*/ 11 w 54"/>
                <a:gd name="T87" fmla="*/ 20 h 30"/>
                <a:gd name="T88" fmla="*/ 10 w 54"/>
                <a:gd name="T89" fmla="*/ 19 h 30"/>
                <a:gd name="T90" fmla="*/ 11 w 54"/>
                <a:gd name="T91" fmla="*/ 19 h 30"/>
                <a:gd name="T92" fmla="*/ 10 w 54"/>
                <a:gd name="T93" fmla="*/ 19 h 30"/>
                <a:gd name="T94" fmla="*/ 13 w 54"/>
                <a:gd name="T95" fmla="*/ 18 h 30"/>
                <a:gd name="T96" fmla="*/ 14 w 54"/>
                <a:gd name="T97" fmla="*/ 18 h 30"/>
                <a:gd name="T98" fmla="*/ 15 w 54"/>
                <a:gd name="T99" fmla="*/ 18 h 30"/>
                <a:gd name="T100" fmla="*/ 3 w 54"/>
                <a:gd name="T101" fmla="*/ 1 h 30"/>
                <a:gd name="T102" fmla="*/ 3 w 54"/>
                <a:gd name="T103" fmla="*/ 3 h 30"/>
                <a:gd name="T104" fmla="*/ 2 w 54"/>
                <a:gd name="T105" fmla="*/ 4 h 30"/>
                <a:gd name="T106" fmla="*/ 1 w 54"/>
                <a:gd name="T107" fmla="*/ 3 h 30"/>
                <a:gd name="T108" fmla="*/ 0 w 54"/>
                <a:gd name="T109" fmla="*/ 3 h 30"/>
                <a:gd name="T110" fmla="*/ 1 w 54"/>
                <a:gd name="T111" fmla="*/ 2 h 30"/>
                <a:gd name="T112" fmla="*/ 2 w 54"/>
                <a:gd name="T113" fmla="*/ 1 h 30"/>
                <a:gd name="T114" fmla="*/ 3 w 54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30">
                  <a:moveTo>
                    <a:pt x="22" y="25"/>
                  </a:move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7" y="25"/>
                  </a:moveTo>
                  <a:lnTo>
                    <a:pt x="28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5"/>
                  </a:lnTo>
                  <a:close/>
                  <a:moveTo>
                    <a:pt x="52" y="22"/>
                  </a:moveTo>
                  <a:lnTo>
                    <a:pt x="52" y="22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5"/>
                  </a:lnTo>
                  <a:lnTo>
                    <a:pt x="54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1"/>
                  </a:lnTo>
                  <a:lnTo>
                    <a:pt x="50" y="21"/>
                  </a:lnTo>
                  <a:lnTo>
                    <a:pt x="51" y="21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15" y="17"/>
                  </a:moveTo>
                  <a:lnTo>
                    <a:pt x="15" y="17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5" y="17"/>
                  </a:lnTo>
                  <a:close/>
                  <a:moveTo>
                    <a:pt x="3" y="0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5" name="Freeform 21"/>
            <p:cNvSpPr>
              <a:spLocks noEditPoints="1"/>
            </p:cNvSpPr>
            <p:nvPr/>
          </p:nvSpPr>
          <p:spPr bwMode="auto">
            <a:xfrm>
              <a:off x="5844013" y="3527486"/>
              <a:ext cx="46992" cy="50980"/>
            </a:xfrm>
            <a:custGeom>
              <a:avLst/>
              <a:gdLst>
                <a:gd name="T0" fmla="*/ 36 w 36"/>
                <a:gd name="T1" fmla="*/ 24 h 37"/>
                <a:gd name="T2" fmla="*/ 36 w 36"/>
                <a:gd name="T3" fmla="*/ 26 h 37"/>
                <a:gd name="T4" fmla="*/ 33 w 36"/>
                <a:gd name="T5" fmla="*/ 29 h 37"/>
                <a:gd name="T6" fmla="*/ 33 w 36"/>
                <a:gd name="T7" fmla="*/ 32 h 37"/>
                <a:gd name="T8" fmla="*/ 32 w 36"/>
                <a:gd name="T9" fmla="*/ 33 h 37"/>
                <a:gd name="T10" fmla="*/ 31 w 36"/>
                <a:gd name="T11" fmla="*/ 35 h 37"/>
                <a:gd name="T12" fmla="*/ 29 w 36"/>
                <a:gd name="T13" fmla="*/ 33 h 37"/>
                <a:gd name="T14" fmla="*/ 27 w 36"/>
                <a:gd name="T15" fmla="*/ 32 h 37"/>
                <a:gd name="T16" fmla="*/ 24 w 36"/>
                <a:gd name="T17" fmla="*/ 28 h 37"/>
                <a:gd name="T18" fmla="*/ 23 w 36"/>
                <a:gd name="T19" fmla="*/ 26 h 37"/>
                <a:gd name="T20" fmla="*/ 26 w 36"/>
                <a:gd name="T21" fmla="*/ 25 h 37"/>
                <a:gd name="T22" fmla="*/ 27 w 36"/>
                <a:gd name="T23" fmla="*/ 23 h 37"/>
                <a:gd name="T24" fmla="*/ 29 w 36"/>
                <a:gd name="T25" fmla="*/ 22 h 37"/>
                <a:gd name="T26" fmla="*/ 29 w 36"/>
                <a:gd name="T27" fmla="*/ 26 h 37"/>
                <a:gd name="T28" fmla="*/ 31 w 36"/>
                <a:gd name="T29" fmla="*/ 24 h 37"/>
                <a:gd name="T30" fmla="*/ 31 w 36"/>
                <a:gd name="T31" fmla="*/ 26 h 37"/>
                <a:gd name="T32" fmla="*/ 32 w 36"/>
                <a:gd name="T33" fmla="*/ 26 h 37"/>
                <a:gd name="T34" fmla="*/ 31 w 36"/>
                <a:gd name="T35" fmla="*/ 22 h 37"/>
                <a:gd name="T36" fmla="*/ 17 w 36"/>
                <a:gd name="T37" fmla="*/ 10 h 37"/>
                <a:gd name="T38" fmla="*/ 16 w 36"/>
                <a:gd name="T39" fmla="*/ 14 h 37"/>
                <a:gd name="T40" fmla="*/ 18 w 36"/>
                <a:gd name="T41" fmla="*/ 14 h 37"/>
                <a:gd name="T42" fmla="*/ 18 w 36"/>
                <a:gd name="T43" fmla="*/ 15 h 37"/>
                <a:gd name="T44" fmla="*/ 23 w 36"/>
                <a:gd name="T45" fmla="*/ 17 h 37"/>
                <a:gd name="T46" fmla="*/ 20 w 36"/>
                <a:gd name="T47" fmla="*/ 20 h 37"/>
                <a:gd name="T48" fmla="*/ 18 w 36"/>
                <a:gd name="T49" fmla="*/ 20 h 37"/>
                <a:gd name="T50" fmla="*/ 17 w 36"/>
                <a:gd name="T51" fmla="*/ 20 h 37"/>
                <a:gd name="T52" fmla="*/ 16 w 36"/>
                <a:gd name="T53" fmla="*/ 24 h 37"/>
                <a:gd name="T54" fmla="*/ 16 w 36"/>
                <a:gd name="T55" fmla="*/ 25 h 37"/>
                <a:gd name="T56" fmla="*/ 12 w 36"/>
                <a:gd name="T57" fmla="*/ 26 h 37"/>
                <a:gd name="T58" fmla="*/ 12 w 36"/>
                <a:gd name="T59" fmla="*/ 29 h 37"/>
                <a:gd name="T60" fmla="*/ 13 w 36"/>
                <a:gd name="T61" fmla="*/ 31 h 37"/>
                <a:gd name="T62" fmla="*/ 12 w 36"/>
                <a:gd name="T63" fmla="*/ 32 h 37"/>
                <a:gd name="T64" fmla="*/ 12 w 36"/>
                <a:gd name="T65" fmla="*/ 34 h 37"/>
                <a:gd name="T66" fmla="*/ 13 w 36"/>
                <a:gd name="T67" fmla="*/ 36 h 37"/>
                <a:gd name="T68" fmla="*/ 10 w 36"/>
                <a:gd name="T69" fmla="*/ 37 h 37"/>
                <a:gd name="T70" fmla="*/ 4 w 36"/>
                <a:gd name="T71" fmla="*/ 36 h 37"/>
                <a:gd name="T72" fmla="*/ 3 w 36"/>
                <a:gd name="T73" fmla="*/ 33 h 37"/>
                <a:gd name="T74" fmla="*/ 5 w 36"/>
                <a:gd name="T75" fmla="*/ 33 h 37"/>
                <a:gd name="T76" fmla="*/ 2 w 36"/>
                <a:gd name="T77" fmla="*/ 28 h 37"/>
                <a:gd name="T78" fmla="*/ 1 w 36"/>
                <a:gd name="T79" fmla="*/ 25 h 37"/>
                <a:gd name="T80" fmla="*/ 0 w 36"/>
                <a:gd name="T81" fmla="*/ 18 h 37"/>
                <a:gd name="T82" fmla="*/ 1 w 36"/>
                <a:gd name="T83" fmla="*/ 15 h 37"/>
                <a:gd name="T84" fmla="*/ 4 w 36"/>
                <a:gd name="T85" fmla="*/ 15 h 37"/>
                <a:gd name="T86" fmla="*/ 5 w 36"/>
                <a:gd name="T87" fmla="*/ 15 h 37"/>
                <a:gd name="T88" fmla="*/ 7 w 36"/>
                <a:gd name="T89" fmla="*/ 13 h 37"/>
                <a:gd name="T90" fmla="*/ 8 w 36"/>
                <a:gd name="T91" fmla="*/ 15 h 37"/>
                <a:gd name="T92" fmla="*/ 10 w 36"/>
                <a:gd name="T93" fmla="*/ 15 h 37"/>
                <a:gd name="T94" fmla="*/ 9 w 36"/>
                <a:gd name="T95" fmla="*/ 10 h 37"/>
                <a:gd name="T96" fmla="*/ 14 w 36"/>
                <a:gd name="T97" fmla="*/ 9 h 37"/>
                <a:gd name="T98" fmla="*/ 20 w 36"/>
                <a:gd name="T99" fmla="*/ 5 h 37"/>
                <a:gd name="T100" fmla="*/ 18 w 36"/>
                <a:gd name="T101" fmla="*/ 10 h 37"/>
                <a:gd name="T102" fmla="*/ 14 w 36"/>
                <a:gd name="T103" fmla="*/ 9 h 37"/>
                <a:gd name="T104" fmla="*/ 9 w 36"/>
                <a:gd name="T105" fmla="*/ 10 h 37"/>
                <a:gd name="T106" fmla="*/ 5 w 36"/>
                <a:gd name="T107" fmla="*/ 10 h 37"/>
                <a:gd name="T108" fmla="*/ 3 w 36"/>
                <a:gd name="T109" fmla="*/ 14 h 37"/>
                <a:gd name="T110" fmla="*/ 2 w 36"/>
                <a:gd name="T111" fmla="*/ 13 h 37"/>
                <a:gd name="T112" fmla="*/ 5 w 36"/>
                <a:gd name="T113" fmla="*/ 9 h 37"/>
                <a:gd name="T114" fmla="*/ 12 w 36"/>
                <a:gd name="T115" fmla="*/ 6 h 37"/>
                <a:gd name="T116" fmla="*/ 17 w 36"/>
                <a:gd name="T11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37">
                  <a:moveTo>
                    <a:pt x="34" y="21"/>
                  </a:move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3"/>
                  </a:lnTo>
                  <a:lnTo>
                    <a:pt x="35" y="23"/>
                  </a:lnTo>
                  <a:lnTo>
                    <a:pt x="36" y="23"/>
                  </a:lnTo>
                  <a:lnTo>
                    <a:pt x="35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5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4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8" y="33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5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1" y="36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6" y="9"/>
                  </a:lnTo>
                  <a:close/>
                  <a:moveTo>
                    <a:pt x="20" y="1"/>
                  </a:moveTo>
                  <a:lnTo>
                    <a:pt x="20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6" name="Freeform 22"/>
            <p:cNvSpPr>
              <a:spLocks noEditPoints="1"/>
            </p:cNvSpPr>
            <p:nvPr/>
          </p:nvSpPr>
          <p:spPr bwMode="auto">
            <a:xfrm>
              <a:off x="5846624" y="3531620"/>
              <a:ext cx="45686" cy="48224"/>
            </a:xfrm>
            <a:custGeom>
              <a:avLst/>
              <a:gdLst>
                <a:gd name="T0" fmla="*/ 13 w 35"/>
                <a:gd name="T1" fmla="*/ 34 h 35"/>
                <a:gd name="T2" fmla="*/ 18 w 35"/>
                <a:gd name="T3" fmla="*/ 33 h 35"/>
                <a:gd name="T4" fmla="*/ 18 w 35"/>
                <a:gd name="T5" fmla="*/ 33 h 35"/>
                <a:gd name="T6" fmla="*/ 29 w 35"/>
                <a:gd name="T7" fmla="*/ 33 h 35"/>
                <a:gd name="T8" fmla="*/ 25 w 35"/>
                <a:gd name="T9" fmla="*/ 32 h 35"/>
                <a:gd name="T10" fmla="*/ 16 w 35"/>
                <a:gd name="T11" fmla="*/ 33 h 35"/>
                <a:gd name="T12" fmla="*/ 18 w 35"/>
                <a:gd name="T13" fmla="*/ 34 h 35"/>
                <a:gd name="T14" fmla="*/ 15 w 35"/>
                <a:gd name="T15" fmla="*/ 32 h 35"/>
                <a:gd name="T16" fmla="*/ 16 w 35"/>
                <a:gd name="T17" fmla="*/ 32 h 35"/>
                <a:gd name="T18" fmla="*/ 28 w 35"/>
                <a:gd name="T19" fmla="*/ 32 h 35"/>
                <a:gd name="T20" fmla="*/ 25 w 35"/>
                <a:gd name="T21" fmla="*/ 32 h 35"/>
                <a:gd name="T22" fmla="*/ 18 w 35"/>
                <a:gd name="T23" fmla="*/ 31 h 35"/>
                <a:gd name="T24" fmla="*/ 19 w 35"/>
                <a:gd name="T25" fmla="*/ 32 h 35"/>
                <a:gd name="T26" fmla="*/ 18 w 35"/>
                <a:gd name="T27" fmla="*/ 32 h 35"/>
                <a:gd name="T28" fmla="*/ 31 w 35"/>
                <a:gd name="T29" fmla="*/ 31 h 35"/>
                <a:gd name="T30" fmla="*/ 33 w 35"/>
                <a:gd name="T31" fmla="*/ 32 h 35"/>
                <a:gd name="T32" fmla="*/ 32 w 35"/>
                <a:gd name="T33" fmla="*/ 32 h 35"/>
                <a:gd name="T34" fmla="*/ 30 w 35"/>
                <a:gd name="T35" fmla="*/ 33 h 35"/>
                <a:gd name="T36" fmla="*/ 14 w 35"/>
                <a:gd name="T37" fmla="*/ 32 h 35"/>
                <a:gd name="T38" fmla="*/ 26 w 35"/>
                <a:gd name="T39" fmla="*/ 31 h 35"/>
                <a:gd name="T40" fmla="*/ 14 w 35"/>
                <a:gd name="T41" fmla="*/ 32 h 35"/>
                <a:gd name="T42" fmla="*/ 12 w 35"/>
                <a:gd name="T43" fmla="*/ 33 h 35"/>
                <a:gd name="T44" fmla="*/ 12 w 35"/>
                <a:gd name="T45" fmla="*/ 32 h 35"/>
                <a:gd name="T46" fmla="*/ 11 w 35"/>
                <a:gd name="T47" fmla="*/ 32 h 35"/>
                <a:gd name="T48" fmla="*/ 10 w 35"/>
                <a:gd name="T49" fmla="*/ 31 h 35"/>
                <a:gd name="T50" fmla="*/ 14 w 35"/>
                <a:gd name="T51" fmla="*/ 30 h 35"/>
                <a:gd name="T52" fmla="*/ 20 w 35"/>
                <a:gd name="T53" fmla="*/ 32 h 35"/>
                <a:gd name="T54" fmla="*/ 19 w 35"/>
                <a:gd name="T55" fmla="*/ 35 h 35"/>
                <a:gd name="T56" fmla="*/ 19 w 35"/>
                <a:gd name="T57" fmla="*/ 33 h 35"/>
                <a:gd name="T58" fmla="*/ 20 w 35"/>
                <a:gd name="T59" fmla="*/ 32 h 35"/>
                <a:gd name="T60" fmla="*/ 23 w 35"/>
                <a:gd name="T61" fmla="*/ 30 h 35"/>
                <a:gd name="T62" fmla="*/ 13 w 35"/>
                <a:gd name="T63" fmla="*/ 30 h 35"/>
                <a:gd name="T64" fmla="*/ 25 w 35"/>
                <a:gd name="T65" fmla="*/ 29 h 35"/>
                <a:gd name="T66" fmla="*/ 1 w 35"/>
                <a:gd name="T67" fmla="*/ 29 h 35"/>
                <a:gd name="T68" fmla="*/ 11 w 35"/>
                <a:gd name="T69" fmla="*/ 29 h 35"/>
                <a:gd name="T70" fmla="*/ 1 w 35"/>
                <a:gd name="T71" fmla="*/ 28 h 35"/>
                <a:gd name="T72" fmla="*/ 0 w 35"/>
                <a:gd name="T73" fmla="*/ 28 h 35"/>
                <a:gd name="T74" fmla="*/ 1 w 35"/>
                <a:gd name="T75" fmla="*/ 28 h 35"/>
                <a:gd name="T76" fmla="*/ 11 w 35"/>
                <a:gd name="T77" fmla="*/ 28 h 35"/>
                <a:gd name="T78" fmla="*/ 1 w 35"/>
                <a:gd name="T79" fmla="*/ 28 h 35"/>
                <a:gd name="T80" fmla="*/ 19 w 35"/>
                <a:gd name="T81" fmla="*/ 26 h 35"/>
                <a:gd name="T82" fmla="*/ 35 w 35"/>
                <a:gd name="T83" fmla="*/ 24 h 35"/>
                <a:gd name="T84" fmla="*/ 35 w 35"/>
                <a:gd name="T85" fmla="*/ 24 h 35"/>
                <a:gd name="T86" fmla="*/ 35 w 35"/>
                <a:gd name="T87" fmla="*/ 25 h 35"/>
                <a:gd name="T88" fmla="*/ 34 w 35"/>
                <a:gd name="T89" fmla="*/ 23 h 35"/>
                <a:gd name="T90" fmla="*/ 30 w 35"/>
                <a:gd name="T91" fmla="*/ 22 h 35"/>
                <a:gd name="T92" fmla="*/ 16 w 35"/>
                <a:gd name="T93" fmla="*/ 22 h 35"/>
                <a:gd name="T94" fmla="*/ 23 w 35"/>
                <a:gd name="T95" fmla="*/ 22 h 35"/>
                <a:gd name="T96" fmla="*/ 28 w 35"/>
                <a:gd name="T97" fmla="*/ 22 h 35"/>
                <a:gd name="T98" fmla="*/ 14 w 35"/>
                <a:gd name="T99" fmla="*/ 22 h 35"/>
                <a:gd name="T100" fmla="*/ 19 w 35"/>
                <a:gd name="T101" fmla="*/ 21 h 35"/>
                <a:gd name="T102" fmla="*/ 22 w 35"/>
                <a:gd name="T103" fmla="*/ 21 h 35"/>
                <a:gd name="T104" fmla="*/ 18 w 35"/>
                <a:gd name="T105" fmla="*/ 21 h 35"/>
                <a:gd name="T106" fmla="*/ 18 w 35"/>
                <a:gd name="T107" fmla="*/ 22 h 35"/>
                <a:gd name="T108" fmla="*/ 18 w 35"/>
                <a:gd name="T109" fmla="*/ 20 h 35"/>
                <a:gd name="T110" fmla="*/ 2 w 35"/>
                <a:gd name="T111" fmla="*/ 11 h 35"/>
                <a:gd name="T112" fmla="*/ 1 w 35"/>
                <a:gd name="T113" fmla="*/ 10 h 35"/>
                <a:gd name="T114" fmla="*/ 25 w 35"/>
                <a:gd name="T115" fmla="*/ 10 h 35"/>
                <a:gd name="T116" fmla="*/ 5 w 35"/>
                <a:gd name="T117" fmla="*/ 9 h 35"/>
                <a:gd name="T118" fmla="*/ 6 w 35"/>
                <a:gd name="T119" fmla="*/ 8 h 35"/>
                <a:gd name="T120" fmla="*/ 23 w 35"/>
                <a:gd name="T121" fmla="*/ 3 h 35"/>
                <a:gd name="T122" fmla="*/ 21 w 35"/>
                <a:gd name="T123" fmla="*/ 4 h 35"/>
                <a:gd name="T124" fmla="*/ 22 w 35"/>
                <a:gd name="T12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" h="35">
                  <a:moveTo>
                    <a:pt x="22" y="34"/>
                  </a:moveTo>
                  <a:lnTo>
                    <a:pt x="22" y="33"/>
                  </a:lnTo>
                  <a:lnTo>
                    <a:pt x="22" y="34"/>
                  </a:lnTo>
                  <a:close/>
                  <a:moveTo>
                    <a:pt x="13" y="33"/>
                  </a:move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3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25" y="33"/>
                  </a:move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7" y="33"/>
                  </a:lnTo>
                  <a:lnTo>
                    <a:pt x="18" y="33"/>
                  </a:lnTo>
                  <a:close/>
                  <a:moveTo>
                    <a:pt x="29" y="33"/>
                  </a:moveTo>
                  <a:lnTo>
                    <a:pt x="30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3"/>
                  </a:lnTo>
                  <a:close/>
                  <a:moveTo>
                    <a:pt x="30" y="32"/>
                  </a:moveTo>
                  <a:lnTo>
                    <a:pt x="30" y="32"/>
                  </a:lnTo>
                  <a:lnTo>
                    <a:pt x="30" y="32"/>
                  </a:lnTo>
                  <a:close/>
                  <a:moveTo>
                    <a:pt x="25" y="32"/>
                  </a:moveTo>
                  <a:lnTo>
                    <a:pt x="25" y="32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5" y="32"/>
                  </a:lnTo>
                  <a:close/>
                  <a:moveTo>
                    <a:pt x="15" y="33"/>
                  </a:move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7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close/>
                  <a:moveTo>
                    <a:pt x="16" y="32"/>
                  </a:move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close/>
                  <a:moveTo>
                    <a:pt x="26" y="32"/>
                  </a:moveTo>
                  <a:lnTo>
                    <a:pt x="26" y="33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6" y="32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lnTo>
                    <a:pt x="29" y="32"/>
                  </a:lnTo>
                  <a:close/>
                  <a:moveTo>
                    <a:pt x="15" y="32"/>
                  </a:moveTo>
                  <a:lnTo>
                    <a:pt x="16" y="32"/>
                  </a:lnTo>
                  <a:lnTo>
                    <a:pt x="15" y="32"/>
                  </a:lnTo>
                  <a:close/>
                  <a:moveTo>
                    <a:pt x="24" y="32"/>
                  </a:moveTo>
                  <a:lnTo>
                    <a:pt x="25" y="32"/>
                  </a:lnTo>
                  <a:lnTo>
                    <a:pt x="24" y="32"/>
                  </a:lnTo>
                  <a:close/>
                  <a:moveTo>
                    <a:pt x="19" y="31"/>
                  </a:move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9" y="31"/>
                  </a:lnTo>
                  <a:close/>
                  <a:moveTo>
                    <a:pt x="18" y="32"/>
                  </a:move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close/>
                  <a:moveTo>
                    <a:pt x="31" y="32"/>
                  </a:move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2"/>
                  </a:lnTo>
                  <a:close/>
                  <a:moveTo>
                    <a:pt x="31" y="31"/>
                  </a:moveTo>
                  <a:lnTo>
                    <a:pt x="31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close/>
                  <a:moveTo>
                    <a:pt x="14" y="32"/>
                  </a:moveTo>
                  <a:lnTo>
                    <a:pt x="14" y="31"/>
                  </a:lnTo>
                  <a:lnTo>
                    <a:pt x="15" y="31"/>
                  </a:lnTo>
                  <a:lnTo>
                    <a:pt x="15" y="32"/>
                  </a:lnTo>
                  <a:lnTo>
                    <a:pt x="14" y="32"/>
                  </a:lnTo>
                  <a:close/>
                  <a:moveTo>
                    <a:pt x="26" y="31"/>
                  </a:moveTo>
                  <a:lnTo>
                    <a:pt x="27" y="31"/>
                  </a:lnTo>
                  <a:lnTo>
                    <a:pt x="26" y="31"/>
                  </a:lnTo>
                  <a:close/>
                  <a:moveTo>
                    <a:pt x="11" y="31"/>
                  </a:move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4" y="32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close/>
                  <a:moveTo>
                    <a:pt x="14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close/>
                  <a:moveTo>
                    <a:pt x="27" y="30"/>
                  </a:moveTo>
                  <a:lnTo>
                    <a:pt x="27" y="30"/>
                  </a:lnTo>
                  <a:lnTo>
                    <a:pt x="27" y="30"/>
                  </a:lnTo>
                  <a:close/>
                  <a:moveTo>
                    <a:pt x="21" y="30"/>
                  </a:move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30"/>
                  </a:lnTo>
                  <a:close/>
                  <a:moveTo>
                    <a:pt x="23" y="30"/>
                  </a:moveTo>
                  <a:lnTo>
                    <a:pt x="22" y="30"/>
                  </a:lnTo>
                  <a:lnTo>
                    <a:pt x="23" y="30"/>
                  </a:lnTo>
                  <a:close/>
                  <a:moveTo>
                    <a:pt x="13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30"/>
                  </a:lnTo>
                  <a:close/>
                  <a:moveTo>
                    <a:pt x="24" y="29"/>
                  </a:moveTo>
                  <a:lnTo>
                    <a:pt x="25" y="29"/>
                  </a:lnTo>
                  <a:lnTo>
                    <a:pt x="24" y="29"/>
                  </a:lnTo>
                  <a:close/>
                  <a:moveTo>
                    <a:pt x="27" y="29"/>
                  </a:moveTo>
                  <a:lnTo>
                    <a:pt x="27" y="30"/>
                  </a:lnTo>
                  <a:lnTo>
                    <a:pt x="27" y="29"/>
                  </a:lnTo>
                  <a:close/>
                  <a:moveTo>
                    <a:pt x="25" y="29"/>
                  </a:moveTo>
                  <a:lnTo>
                    <a:pt x="25" y="29"/>
                  </a:lnTo>
                  <a:lnTo>
                    <a:pt x="25" y="29"/>
                  </a:lnTo>
                  <a:close/>
                  <a:moveTo>
                    <a:pt x="23" y="29"/>
                  </a:moveTo>
                  <a:lnTo>
                    <a:pt x="23" y="29"/>
                  </a:lnTo>
                  <a:lnTo>
                    <a:pt x="23" y="29"/>
                  </a:lnTo>
                  <a:close/>
                  <a:moveTo>
                    <a:pt x="1" y="29"/>
                  </a:move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9"/>
                  </a:lnTo>
                  <a:close/>
                  <a:moveTo>
                    <a:pt x="11" y="29"/>
                  </a:moveTo>
                  <a:lnTo>
                    <a:pt x="11" y="28"/>
                  </a:lnTo>
                  <a:lnTo>
                    <a:pt x="11" y="29"/>
                  </a:lnTo>
                  <a:close/>
                  <a:moveTo>
                    <a:pt x="1" y="28"/>
                  </a:moveTo>
                  <a:lnTo>
                    <a:pt x="2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0" y="28"/>
                  </a:lnTo>
                  <a:close/>
                  <a:moveTo>
                    <a:pt x="1" y="28"/>
                  </a:move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0" y="26"/>
                  </a:moveTo>
                  <a:lnTo>
                    <a:pt x="0" y="26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  <a:moveTo>
                    <a:pt x="20" y="25"/>
                  </a:moveTo>
                  <a:lnTo>
                    <a:pt x="19" y="26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0" y="25"/>
                  </a:moveTo>
                  <a:lnTo>
                    <a:pt x="0" y="26"/>
                  </a:lnTo>
                  <a:lnTo>
                    <a:pt x="0" y="25"/>
                  </a:lnTo>
                  <a:close/>
                  <a:moveTo>
                    <a:pt x="35" y="25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close/>
                  <a:moveTo>
                    <a:pt x="35" y="23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3"/>
                  </a:lnTo>
                  <a:close/>
                  <a:moveTo>
                    <a:pt x="34" y="23"/>
                  </a:moveTo>
                  <a:lnTo>
                    <a:pt x="34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3" y="25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close/>
                  <a:moveTo>
                    <a:pt x="30" y="23"/>
                  </a:moveTo>
                  <a:lnTo>
                    <a:pt x="30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0" y="23"/>
                  </a:lnTo>
                  <a:close/>
                  <a:moveTo>
                    <a:pt x="28" y="22"/>
                  </a:moveTo>
                  <a:lnTo>
                    <a:pt x="28" y="23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close/>
                  <a:moveTo>
                    <a:pt x="16" y="22"/>
                  </a:moveTo>
                  <a:lnTo>
                    <a:pt x="15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close/>
                  <a:moveTo>
                    <a:pt x="24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4" y="22"/>
                  </a:lnTo>
                  <a:close/>
                  <a:moveTo>
                    <a:pt x="28" y="22"/>
                  </a:moveTo>
                  <a:lnTo>
                    <a:pt x="28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2"/>
                  </a:lnTo>
                  <a:close/>
                  <a:moveTo>
                    <a:pt x="14" y="22"/>
                  </a:move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2"/>
                  </a:lnTo>
                  <a:close/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close/>
                  <a:moveTo>
                    <a:pt x="13" y="21"/>
                  </a:moveTo>
                  <a:lnTo>
                    <a:pt x="14" y="21"/>
                  </a:lnTo>
                  <a:lnTo>
                    <a:pt x="13" y="21"/>
                  </a:lnTo>
                  <a:close/>
                  <a:moveTo>
                    <a:pt x="19" y="21"/>
                  </a:moveTo>
                  <a:lnTo>
                    <a:pt x="18" y="21"/>
                  </a:lnTo>
                  <a:lnTo>
                    <a:pt x="19" y="21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close/>
                  <a:moveTo>
                    <a:pt x="17" y="20"/>
                  </a:moveTo>
                  <a:lnTo>
                    <a:pt x="16" y="20"/>
                  </a:lnTo>
                  <a:lnTo>
                    <a:pt x="17" y="20"/>
                  </a:lnTo>
                  <a:close/>
                  <a:moveTo>
                    <a:pt x="18" y="20"/>
                  </a:moveTo>
                  <a:lnTo>
                    <a:pt x="18" y="21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0"/>
                  </a:lnTo>
                  <a:close/>
                  <a:moveTo>
                    <a:pt x="20" y="18"/>
                  </a:moveTo>
                  <a:lnTo>
                    <a:pt x="19" y="18"/>
                  </a:lnTo>
                  <a:lnTo>
                    <a:pt x="20" y="18"/>
                  </a:lnTo>
                  <a:close/>
                  <a:moveTo>
                    <a:pt x="2" y="11"/>
                  </a:moveTo>
                  <a:lnTo>
                    <a:pt x="3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close/>
                  <a:moveTo>
                    <a:pt x="2" y="11"/>
                  </a:move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1"/>
                  </a:lnTo>
                  <a:close/>
                  <a:moveTo>
                    <a:pt x="26" y="10"/>
                  </a:moveTo>
                  <a:lnTo>
                    <a:pt x="26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close/>
                  <a:moveTo>
                    <a:pt x="5" y="9"/>
                  </a:moveTo>
                  <a:lnTo>
                    <a:pt x="6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close/>
                  <a:moveTo>
                    <a:pt x="6" y="8"/>
                  </a:move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close/>
                  <a:moveTo>
                    <a:pt x="12" y="6"/>
                  </a:moveTo>
                  <a:lnTo>
                    <a:pt x="12" y="6"/>
                  </a:lnTo>
                  <a:lnTo>
                    <a:pt x="12" y="6"/>
                  </a:lnTo>
                  <a:close/>
                  <a:moveTo>
                    <a:pt x="22" y="4"/>
                  </a:moveTo>
                  <a:lnTo>
                    <a:pt x="21" y="4"/>
                  </a:lnTo>
                  <a:lnTo>
                    <a:pt x="22" y="4"/>
                  </a:lnTo>
                  <a:close/>
                  <a:moveTo>
                    <a:pt x="23" y="3"/>
                  </a:moveTo>
                  <a:lnTo>
                    <a:pt x="23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close/>
                  <a:moveTo>
                    <a:pt x="18" y="1"/>
                  </a:moveTo>
                  <a:lnTo>
                    <a:pt x="18" y="0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7" name="Freeform 23"/>
            <p:cNvSpPr>
              <a:spLocks noEditPoints="1"/>
            </p:cNvSpPr>
            <p:nvPr/>
          </p:nvSpPr>
          <p:spPr bwMode="auto">
            <a:xfrm>
              <a:off x="5850540" y="3532997"/>
              <a:ext cx="67877" cy="44091"/>
            </a:xfrm>
            <a:custGeom>
              <a:avLst/>
              <a:gdLst>
                <a:gd name="T0" fmla="*/ 6 w 52"/>
                <a:gd name="T1" fmla="*/ 32 h 32"/>
                <a:gd name="T2" fmla="*/ 14 w 52"/>
                <a:gd name="T3" fmla="*/ 32 h 32"/>
                <a:gd name="T4" fmla="*/ 14 w 52"/>
                <a:gd name="T5" fmla="*/ 32 h 32"/>
                <a:gd name="T6" fmla="*/ 22 w 52"/>
                <a:gd name="T7" fmla="*/ 32 h 32"/>
                <a:gd name="T8" fmla="*/ 13 w 52"/>
                <a:gd name="T9" fmla="*/ 32 h 32"/>
                <a:gd name="T10" fmla="*/ 13 w 52"/>
                <a:gd name="T11" fmla="*/ 32 h 32"/>
                <a:gd name="T12" fmla="*/ 15 w 52"/>
                <a:gd name="T13" fmla="*/ 31 h 32"/>
                <a:gd name="T14" fmla="*/ 28 w 52"/>
                <a:gd name="T15" fmla="*/ 31 h 32"/>
                <a:gd name="T16" fmla="*/ 28 w 52"/>
                <a:gd name="T17" fmla="*/ 31 h 32"/>
                <a:gd name="T18" fmla="*/ 13 w 52"/>
                <a:gd name="T19" fmla="*/ 30 h 32"/>
                <a:gd name="T20" fmla="*/ 27 w 52"/>
                <a:gd name="T21" fmla="*/ 29 h 32"/>
                <a:gd name="T22" fmla="*/ 27 w 52"/>
                <a:gd name="T23" fmla="*/ 29 h 32"/>
                <a:gd name="T24" fmla="*/ 8 w 52"/>
                <a:gd name="T25" fmla="*/ 27 h 32"/>
                <a:gd name="T26" fmla="*/ 52 w 52"/>
                <a:gd name="T27" fmla="*/ 27 h 32"/>
                <a:gd name="T28" fmla="*/ 52 w 52"/>
                <a:gd name="T29" fmla="*/ 27 h 32"/>
                <a:gd name="T30" fmla="*/ 52 w 52"/>
                <a:gd name="T31" fmla="*/ 27 h 32"/>
                <a:gd name="T32" fmla="*/ 8 w 52"/>
                <a:gd name="T33" fmla="*/ 27 h 32"/>
                <a:gd name="T34" fmla="*/ 8 w 52"/>
                <a:gd name="T35" fmla="*/ 27 h 32"/>
                <a:gd name="T36" fmla="*/ 14 w 52"/>
                <a:gd name="T37" fmla="*/ 25 h 32"/>
                <a:gd name="T38" fmla="*/ 14 w 52"/>
                <a:gd name="T39" fmla="*/ 25 h 32"/>
                <a:gd name="T40" fmla="*/ 19 w 52"/>
                <a:gd name="T41" fmla="*/ 25 h 32"/>
                <a:gd name="T42" fmla="*/ 12 w 52"/>
                <a:gd name="T43" fmla="*/ 23 h 32"/>
                <a:gd name="T44" fmla="*/ 12 w 52"/>
                <a:gd name="T45" fmla="*/ 23 h 32"/>
                <a:gd name="T46" fmla="*/ 12 w 52"/>
                <a:gd name="T47" fmla="*/ 23 h 32"/>
                <a:gd name="T48" fmla="*/ 27 w 52"/>
                <a:gd name="T49" fmla="*/ 21 h 32"/>
                <a:gd name="T50" fmla="*/ 27 w 52"/>
                <a:gd name="T51" fmla="*/ 21 h 32"/>
                <a:gd name="T52" fmla="*/ 12 w 52"/>
                <a:gd name="T53" fmla="*/ 20 h 32"/>
                <a:gd name="T54" fmla="*/ 16 w 52"/>
                <a:gd name="T55" fmla="*/ 20 h 32"/>
                <a:gd name="T56" fmla="*/ 16 w 52"/>
                <a:gd name="T57" fmla="*/ 20 h 32"/>
                <a:gd name="T58" fmla="*/ 16 w 52"/>
                <a:gd name="T59" fmla="*/ 19 h 32"/>
                <a:gd name="T60" fmla="*/ 0 w 52"/>
                <a:gd name="T61" fmla="*/ 11 h 32"/>
                <a:gd name="T62" fmla="*/ 0 w 52"/>
                <a:gd name="T63" fmla="*/ 10 h 32"/>
                <a:gd name="T64" fmla="*/ 8 w 52"/>
                <a:gd name="T65" fmla="*/ 5 h 32"/>
                <a:gd name="T66" fmla="*/ 8 w 52"/>
                <a:gd name="T67" fmla="*/ 5 h 32"/>
                <a:gd name="T68" fmla="*/ 9 w 52"/>
                <a:gd name="T69" fmla="*/ 5 h 32"/>
                <a:gd name="T70" fmla="*/ 19 w 52"/>
                <a:gd name="T71" fmla="*/ 3 h 32"/>
                <a:gd name="T72" fmla="*/ 19 w 52"/>
                <a:gd name="T73" fmla="*/ 3 h 32"/>
                <a:gd name="T74" fmla="*/ 18 w 52"/>
                <a:gd name="T75" fmla="*/ 3 h 32"/>
                <a:gd name="T76" fmla="*/ 17 w 52"/>
                <a:gd name="T77" fmla="*/ 2 h 32"/>
                <a:gd name="T78" fmla="*/ 17 w 52"/>
                <a:gd name="T79" fmla="*/ 2 h 32"/>
                <a:gd name="T80" fmla="*/ 15 w 52"/>
                <a:gd name="T8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" h="32">
                  <a:moveTo>
                    <a:pt x="7" y="32"/>
                  </a:moveTo>
                  <a:lnTo>
                    <a:pt x="6" y="32"/>
                  </a:lnTo>
                  <a:lnTo>
                    <a:pt x="7" y="32"/>
                  </a:lnTo>
                  <a:close/>
                  <a:moveTo>
                    <a:pt x="14" y="32"/>
                  </a:moveTo>
                  <a:lnTo>
                    <a:pt x="13" y="32"/>
                  </a:lnTo>
                  <a:lnTo>
                    <a:pt x="14" y="32"/>
                  </a:lnTo>
                  <a:close/>
                  <a:moveTo>
                    <a:pt x="22" y="32"/>
                  </a:moveTo>
                  <a:lnTo>
                    <a:pt x="22" y="32"/>
                  </a:lnTo>
                  <a:lnTo>
                    <a:pt x="22" y="32"/>
                  </a:lnTo>
                  <a:close/>
                  <a:moveTo>
                    <a:pt x="13" y="32"/>
                  </a:moveTo>
                  <a:lnTo>
                    <a:pt x="13" y="32"/>
                  </a:lnTo>
                  <a:lnTo>
                    <a:pt x="13" y="32"/>
                  </a:lnTo>
                  <a:close/>
                  <a:moveTo>
                    <a:pt x="15" y="31"/>
                  </a:moveTo>
                  <a:lnTo>
                    <a:pt x="15" y="31"/>
                  </a:lnTo>
                  <a:lnTo>
                    <a:pt x="15" y="31"/>
                  </a:lnTo>
                  <a:close/>
                  <a:moveTo>
                    <a:pt x="28" y="31"/>
                  </a:moveTo>
                  <a:lnTo>
                    <a:pt x="28" y="31"/>
                  </a:lnTo>
                  <a:lnTo>
                    <a:pt x="28" y="31"/>
                  </a:lnTo>
                  <a:close/>
                  <a:moveTo>
                    <a:pt x="13" y="31"/>
                  </a:moveTo>
                  <a:lnTo>
                    <a:pt x="13" y="30"/>
                  </a:lnTo>
                  <a:lnTo>
                    <a:pt x="13" y="31"/>
                  </a:lnTo>
                  <a:close/>
                  <a:moveTo>
                    <a:pt x="27" y="29"/>
                  </a:moveTo>
                  <a:lnTo>
                    <a:pt x="27" y="29"/>
                  </a:lnTo>
                  <a:lnTo>
                    <a:pt x="27" y="29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52" y="27"/>
                  </a:move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close/>
                  <a:moveTo>
                    <a:pt x="9" y="27"/>
                  </a:moveTo>
                  <a:lnTo>
                    <a:pt x="8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9" y="27"/>
                  </a:lnTo>
                  <a:close/>
                  <a:moveTo>
                    <a:pt x="14" y="25"/>
                  </a:moveTo>
                  <a:lnTo>
                    <a:pt x="14" y="25"/>
                  </a:lnTo>
                  <a:lnTo>
                    <a:pt x="14" y="25"/>
                  </a:lnTo>
                  <a:close/>
                  <a:moveTo>
                    <a:pt x="19" y="25"/>
                  </a:moveTo>
                  <a:lnTo>
                    <a:pt x="19" y="25"/>
                  </a:lnTo>
                  <a:lnTo>
                    <a:pt x="19" y="25"/>
                  </a:lnTo>
                  <a:close/>
                  <a:moveTo>
                    <a:pt x="12" y="23"/>
                  </a:moveTo>
                  <a:lnTo>
                    <a:pt x="12" y="24"/>
                  </a:lnTo>
                  <a:lnTo>
                    <a:pt x="12" y="23"/>
                  </a:lnTo>
                  <a:close/>
                  <a:moveTo>
                    <a:pt x="12" y="24"/>
                  </a:move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27" y="21"/>
                  </a:moveTo>
                  <a:lnTo>
                    <a:pt x="27" y="21"/>
                  </a:lnTo>
                  <a:lnTo>
                    <a:pt x="27" y="21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16" y="20"/>
                  </a:moveTo>
                  <a:lnTo>
                    <a:pt x="15" y="20"/>
                  </a:lnTo>
                  <a:lnTo>
                    <a:pt x="16" y="20"/>
                  </a:lnTo>
                  <a:close/>
                  <a:moveTo>
                    <a:pt x="16" y="20"/>
                  </a:moveTo>
                  <a:lnTo>
                    <a:pt x="16" y="19"/>
                  </a:lnTo>
                  <a:lnTo>
                    <a:pt x="16" y="20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9" y="3"/>
                  </a:moveTo>
                  <a:lnTo>
                    <a:pt x="18" y="3"/>
                  </a:lnTo>
                  <a:lnTo>
                    <a:pt x="19" y="3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7" y="2"/>
                  </a:moveTo>
                  <a:lnTo>
                    <a:pt x="17" y="1"/>
                  </a:lnTo>
                  <a:lnTo>
                    <a:pt x="17" y="2"/>
                  </a:lnTo>
                  <a:close/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24"/>
            <p:cNvSpPr>
              <a:spLocks noEditPoints="1"/>
            </p:cNvSpPr>
            <p:nvPr/>
          </p:nvSpPr>
          <p:spPr bwMode="auto">
            <a:xfrm>
              <a:off x="5987599" y="3504063"/>
              <a:ext cx="16969" cy="22045"/>
            </a:xfrm>
            <a:custGeom>
              <a:avLst/>
              <a:gdLst>
                <a:gd name="T0" fmla="*/ 12 w 13"/>
                <a:gd name="T1" fmla="*/ 6 h 16"/>
                <a:gd name="T2" fmla="*/ 12 w 13"/>
                <a:gd name="T3" fmla="*/ 8 h 16"/>
                <a:gd name="T4" fmla="*/ 12 w 13"/>
                <a:gd name="T5" fmla="*/ 8 h 16"/>
                <a:gd name="T6" fmla="*/ 11 w 13"/>
                <a:gd name="T7" fmla="*/ 8 h 16"/>
                <a:gd name="T8" fmla="*/ 11 w 13"/>
                <a:gd name="T9" fmla="*/ 8 h 16"/>
                <a:gd name="T10" fmla="*/ 12 w 13"/>
                <a:gd name="T11" fmla="*/ 8 h 16"/>
                <a:gd name="T12" fmla="*/ 11 w 13"/>
                <a:gd name="T13" fmla="*/ 8 h 16"/>
                <a:gd name="T14" fmla="*/ 11 w 13"/>
                <a:gd name="T15" fmla="*/ 9 h 16"/>
                <a:gd name="T16" fmla="*/ 10 w 13"/>
                <a:gd name="T17" fmla="*/ 9 h 16"/>
                <a:gd name="T18" fmla="*/ 10 w 13"/>
                <a:gd name="T19" fmla="*/ 10 h 16"/>
                <a:gd name="T20" fmla="*/ 10 w 13"/>
                <a:gd name="T21" fmla="*/ 10 h 16"/>
                <a:gd name="T22" fmla="*/ 8 w 13"/>
                <a:gd name="T23" fmla="*/ 11 h 16"/>
                <a:gd name="T24" fmla="*/ 8 w 13"/>
                <a:gd name="T25" fmla="*/ 12 h 16"/>
                <a:gd name="T26" fmla="*/ 7 w 13"/>
                <a:gd name="T27" fmla="*/ 11 h 16"/>
                <a:gd name="T28" fmla="*/ 6 w 13"/>
                <a:gd name="T29" fmla="*/ 11 h 16"/>
                <a:gd name="T30" fmla="*/ 5 w 13"/>
                <a:gd name="T31" fmla="*/ 11 h 16"/>
                <a:gd name="T32" fmla="*/ 4 w 13"/>
                <a:gd name="T33" fmla="*/ 13 h 16"/>
                <a:gd name="T34" fmla="*/ 3 w 13"/>
                <a:gd name="T35" fmla="*/ 15 h 16"/>
                <a:gd name="T36" fmla="*/ 1 w 13"/>
                <a:gd name="T37" fmla="*/ 15 h 16"/>
                <a:gd name="T38" fmla="*/ 2 w 13"/>
                <a:gd name="T39" fmla="*/ 14 h 16"/>
                <a:gd name="T40" fmla="*/ 3 w 13"/>
                <a:gd name="T41" fmla="*/ 12 h 16"/>
                <a:gd name="T42" fmla="*/ 2 w 13"/>
                <a:gd name="T43" fmla="*/ 12 h 16"/>
                <a:gd name="T44" fmla="*/ 1 w 13"/>
                <a:gd name="T45" fmla="*/ 11 h 16"/>
                <a:gd name="T46" fmla="*/ 0 w 13"/>
                <a:gd name="T47" fmla="*/ 10 h 16"/>
                <a:gd name="T48" fmla="*/ 0 w 13"/>
                <a:gd name="T49" fmla="*/ 10 h 16"/>
                <a:gd name="T50" fmla="*/ 1 w 13"/>
                <a:gd name="T51" fmla="*/ 10 h 16"/>
                <a:gd name="T52" fmla="*/ 1 w 13"/>
                <a:gd name="T53" fmla="*/ 9 h 16"/>
                <a:gd name="T54" fmla="*/ 0 w 13"/>
                <a:gd name="T55" fmla="*/ 8 h 16"/>
                <a:gd name="T56" fmla="*/ 1 w 13"/>
                <a:gd name="T57" fmla="*/ 8 h 16"/>
                <a:gd name="T58" fmla="*/ 3 w 13"/>
                <a:gd name="T59" fmla="*/ 8 h 16"/>
                <a:gd name="T60" fmla="*/ 3 w 13"/>
                <a:gd name="T61" fmla="*/ 7 h 16"/>
                <a:gd name="T62" fmla="*/ 4 w 13"/>
                <a:gd name="T63" fmla="*/ 8 h 16"/>
                <a:gd name="T64" fmla="*/ 4 w 13"/>
                <a:gd name="T65" fmla="*/ 8 h 16"/>
                <a:gd name="T66" fmla="*/ 5 w 13"/>
                <a:gd name="T67" fmla="*/ 6 h 16"/>
                <a:gd name="T68" fmla="*/ 6 w 13"/>
                <a:gd name="T69" fmla="*/ 6 h 16"/>
                <a:gd name="T70" fmla="*/ 7 w 13"/>
                <a:gd name="T71" fmla="*/ 7 h 16"/>
                <a:gd name="T72" fmla="*/ 8 w 13"/>
                <a:gd name="T73" fmla="*/ 6 h 16"/>
                <a:gd name="T74" fmla="*/ 11 w 13"/>
                <a:gd name="T75" fmla="*/ 7 h 16"/>
                <a:gd name="T76" fmla="*/ 11 w 13"/>
                <a:gd name="T77" fmla="*/ 5 h 16"/>
                <a:gd name="T78" fmla="*/ 7 w 13"/>
                <a:gd name="T79" fmla="*/ 1 h 16"/>
                <a:gd name="T80" fmla="*/ 8 w 13"/>
                <a:gd name="T81" fmla="*/ 1 h 16"/>
                <a:gd name="T82" fmla="*/ 9 w 13"/>
                <a:gd name="T83" fmla="*/ 2 h 16"/>
                <a:gd name="T84" fmla="*/ 10 w 13"/>
                <a:gd name="T85" fmla="*/ 3 h 16"/>
                <a:gd name="T86" fmla="*/ 9 w 13"/>
                <a:gd name="T87" fmla="*/ 4 h 16"/>
                <a:gd name="T88" fmla="*/ 8 w 13"/>
                <a:gd name="T89" fmla="*/ 4 h 16"/>
                <a:gd name="T90" fmla="*/ 8 w 13"/>
                <a:gd name="T91" fmla="*/ 4 h 16"/>
                <a:gd name="T92" fmla="*/ 7 w 13"/>
                <a:gd name="T93" fmla="*/ 5 h 16"/>
                <a:gd name="T94" fmla="*/ 5 w 13"/>
                <a:gd name="T95" fmla="*/ 4 h 16"/>
                <a:gd name="T96" fmla="*/ 5 w 13"/>
                <a:gd name="T97" fmla="*/ 4 h 16"/>
                <a:gd name="T98" fmla="*/ 3 w 13"/>
                <a:gd name="T99" fmla="*/ 3 h 16"/>
                <a:gd name="T100" fmla="*/ 3 w 13"/>
                <a:gd name="T101" fmla="*/ 2 h 16"/>
                <a:gd name="T102" fmla="*/ 5 w 13"/>
                <a:gd name="T103" fmla="*/ 2 h 16"/>
                <a:gd name="T104" fmla="*/ 5 w 13"/>
                <a:gd name="T105" fmla="*/ 1 h 16"/>
                <a:gd name="T106" fmla="*/ 6 w 13"/>
                <a:gd name="T10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" h="16">
                  <a:moveTo>
                    <a:pt x="11" y="5"/>
                  </a:moveTo>
                  <a:lnTo>
                    <a:pt x="11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close/>
                  <a:moveTo>
                    <a:pt x="7" y="1"/>
                  </a:move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25"/>
            <p:cNvSpPr>
              <a:spLocks/>
            </p:cNvSpPr>
            <p:nvPr/>
          </p:nvSpPr>
          <p:spPr bwMode="auto">
            <a:xfrm>
              <a:off x="6004569" y="3494418"/>
              <a:ext cx="50907" cy="37202"/>
            </a:xfrm>
            <a:custGeom>
              <a:avLst/>
              <a:gdLst>
                <a:gd name="T0" fmla="*/ 20 w 39"/>
                <a:gd name="T1" fmla="*/ 1 h 27"/>
                <a:gd name="T2" fmla="*/ 21 w 39"/>
                <a:gd name="T3" fmla="*/ 0 h 27"/>
                <a:gd name="T4" fmla="*/ 21 w 39"/>
                <a:gd name="T5" fmla="*/ 1 h 27"/>
                <a:gd name="T6" fmla="*/ 24 w 39"/>
                <a:gd name="T7" fmla="*/ 1 h 27"/>
                <a:gd name="T8" fmla="*/ 27 w 39"/>
                <a:gd name="T9" fmla="*/ 2 h 27"/>
                <a:gd name="T10" fmla="*/ 29 w 39"/>
                <a:gd name="T11" fmla="*/ 3 h 27"/>
                <a:gd name="T12" fmla="*/ 33 w 39"/>
                <a:gd name="T13" fmla="*/ 3 h 27"/>
                <a:gd name="T14" fmla="*/ 36 w 39"/>
                <a:gd name="T15" fmla="*/ 3 h 27"/>
                <a:gd name="T16" fmla="*/ 39 w 39"/>
                <a:gd name="T17" fmla="*/ 4 h 27"/>
                <a:gd name="T18" fmla="*/ 38 w 39"/>
                <a:gd name="T19" fmla="*/ 5 h 27"/>
                <a:gd name="T20" fmla="*/ 36 w 39"/>
                <a:gd name="T21" fmla="*/ 7 h 27"/>
                <a:gd name="T22" fmla="*/ 33 w 39"/>
                <a:gd name="T23" fmla="*/ 10 h 27"/>
                <a:gd name="T24" fmla="*/ 33 w 39"/>
                <a:gd name="T25" fmla="*/ 17 h 27"/>
                <a:gd name="T26" fmla="*/ 34 w 39"/>
                <a:gd name="T27" fmla="*/ 21 h 27"/>
                <a:gd name="T28" fmla="*/ 35 w 39"/>
                <a:gd name="T29" fmla="*/ 23 h 27"/>
                <a:gd name="T30" fmla="*/ 33 w 39"/>
                <a:gd name="T31" fmla="*/ 24 h 27"/>
                <a:gd name="T32" fmla="*/ 32 w 39"/>
                <a:gd name="T33" fmla="*/ 27 h 27"/>
                <a:gd name="T34" fmla="*/ 28 w 39"/>
                <a:gd name="T35" fmla="*/ 26 h 27"/>
                <a:gd name="T36" fmla="*/ 26 w 39"/>
                <a:gd name="T37" fmla="*/ 27 h 27"/>
                <a:gd name="T38" fmla="*/ 23 w 39"/>
                <a:gd name="T39" fmla="*/ 27 h 27"/>
                <a:gd name="T40" fmla="*/ 22 w 39"/>
                <a:gd name="T41" fmla="*/ 25 h 27"/>
                <a:gd name="T42" fmla="*/ 21 w 39"/>
                <a:gd name="T43" fmla="*/ 23 h 27"/>
                <a:gd name="T44" fmla="*/ 19 w 39"/>
                <a:gd name="T45" fmla="*/ 23 h 27"/>
                <a:gd name="T46" fmla="*/ 16 w 39"/>
                <a:gd name="T47" fmla="*/ 22 h 27"/>
                <a:gd name="T48" fmla="*/ 14 w 39"/>
                <a:gd name="T49" fmla="*/ 21 h 27"/>
                <a:gd name="T50" fmla="*/ 11 w 39"/>
                <a:gd name="T51" fmla="*/ 22 h 27"/>
                <a:gd name="T52" fmla="*/ 9 w 39"/>
                <a:gd name="T53" fmla="*/ 22 h 27"/>
                <a:gd name="T54" fmla="*/ 8 w 39"/>
                <a:gd name="T55" fmla="*/ 21 h 27"/>
                <a:gd name="T56" fmla="*/ 8 w 39"/>
                <a:gd name="T57" fmla="*/ 19 h 27"/>
                <a:gd name="T58" fmla="*/ 9 w 39"/>
                <a:gd name="T59" fmla="*/ 16 h 27"/>
                <a:gd name="T60" fmla="*/ 8 w 39"/>
                <a:gd name="T61" fmla="*/ 16 h 27"/>
                <a:gd name="T62" fmla="*/ 6 w 39"/>
                <a:gd name="T63" fmla="*/ 18 h 27"/>
                <a:gd name="T64" fmla="*/ 4 w 39"/>
                <a:gd name="T65" fmla="*/ 17 h 27"/>
                <a:gd name="T66" fmla="*/ 2 w 39"/>
                <a:gd name="T67" fmla="*/ 16 h 27"/>
                <a:gd name="T68" fmla="*/ 1 w 39"/>
                <a:gd name="T69" fmla="*/ 14 h 27"/>
                <a:gd name="T70" fmla="*/ 1 w 39"/>
                <a:gd name="T71" fmla="*/ 12 h 27"/>
                <a:gd name="T72" fmla="*/ 2 w 39"/>
                <a:gd name="T73" fmla="*/ 12 h 27"/>
                <a:gd name="T74" fmla="*/ 1 w 39"/>
                <a:gd name="T75" fmla="*/ 12 h 27"/>
                <a:gd name="T76" fmla="*/ 1 w 39"/>
                <a:gd name="T77" fmla="*/ 11 h 27"/>
                <a:gd name="T78" fmla="*/ 1 w 39"/>
                <a:gd name="T79" fmla="*/ 9 h 27"/>
                <a:gd name="T80" fmla="*/ 2 w 39"/>
                <a:gd name="T81" fmla="*/ 9 h 27"/>
                <a:gd name="T82" fmla="*/ 1 w 39"/>
                <a:gd name="T83" fmla="*/ 9 h 27"/>
                <a:gd name="T84" fmla="*/ 1 w 39"/>
                <a:gd name="T85" fmla="*/ 7 h 27"/>
                <a:gd name="T86" fmla="*/ 2 w 39"/>
                <a:gd name="T87" fmla="*/ 5 h 27"/>
                <a:gd name="T88" fmla="*/ 5 w 39"/>
                <a:gd name="T89" fmla="*/ 5 h 27"/>
                <a:gd name="T90" fmla="*/ 6 w 39"/>
                <a:gd name="T91" fmla="*/ 4 h 27"/>
                <a:gd name="T92" fmla="*/ 7 w 39"/>
                <a:gd name="T93" fmla="*/ 3 h 27"/>
                <a:gd name="T94" fmla="*/ 9 w 39"/>
                <a:gd name="T95" fmla="*/ 2 h 27"/>
                <a:gd name="T96" fmla="*/ 11 w 39"/>
                <a:gd name="T97" fmla="*/ 3 h 27"/>
                <a:gd name="T98" fmla="*/ 12 w 39"/>
                <a:gd name="T99" fmla="*/ 1 h 27"/>
                <a:gd name="T100" fmla="*/ 13 w 39"/>
                <a:gd name="T101" fmla="*/ 2 h 27"/>
                <a:gd name="T102" fmla="*/ 16 w 39"/>
                <a:gd name="T103" fmla="*/ 2 h 27"/>
                <a:gd name="T104" fmla="*/ 17 w 39"/>
                <a:gd name="T105" fmla="*/ 1 h 27"/>
                <a:gd name="T106" fmla="*/ 18 w 39"/>
                <a:gd name="T107" fmla="*/ 1 h 27"/>
                <a:gd name="T108" fmla="*/ 18 w 39"/>
                <a:gd name="T10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" h="27">
                  <a:moveTo>
                    <a:pt x="18" y="0"/>
                  </a:moveTo>
                  <a:lnTo>
                    <a:pt x="19" y="0"/>
                  </a:lnTo>
                  <a:lnTo>
                    <a:pt x="18" y="0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3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4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1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8" y="22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26"/>
            <p:cNvSpPr>
              <a:spLocks noEditPoints="1"/>
            </p:cNvSpPr>
            <p:nvPr/>
          </p:nvSpPr>
          <p:spPr bwMode="auto">
            <a:xfrm>
              <a:off x="5987599" y="3494418"/>
              <a:ext cx="41771" cy="33068"/>
            </a:xfrm>
            <a:custGeom>
              <a:avLst/>
              <a:gdLst>
                <a:gd name="T0" fmla="*/ 11 w 32"/>
                <a:gd name="T1" fmla="*/ 23 h 24"/>
                <a:gd name="T2" fmla="*/ 6 w 32"/>
                <a:gd name="T3" fmla="*/ 19 h 24"/>
                <a:gd name="T4" fmla="*/ 5 w 32"/>
                <a:gd name="T5" fmla="*/ 19 h 24"/>
                <a:gd name="T6" fmla="*/ 18 w 32"/>
                <a:gd name="T7" fmla="*/ 19 h 24"/>
                <a:gd name="T8" fmla="*/ 18 w 32"/>
                <a:gd name="T9" fmla="*/ 19 h 24"/>
                <a:gd name="T10" fmla="*/ 17 w 32"/>
                <a:gd name="T11" fmla="*/ 19 h 24"/>
                <a:gd name="T12" fmla="*/ 6 w 32"/>
                <a:gd name="T13" fmla="*/ 19 h 24"/>
                <a:gd name="T14" fmla="*/ 5 w 32"/>
                <a:gd name="T15" fmla="*/ 20 h 24"/>
                <a:gd name="T16" fmla="*/ 7 w 32"/>
                <a:gd name="T17" fmla="*/ 19 h 24"/>
                <a:gd name="T18" fmla="*/ 18 w 32"/>
                <a:gd name="T19" fmla="*/ 19 h 24"/>
                <a:gd name="T20" fmla="*/ 19 w 32"/>
                <a:gd name="T21" fmla="*/ 19 h 24"/>
                <a:gd name="T22" fmla="*/ 0 w 32"/>
                <a:gd name="T23" fmla="*/ 17 h 24"/>
                <a:gd name="T24" fmla="*/ 0 w 32"/>
                <a:gd name="T25" fmla="*/ 17 h 24"/>
                <a:gd name="T26" fmla="*/ 1 w 32"/>
                <a:gd name="T27" fmla="*/ 17 h 24"/>
                <a:gd name="T28" fmla="*/ 1 w 32"/>
                <a:gd name="T29" fmla="*/ 16 h 24"/>
                <a:gd name="T30" fmla="*/ 13 w 32"/>
                <a:gd name="T31" fmla="*/ 15 h 24"/>
                <a:gd name="T32" fmla="*/ 13 w 32"/>
                <a:gd name="T33" fmla="*/ 13 h 24"/>
                <a:gd name="T34" fmla="*/ 10 w 32"/>
                <a:gd name="T35" fmla="*/ 13 h 24"/>
                <a:gd name="T36" fmla="*/ 10 w 32"/>
                <a:gd name="T37" fmla="*/ 13 h 24"/>
                <a:gd name="T38" fmla="*/ 15 w 32"/>
                <a:gd name="T39" fmla="*/ 12 h 24"/>
                <a:gd name="T40" fmla="*/ 15 w 32"/>
                <a:gd name="T41" fmla="*/ 12 h 24"/>
                <a:gd name="T42" fmla="*/ 10 w 32"/>
                <a:gd name="T43" fmla="*/ 11 h 24"/>
                <a:gd name="T44" fmla="*/ 9 w 32"/>
                <a:gd name="T45" fmla="*/ 11 h 24"/>
                <a:gd name="T46" fmla="*/ 10 w 32"/>
                <a:gd name="T47" fmla="*/ 11 h 24"/>
                <a:gd name="T48" fmla="*/ 10 w 32"/>
                <a:gd name="T49" fmla="*/ 11 h 24"/>
                <a:gd name="T50" fmla="*/ 13 w 32"/>
                <a:gd name="T51" fmla="*/ 11 h 24"/>
                <a:gd name="T52" fmla="*/ 13 w 32"/>
                <a:gd name="T53" fmla="*/ 11 h 24"/>
                <a:gd name="T54" fmla="*/ 10 w 32"/>
                <a:gd name="T55" fmla="*/ 10 h 24"/>
                <a:gd name="T56" fmla="*/ 10 w 32"/>
                <a:gd name="T57" fmla="*/ 10 h 24"/>
                <a:gd name="T58" fmla="*/ 12 w 32"/>
                <a:gd name="T59" fmla="*/ 9 h 24"/>
                <a:gd name="T60" fmla="*/ 13 w 32"/>
                <a:gd name="T61" fmla="*/ 9 h 24"/>
                <a:gd name="T62" fmla="*/ 12 w 32"/>
                <a:gd name="T63" fmla="*/ 8 h 24"/>
                <a:gd name="T64" fmla="*/ 11 w 32"/>
                <a:gd name="T65" fmla="*/ 8 h 24"/>
                <a:gd name="T66" fmla="*/ 13 w 32"/>
                <a:gd name="T67" fmla="*/ 9 h 24"/>
                <a:gd name="T68" fmla="*/ 11 w 32"/>
                <a:gd name="T69" fmla="*/ 9 h 24"/>
                <a:gd name="T70" fmla="*/ 11 w 32"/>
                <a:gd name="T71" fmla="*/ 8 h 24"/>
                <a:gd name="T72" fmla="*/ 12 w 32"/>
                <a:gd name="T73" fmla="*/ 5 h 24"/>
                <a:gd name="T74" fmla="*/ 17 w 32"/>
                <a:gd name="T75" fmla="*/ 5 h 24"/>
                <a:gd name="T76" fmla="*/ 17 w 32"/>
                <a:gd name="T77" fmla="*/ 4 h 24"/>
                <a:gd name="T78" fmla="*/ 17 w 32"/>
                <a:gd name="T79" fmla="*/ 4 h 24"/>
                <a:gd name="T80" fmla="*/ 24 w 32"/>
                <a:gd name="T81" fmla="*/ 1 h 24"/>
                <a:gd name="T82" fmla="*/ 23 w 32"/>
                <a:gd name="T83" fmla="*/ 1 h 24"/>
                <a:gd name="T84" fmla="*/ 22 w 32"/>
                <a:gd name="T85" fmla="*/ 2 h 24"/>
                <a:gd name="T86" fmla="*/ 22 w 32"/>
                <a:gd name="T87" fmla="*/ 1 h 24"/>
                <a:gd name="T88" fmla="*/ 26 w 32"/>
                <a:gd name="T89" fmla="*/ 1 h 24"/>
                <a:gd name="T90" fmla="*/ 26 w 32"/>
                <a:gd name="T91" fmla="*/ 0 h 24"/>
                <a:gd name="T92" fmla="*/ 25 w 32"/>
                <a:gd name="T93" fmla="*/ 0 h 24"/>
                <a:gd name="T94" fmla="*/ 32 w 32"/>
                <a:gd name="T9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" h="24">
                  <a:moveTo>
                    <a:pt x="12" y="24"/>
                  </a:moveTo>
                  <a:lnTo>
                    <a:pt x="11" y="24"/>
                  </a:lnTo>
                  <a:lnTo>
                    <a:pt x="11" y="23"/>
                  </a:ln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18" y="19"/>
                  </a:moveTo>
                  <a:lnTo>
                    <a:pt x="18" y="20"/>
                  </a:lnTo>
                  <a:lnTo>
                    <a:pt x="17" y="20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5" y="19"/>
                  </a:move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7" y="19"/>
                  </a:lnTo>
                  <a:lnTo>
                    <a:pt x="6" y="19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19" y="19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1" y="17"/>
                  </a:moveTo>
                  <a:lnTo>
                    <a:pt x="1" y="16"/>
                  </a:lnTo>
                  <a:lnTo>
                    <a:pt x="1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3" y="15"/>
                  </a:moveTo>
                  <a:lnTo>
                    <a:pt x="13" y="14"/>
                  </a:lnTo>
                  <a:lnTo>
                    <a:pt x="13" y="15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10" y="13"/>
                  </a:move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0" y="11"/>
                  </a:moveTo>
                  <a:lnTo>
                    <a:pt x="10" y="12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4" y="11"/>
                  </a:move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3" y="11"/>
                  </a:moveTo>
                  <a:lnTo>
                    <a:pt x="12" y="11"/>
                  </a:lnTo>
                  <a:lnTo>
                    <a:pt x="13" y="11"/>
                  </a:lnTo>
                  <a:close/>
                  <a:moveTo>
                    <a:pt x="10" y="10"/>
                  </a:move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close/>
                  <a:moveTo>
                    <a:pt x="12" y="9"/>
                  </a:move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11" y="8"/>
                  </a:move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close/>
                  <a:moveTo>
                    <a:pt x="13" y="5"/>
                  </a:moveTo>
                  <a:lnTo>
                    <a:pt x="12" y="5"/>
                  </a:lnTo>
                  <a:lnTo>
                    <a:pt x="13" y="5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4"/>
                  </a:move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close/>
                  <a:moveTo>
                    <a:pt x="24" y="1"/>
                  </a:move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5" y="0"/>
                  </a:lnTo>
                  <a:lnTo>
                    <a:pt x="26" y="0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27"/>
            <p:cNvSpPr>
              <a:spLocks noEditPoints="1"/>
            </p:cNvSpPr>
            <p:nvPr/>
          </p:nvSpPr>
          <p:spPr bwMode="auto">
            <a:xfrm>
              <a:off x="5987599" y="3495796"/>
              <a:ext cx="40465" cy="24801"/>
            </a:xfrm>
            <a:custGeom>
              <a:avLst/>
              <a:gdLst>
                <a:gd name="T0" fmla="*/ 8 w 31"/>
                <a:gd name="T1" fmla="*/ 18 h 18"/>
                <a:gd name="T2" fmla="*/ 0 w 31"/>
                <a:gd name="T3" fmla="*/ 16 h 18"/>
                <a:gd name="T4" fmla="*/ 0 w 31"/>
                <a:gd name="T5" fmla="*/ 16 h 18"/>
                <a:gd name="T6" fmla="*/ 0 w 31"/>
                <a:gd name="T7" fmla="*/ 16 h 18"/>
                <a:gd name="T8" fmla="*/ 10 w 31"/>
                <a:gd name="T9" fmla="*/ 15 h 18"/>
                <a:gd name="T10" fmla="*/ 10 w 31"/>
                <a:gd name="T11" fmla="*/ 15 h 18"/>
                <a:gd name="T12" fmla="*/ 0 w 31"/>
                <a:gd name="T13" fmla="*/ 15 h 18"/>
                <a:gd name="T14" fmla="*/ 10 w 31"/>
                <a:gd name="T15" fmla="*/ 15 h 18"/>
                <a:gd name="T16" fmla="*/ 10 w 31"/>
                <a:gd name="T17" fmla="*/ 15 h 18"/>
                <a:gd name="T18" fmla="*/ 10 w 31"/>
                <a:gd name="T19" fmla="*/ 15 h 18"/>
                <a:gd name="T20" fmla="*/ 11 w 31"/>
                <a:gd name="T21" fmla="*/ 15 h 18"/>
                <a:gd name="T22" fmla="*/ 11 w 31"/>
                <a:gd name="T23" fmla="*/ 15 h 18"/>
                <a:gd name="T24" fmla="*/ 15 w 31"/>
                <a:gd name="T25" fmla="*/ 15 h 18"/>
                <a:gd name="T26" fmla="*/ 15 w 31"/>
                <a:gd name="T27" fmla="*/ 15 h 18"/>
                <a:gd name="T28" fmla="*/ 11 w 31"/>
                <a:gd name="T29" fmla="*/ 14 h 18"/>
                <a:gd name="T30" fmla="*/ 13 w 31"/>
                <a:gd name="T31" fmla="*/ 12 h 18"/>
                <a:gd name="T32" fmla="*/ 13 w 31"/>
                <a:gd name="T33" fmla="*/ 12 h 18"/>
                <a:gd name="T34" fmla="*/ 11 w 31"/>
                <a:gd name="T35" fmla="*/ 11 h 18"/>
                <a:gd name="T36" fmla="*/ 10 w 31"/>
                <a:gd name="T37" fmla="*/ 11 h 18"/>
                <a:gd name="T38" fmla="*/ 10 w 31"/>
                <a:gd name="T39" fmla="*/ 11 h 18"/>
                <a:gd name="T40" fmla="*/ 11 w 31"/>
                <a:gd name="T41" fmla="*/ 11 h 18"/>
                <a:gd name="T42" fmla="*/ 9 w 31"/>
                <a:gd name="T43" fmla="*/ 10 h 18"/>
                <a:gd name="T44" fmla="*/ 9 w 31"/>
                <a:gd name="T45" fmla="*/ 10 h 18"/>
                <a:gd name="T46" fmla="*/ 10 w 31"/>
                <a:gd name="T47" fmla="*/ 8 h 18"/>
                <a:gd name="T48" fmla="*/ 5 w 31"/>
                <a:gd name="T49" fmla="*/ 8 h 18"/>
                <a:gd name="T50" fmla="*/ 5 w 31"/>
                <a:gd name="T51" fmla="*/ 8 h 18"/>
                <a:gd name="T52" fmla="*/ 8 w 31"/>
                <a:gd name="T53" fmla="*/ 8 h 18"/>
                <a:gd name="T54" fmla="*/ 5 w 31"/>
                <a:gd name="T55" fmla="*/ 8 h 18"/>
                <a:gd name="T56" fmla="*/ 5 w 31"/>
                <a:gd name="T57" fmla="*/ 8 h 18"/>
                <a:gd name="T58" fmla="*/ 12 w 31"/>
                <a:gd name="T59" fmla="*/ 7 h 18"/>
                <a:gd name="T60" fmla="*/ 31 w 31"/>
                <a:gd name="T61" fmla="*/ 0 h 18"/>
                <a:gd name="T62" fmla="*/ 31 w 31"/>
                <a:gd name="T6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" h="18">
                  <a:moveTo>
                    <a:pt x="8" y="18"/>
                  </a:moveTo>
                  <a:lnTo>
                    <a:pt x="8" y="18"/>
                  </a:lnTo>
                  <a:lnTo>
                    <a:pt x="8" y="18"/>
                  </a:lnTo>
                  <a:close/>
                  <a:moveTo>
                    <a:pt x="0" y="16"/>
                  </a:moveTo>
                  <a:lnTo>
                    <a:pt x="0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1" y="15"/>
                  </a:moveTo>
                  <a:lnTo>
                    <a:pt x="10" y="15"/>
                  </a:lnTo>
                  <a:lnTo>
                    <a:pt x="11" y="15"/>
                  </a:lnTo>
                  <a:close/>
                  <a:moveTo>
                    <a:pt x="11" y="15"/>
                  </a:moveTo>
                  <a:lnTo>
                    <a:pt x="11" y="15"/>
                  </a:lnTo>
                  <a:lnTo>
                    <a:pt x="11" y="15"/>
                  </a:lnTo>
                  <a:close/>
                  <a:moveTo>
                    <a:pt x="15" y="15"/>
                  </a:moveTo>
                  <a:lnTo>
                    <a:pt x="15" y="15"/>
                  </a:lnTo>
                  <a:lnTo>
                    <a:pt x="15" y="14"/>
                  </a:lnTo>
                  <a:lnTo>
                    <a:pt x="15" y="15"/>
                  </a:lnTo>
                  <a:close/>
                  <a:moveTo>
                    <a:pt x="11" y="15"/>
                  </a:moveTo>
                  <a:lnTo>
                    <a:pt x="11" y="14"/>
                  </a:lnTo>
                  <a:lnTo>
                    <a:pt x="11" y="15"/>
                  </a:lnTo>
                  <a:close/>
                  <a:moveTo>
                    <a:pt x="13" y="12"/>
                  </a:moveTo>
                  <a:lnTo>
                    <a:pt x="13" y="11"/>
                  </a:lnTo>
                  <a:lnTo>
                    <a:pt x="13" y="12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9" y="10"/>
                  </a:moveTo>
                  <a:lnTo>
                    <a:pt x="8" y="10"/>
                  </a:lnTo>
                  <a:lnTo>
                    <a:pt x="9" y="10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5" y="8"/>
                  </a:moveTo>
                  <a:lnTo>
                    <a:pt x="4" y="8"/>
                  </a:lnTo>
                  <a:lnTo>
                    <a:pt x="5" y="8"/>
                  </a:lnTo>
                  <a:close/>
                  <a:moveTo>
                    <a:pt x="9" y="8"/>
                  </a:moveTo>
                  <a:lnTo>
                    <a:pt x="8" y="8"/>
                  </a:lnTo>
                  <a:lnTo>
                    <a:pt x="9" y="8"/>
                  </a:lnTo>
                  <a:close/>
                  <a:moveTo>
                    <a:pt x="5" y="8"/>
                  </a:moveTo>
                  <a:lnTo>
                    <a:pt x="5" y="7"/>
                  </a:lnTo>
                  <a:lnTo>
                    <a:pt x="5" y="8"/>
                  </a:lnTo>
                  <a:close/>
                  <a:moveTo>
                    <a:pt x="13" y="7"/>
                  </a:moveTo>
                  <a:lnTo>
                    <a:pt x="12" y="7"/>
                  </a:lnTo>
                  <a:lnTo>
                    <a:pt x="13" y="7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2" name="Freeform 28"/>
            <p:cNvSpPr>
              <a:spLocks/>
            </p:cNvSpPr>
            <p:nvPr/>
          </p:nvSpPr>
          <p:spPr bwMode="auto">
            <a:xfrm>
              <a:off x="5682152" y="3446194"/>
              <a:ext cx="6526" cy="6890"/>
            </a:xfrm>
            <a:custGeom>
              <a:avLst/>
              <a:gdLst>
                <a:gd name="T0" fmla="*/ 1 w 5"/>
                <a:gd name="T1" fmla="*/ 0 h 5"/>
                <a:gd name="T2" fmla="*/ 1 w 5"/>
                <a:gd name="T3" fmla="*/ 0 h 5"/>
                <a:gd name="T4" fmla="*/ 2 w 5"/>
                <a:gd name="T5" fmla="*/ 1 h 5"/>
                <a:gd name="T6" fmla="*/ 2 w 5"/>
                <a:gd name="T7" fmla="*/ 1 h 5"/>
                <a:gd name="T8" fmla="*/ 3 w 5"/>
                <a:gd name="T9" fmla="*/ 2 h 5"/>
                <a:gd name="T10" fmla="*/ 3 w 5"/>
                <a:gd name="T11" fmla="*/ 2 h 5"/>
                <a:gd name="T12" fmla="*/ 3 w 5"/>
                <a:gd name="T13" fmla="*/ 2 h 5"/>
                <a:gd name="T14" fmla="*/ 3 w 5"/>
                <a:gd name="T15" fmla="*/ 2 h 5"/>
                <a:gd name="T16" fmla="*/ 3 w 5"/>
                <a:gd name="T17" fmla="*/ 3 h 5"/>
                <a:gd name="T18" fmla="*/ 4 w 5"/>
                <a:gd name="T19" fmla="*/ 3 h 5"/>
                <a:gd name="T20" fmla="*/ 3 w 5"/>
                <a:gd name="T21" fmla="*/ 3 h 5"/>
                <a:gd name="T22" fmla="*/ 3 w 5"/>
                <a:gd name="T23" fmla="*/ 3 h 5"/>
                <a:gd name="T24" fmla="*/ 4 w 5"/>
                <a:gd name="T25" fmla="*/ 3 h 5"/>
                <a:gd name="T26" fmla="*/ 4 w 5"/>
                <a:gd name="T27" fmla="*/ 3 h 5"/>
                <a:gd name="T28" fmla="*/ 4 w 5"/>
                <a:gd name="T29" fmla="*/ 4 h 5"/>
                <a:gd name="T30" fmla="*/ 4 w 5"/>
                <a:gd name="T31" fmla="*/ 4 h 5"/>
                <a:gd name="T32" fmla="*/ 4 w 5"/>
                <a:gd name="T33" fmla="*/ 4 h 5"/>
                <a:gd name="T34" fmla="*/ 4 w 5"/>
                <a:gd name="T35" fmla="*/ 4 h 5"/>
                <a:gd name="T36" fmla="*/ 4 w 5"/>
                <a:gd name="T37" fmla="*/ 4 h 5"/>
                <a:gd name="T38" fmla="*/ 4 w 5"/>
                <a:gd name="T39" fmla="*/ 4 h 5"/>
                <a:gd name="T40" fmla="*/ 4 w 5"/>
                <a:gd name="T41" fmla="*/ 4 h 5"/>
                <a:gd name="T42" fmla="*/ 5 w 5"/>
                <a:gd name="T43" fmla="*/ 4 h 5"/>
                <a:gd name="T44" fmla="*/ 5 w 5"/>
                <a:gd name="T45" fmla="*/ 4 h 5"/>
                <a:gd name="T46" fmla="*/ 4 w 5"/>
                <a:gd name="T47" fmla="*/ 4 h 5"/>
                <a:gd name="T48" fmla="*/ 5 w 5"/>
                <a:gd name="T49" fmla="*/ 4 h 5"/>
                <a:gd name="T50" fmla="*/ 5 w 5"/>
                <a:gd name="T51" fmla="*/ 5 h 5"/>
                <a:gd name="T52" fmla="*/ 4 w 5"/>
                <a:gd name="T53" fmla="*/ 5 h 5"/>
                <a:gd name="T54" fmla="*/ 4 w 5"/>
                <a:gd name="T55" fmla="*/ 4 h 5"/>
                <a:gd name="T56" fmla="*/ 4 w 5"/>
                <a:gd name="T57" fmla="*/ 4 h 5"/>
                <a:gd name="T58" fmla="*/ 3 w 5"/>
                <a:gd name="T59" fmla="*/ 4 h 5"/>
                <a:gd name="T60" fmla="*/ 3 w 5"/>
                <a:gd name="T61" fmla="*/ 4 h 5"/>
                <a:gd name="T62" fmla="*/ 3 w 5"/>
                <a:gd name="T63" fmla="*/ 4 h 5"/>
                <a:gd name="T64" fmla="*/ 3 w 5"/>
                <a:gd name="T65" fmla="*/ 4 h 5"/>
                <a:gd name="T66" fmla="*/ 3 w 5"/>
                <a:gd name="T67" fmla="*/ 3 h 5"/>
                <a:gd name="T68" fmla="*/ 2 w 5"/>
                <a:gd name="T69" fmla="*/ 3 h 5"/>
                <a:gd name="T70" fmla="*/ 2 w 5"/>
                <a:gd name="T71" fmla="*/ 3 h 5"/>
                <a:gd name="T72" fmla="*/ 1 w 5"/>
                <a:gd name="T73" fmla="*/ 3 h 5"/>
                <a:gd name="T74" fmla="*/ 1 w 5"/>
                <a:gd name="T75" fmla="*/ 3 h 5"/>
                <a:gd name="T76" fmla="*/ 1 w 5"/>
                <a:gd name="T77" fmla="*/ 2 h 5"/>
                <a:gd name="T78" fmla="*/ 1 w 5"/>
                <a:gd name="T79" fmla="*/ 3 h 5"/>
                <a:gd name="T80" fmla="*/ 1 w 5"/>
                <a:gd name="T81" fmla="*/ 2 h 5"/>
                <a:gd name="T82" fmla="*/ 1 w 5"/>
                <a:gd name="T83" fmla="*/ 2 h 5"/>
                <a:gd name="T84" fmla="*/ 1 w 5"/>
                <a:gd name="T85" fmla="*/ 2 h 5"/>
                <a:gd name="T86" fmla="*/ 1 w 5"/>
                <a:gd name="T87" fmla="*/ 2 h 5"/>
                <a:gd name="T88" fmla="*/ 1 w 5"/>
                <a:gd name="T89" fmla="*/ 2 h 5"/>
                <a:gd name="T90" fmla="*/ 1 w 5"/>
                <a:gd name="T91" fmla="*/ 2 h 5"/>
                <a:gd name="T92" fmla="*/ 1 w 5"/>
                <a:gd name="T93" fmla="*/ 2 h 5"/>
                <a:gd name="T94" fmla="*/ 1 w 5"/>
                <a:gd name="T95" fmla="*/ 1 h 5"/>
                <a:gd name="T96" fmla="*/ 1 w 5"/>
                <a:gd name="T97" fmla="*/ 1 h 5"/>
                <a:gd name="T98" fmla="*/ 1 w 5"/>
                <a:gd name="T99" fmla="*/ 1 h 5"/>
                <a:gd name="T100" fmla="*/ 1 w 5"/>
                <a:gd name="T101" fmla="*/ 1 h 5"/>
                <a:gd name="T102" fmla="*/ 1 w 5"/>
                <a:gd name="T103" fmla="*/ 1 h 5"/>
                <a:gd name="T104" fmla="*/ 1 w 5"/>
                <a:gd name="T105" fmla="*/ 1 h 5"/>
                <a:gd name="T106" fmla="*/ 1 w 5"/>
                <a:gd name="T107" fmla="*/ 0 h 5"/>
                <a:gd name="T108" fmla="*/ 1 w 5"/>
                <a:gd name="T109" fmla="*/ 0 h 5"/>
                <a:gd name="T110" fmla="*/ 1 w 5"/>
                <a:gd name="T111" fmla="*/ 0 h 5"/>
                <a:gd name="T112" fmla="*/ 1 w 5"/>
                <a:gd name="T113" fmla="*/ 0 h 5"/>
                <a:gd name="T114" fmla="*/ 1 w 5"/>
                <a:gd name="T1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3" name="Freeform 29"/>
            <p:cNvSpPr>
              <a:spLocks noEditPoints="1"/>
            </p:cNvSpPr>
            <p:nvPr/>
          </p:nvSpPr>
          <p:spPr bwMode="auto">
            <a:xfrm>
              <a:off x="5678237" y="3444816"/>
              <a:ext cx="14358" cy="19290"/>
            </a:xfrm>
            <a:custGeom>
              <a:avLst/>
              <a:gdLst>
                <a:gd name="T0" fmla="*/ 6 w 11"/>
                <a:gd name="T1" fmla="*/ 10 h 14"/>
                <a:gd name="T2" fmla="*/ 7 w 11"/>
                <a:gd name="T3" fmla="*/ 11 h 14"/>
                <a:gd name="T4" fmla="*/ 7 w 11"/>
                <a:gd name="T5" fmla="*/ 11 h 14"/>
                <a:gd name="T6" fmla="*/ 7 w 11"/>
                <a:gd name="T7" fmla="*/ 11 h 14"/>
                <a:gd name="T8" fmla="*/ 8 w 11"/>
                <a:gd name="T9" fmla="*/ 12 h 14"/>
                <a:gd name="T10" fmla="*/ 7 w 11"/>
                <a:gd name="T11" fmla="*/ 12 h 14"/>
                <a:gd name="T12" fmla="*/ 8 w 11"/>
                <a:gd name="T13" fmla="*/ 13 h 14"/>
                <a:gd name="T14" fmla="*/ 8 w 11"/>
                <a:gd name="T15" fmla="*/ 13 h 14"/>
                <a:gd name="T16" fmla="*/ 6 w 11"/>
                <a:gd name="T17" fmla="*/ 12 h 14"/>
                <a:gd name="T18" fmla="*/ 6 w 11"/>
                <a:gd name="T19" fmla="*/ 11 h 14"/>
                <a:gd name="T20" fmla="*/ 6 w 11"/>
                <a:gd name="T21" fmla="*/ 11 h 14"/>
                <a:gd name="T22" fmla="*/ 6 w 11"/>
                <a:gd name="T23" fmla="*/ 10 h 14"/>
                <a:gd name="T24" fmla="*/ 7 w 11"/>
                <a:gd name="T25" fmla="*/ 9 h 14"/>
                <a:gd name="T26" fmla="*/ 7 w 11"/>
                <a:gd name="T27" fmla="*/ 7 h 14"/>
                <a:gd name="T28" fmla="*/ 9 w 11"/>
                <a:gd name="T29" fmla="*/ 7 h 14"/>
                <a:gd name="T30" fmla="*/ 8 w 11"/>
                <a:gd name="T31" fmla="*/ 9 h 14"/>
                <a:gd name="T32" fmla="*/ 6 w 11"/>
                <a:gd name="T33" fmla="*/ 8 h 14"/>
                <a:gd name="T34" fmla="*/ 7 w 11"/>
                <a:gd name="T35" fmla="*/ 7 h 14"/>
                <a:gd name="T36" fmla="*/ 7 w 11"/>
                <a:gd name="T37" fmla="*/ 6 h 14"/>
                <a:gd name="T38" fmla="*/ 6 w 11"/>
                <a:gd name="T39" fmla="*/ 5 h 14"/>
                <a:gd name="T40" fmla="*/ 9 w 11"/>
                <a:gd name="T41" fmla="*/ 6 h 14"/>
                <a:gd name="T42" fmla="*/ 9 w 11"/>
                <a:gd name="T43" fmla="*/ 5 h 14"/>
                <a:gd name="T44" fmla="*/ 1 w 11"/>
                <a:gd name="T45" fmla="*/ 4 h 14"/>
                <a:gd name="T46" fmla="*/ 1 w 11"/>
                <a:gd name="T47" fmla="*/ 4 h 14"/>
                <a:gd name="T48" fmla="*/ 4 w 11"/>
                <a:gd name="T49" fmla="*/ 4 h 14"/>
                <a:gd name="T50" fmla="*/ 5 w 11"/>
                <a:gd name="T51" fmla="*/ 5 h 14"/>
                <a:gd name="T52" fmla="*/ 4 w 11"/>
                <a:gd name="T53" fmla="*/ 5 h 14"/>
                <a:gd name="T54" fmla="*/ 3 w 11"/>
                <a:gd name="T55" fmla="*/ 4 h 14"/>
                <a:gd name="T56" fmla="*/ 2 w 11"/>
                <a:gd name="T57" fmla="*/ 4 h 14"/>
                <a:gd name="T58" fmla="*/ 4 w 11"/>
                <a:gd name="T59" fmla="*/ 3 h 14"/>
                <a:gd name="T60" fmla="*/ 11 w 11"/>
                <a:gd name="T61" fmla="*/ 2 h 14"/>
                <a:gd name="T62" fmla="*/ 10 w 11"/>
                <a:gd name="T63" fmla="*/ 2 h 14"/>
                <a:gd name="T64" fmla="*/ 11 w 11"/>
                <a:gd name="T65" fmla="*/ 2 h 14"/>
                <a:gd name="T66" fmla="*/ 6 w 11"/>
                <a:gd name="T67" fmla="*/ 2 h 14"/>
                <a:gd name="T68" fmla="*/ 7 w 11"/>
                <a:gd name="T69" fmla="*/ 1 h 14"/>
                <a:gd name="T70" fmla="*/ 7 w 11"/>
                <a:gd name="T71" fmla="*/ 2 h 14"/>
                <a:gd name="T72" fmla="*/ 9 w 11"/>
                <a:gd name="T73" fmla="*/ 3 h 14"/>
                <a:gd name="T74" fmla="*/ 9 w 11"/>
                <a:gd name="T75" fmla="*/ 3 h 14"/>
                <a:gd name="T76" fmla="*/ 8 w 11"/>
                <a:gd name="T77" fmla="*/ 4 h 14"/>
                <a:gd name="T78" fmla="*/ 8 w 11"/>
                <a:gd name="T79" fmla="*/ 5 h 14"/>
                <a:gd name="T80" fmla="*/ 8 w 11"/>
                <a:gd name="T81" fmla="*/ 4 h 14"/>
                <a:gd name="T82" fmla="*/ 7 w 11"/>
                <a:gd name="T83" fmla="*/ 3 h 14"/>
                <a:gd name="T84" fmla="*/ 7 w 11"/>
                <a:gd name="T85" fmla="*/ 4 h 14"/>
                <a:gd name="T86" fmla="*/ 6 w 11"/>
                <a:gd name="T87" fmla="*/ 3 h 14"/>
                <a:gd name="T88" fmla="*/ 6 w 11"/>
                <a:gd name="T89" fmla="*/ 1 h 14"/>
                <a:gd name="T90" fmla="*/ 11 w 11"/>
                <a:gd name="T91" fmla="*/ 1 h 14"/>
                <a:gd name="T92" fmla="*/ 11 w 11"/>
                <a:gd name="T93" fmla="*/ 1 h 14"/>
                <a:gd name="T94" fmla="*/ 10 w 11"/>
                <a:gd name="T95" fmla="*/ 2 h 14"/>
                <a:gd name="T96" fmla="*/ 10 w 11"/>
                <a:gd name="T97" fmla="*/ 3 h 14"/>
                <a:gd name="T98" fmla="*/ 10 w 11"/>
                <a:gd name="T99" fmla="*/ 3 h 14"/>
                <a:gd name="T100" fmla="*/ 9 w 11"/>
                <a:gd name="T101" fmla="*/ 2 h 14"/>
                <a:gd name="T102" fmla="*/ 9 w 11"/>
                <a:gd name="T103" fmla="*/ 1 h 14"/>
                <a:gd name="T104" fmla="*/ 10 w 11"/>
                <a:gd name="T105" fmla="*/ 2 h 14"/>
                <a:gd name="T106" fmla="*/ 9 w 11"/>
                <a:gd name="T107" fmla="*/ 1 h 14"/>
                <a:gd name="T108" fmla="*/ 8 w 11"/>
                <a:gd name="T109" fmla="*/ 1 h 14"/>
                <a:gd name="T110" fmla="*/ 8 w 11"/>
                <a:gd name="T111" fmla="*/ 3 h 14"/>
                <a:gd name="T112" fmla="*/ 7 w 11"/>
                <a:gd name="T113" fmla="*/ 1 h 14"/>
                <a:gd name="T114" fmla="*/ 8 w 11"/>
                <a:gd name="T115" fmla="*/ 2 h 14"/>
                <a:gd name="T116" fmla="*/ 10 w 11"/>
                <a:gd name="T117" fmla="*/ 0 h 14"/>
                <a:gd name="T118" fmla="*/ 10 w 11"/>
                <a:gd name="T11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" h="14"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close/>
                  <a:moveTo>
                    <a:pt x="6" y="10"/>
                  </a:moveTo>
                  <a:lnTo>
                    <a:pt x="7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8" y="10"/>
                  </a:moveTo>
                  <a:lnTo>
                    <a:pt x="7" y="10"/>
                  </a:lnTo>
                  <a:lnTo>
                    <a:pt x="8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close/>
                  <a:moveTo>
                    <a:pt x="7" y="7"/>
                  </a:moveTo>
                  <a:lnTo>
                    <a:pt x="7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7"/>
                  </a:lnTo>
                  <a:close/>
                  <a:moveTo>
                    <a:pt x="6" y="5"/>
                  </a:move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9" y="5"/>
                  </a:move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close/>
                  <a:moveTo>
                    <a:pt x="11" y="2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close/>
                  <a:moveTo>
                    <a:pt x="6" y="1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  <a:moveTo>
                    <a:pt x="11" y="1"/>
                  </a:move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close/>
                  <a:moveTo>
                    <a:pt x="10" y="2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2"/>
                  </a:lnTo>
                  <a:close/>
                  <a:moveTo>
                    <a:pt x="9" y="1"/>
                  </a:moveTo>
                  <a:lnTo>
                    <a:pt x="9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close/>
                  <a:moveTo>
                    <a:pt x="9" y="3"/>
                  </a:moveTo>
                  <a:lnTo>
                    <a:pt x="8" y="3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close/>
                  <a:moveTo>
                    <a:pt x="9" y="0"/>
                  </a:moveTo>
                  <a:lnTo>
                    <a:pt x="10" y="0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4" name="Freeform 30"/>
            <p:cNvSpPr>
              <a:spLocks noEditPoints="1"/>
            </p:cNvSpPr>
            <p:nvPr/>
          </p:nvSpPr>
          <p:spPr bwMode="auto">
            <a:xfrm>
              <a:off x="5680847" y="3450327"/>
              <a:ext cx="7832" cy="13778"/>
            </a:xfrm>
            <a:custGeom>
              <a:avLst/>
              <a:gdLst>
                <a:gd name="T0" fmla="*/ 6 w 6"/>
                <a:gd name="T1" fmla="*/ 10 h 10"/>
                <a:gd name="T2" fmla="*/ 6 w 6"/>
                <a:gd name="T3" fmla="*/ 10 h 10"/>
                <a:gd name="T4" fmla="*/ 6 w 6"/>
                <a:gd name="T5" fmla="*/ 10 h 10"/>
                <a:gd name="T6" fmla="*/ 6 w 6"/>
                <a:gd name="T7" fmla="*/ 10 h 10"/>
                <a:gd name="T8" fmla="*/ 6 w 6"/>
                <a:gd name="T9" fmla="*/ 10 h 10"/>
                <a:gd name="T10" fmla="*/ 6 w 6"/>
                <a:gd name="T11" fmla="*/ 10 h 10"/>
                <a:gd name="T12" fmla="*/ 5 w 6"/>
                <a:gd name="T13" fmla="*/ 8 h 10"/>
                <a:gd name="T14" fmla="*/ 5 w 6"/>
                <a:gd name="T15" fmla="*/ 8 h 10"/>
                <a:gd name="T16" fmla="*/ 5 w 6"/>
                <a:gd name="T17" fmla="*/ 8 h 10"/>
                <a:gd name="T18" fmla="*/ 5 w 6"/>
                <a:gd name="T19" fmla="*/ 8 h 10"/>
                <a:gd name="T20" fmla="*/ 5 w 6"/>
                <a:gd name="T21" fmla="*/ 8 h 10"/>
                <a:gd name="T22" fmla="*/ 0 w 6"/>
                <a:gd name="T23" fmla="*/ 0 h 10"/>
                <a:gd name="T24" fmla="*/ 0 w 6"/>
                <a:gd name="T25" fmla="*/ 0 h 10"/>
                <a:gd name="T26" fmla="*/ 0 w 6"/>
                <a:gd name="T27" fmla="*/ 0 h 10"/>
                <a:gd name="T28" fmla="*/ 0 w 6"/>
                <a:gd name="T29" fmla="*/ 0 h 10"/>
                <a:gd name="T30" fmla="*/ 0 w 6"/>
                <a:gd name="T31" fmla="*/ 0 h 10"/>
                <a:gd name="T32" fmla="*/ 0 w 6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10"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5" name="Freeform 31"/>
            <p:cNvSpPr>
              <a:spLocks/>
            </p:cNvSpPr>
            <p:nvPr/>
          </p:nvSpPr>
          <p:spPr bwMode="auto">
            <a:xfrm>
              <a:off x="5992820" y="3482018"/>
              <a:ext cx="7832" cy="6890"/>
            </a:xfrm>
            <a:custGeom>
              <a:avLst/>
              <a:gdLst>
                <a:gd name="T0" fmla="*/ 1 w 6"/>
                <a:gd name="T1" fmla="*/ 5 h 5"/>
                <a:gd name="T2" fmla="*/ 1 w 6"/>
                <a:gd name="T3" fmla="*/ 5 h 5"/>
                <a:gd name="T4" fmla="*/ 1 w 6"/>
                <a:gd name="T5" fmla="*/ 5 h 5"/>
                <a:gd name="T6" fmla="*/ 1 w 6"/>
                <a:gd name="T7" fmla="*/ 5 h 5"/>
                <a:gd name="T8" fmla="*/ 1 w 6"/>
                <a:gd name="T9" fmla="*/ 5 h 5"/>
                <a:gd name="T10" fmla="*/ 1 w 6"/>
                <a:gd name="T11" fmla="*/ 5 h 5"/>
                <a:gd name="T12" fmla="*/ 0 w 6"/>
                <a:gd name="T13" fmla="*/ 4 h 5"/>
                <a:gd name="T14" fmla="*/ 1 w 6"/>
                <a:gd name="T15" fmla="*/ 3 h 5"/>
                <a:gd name="T16" fmla="*/ 1 w 6"/>
                <a:gd name="T17" fmla="*/ 4 h 5"/>
                <a:gd name="T18" fmla="*/ 1 w 6"/>
                <a:gd name="T19" fmla="*/ 3 h 5"/>
                <a:gd name="T20" fmla="*/ 1 w 6"/>
                <a:gd name="T21" fmla="*/ 3 h 5"/>
                <a:gd name="T22" fmla="*/ 1 w 6"/>
                <a:gd name="T23" fmla="*/ 3 h 5"/>
                <a:gd name="T24" fmla="*/ 2 w 6"/>
                <a:gd name="T25" fmla="*/ 3 h 5"/>
                <a:gd name="T26" fmla="*/ 2 w 6"/>
                <a:gd name="T27" fmla="*/ 3 h 5"/>
                <a:gd name="T28" fmla="*/ 1 w 6"/>
                <a:gd name="T29" fmla="*/ 2 h 5"/>
                <a:gd name="T30" fmla="*/ 1 w 6"/>
                <a:gd name="T31" fmla="*/ 3 h 5"/>
                <a:gd name="T32" fmla="*/ 1 w 6"/>
                <a:gd name="T33" fmla="*/ 2 h 5"/>
                <a:gd name="T34" fmla="*/ 1 w 6"/>
                <a:gd name="T35" fmla="*/ 2 h 5"/>
                <a:gd name="T36" fmla="*/ 1 w 6"/>
                <a:gd name="T37" fmla="*/ 2 h 5"/>
                <a:gd name="T38" fmla="*/ 1 w 6"/>
                <a:gd name="T39" fmla="*/ 2 h 5"/>
                <a:gd name="T40" fmla="*/ 2 w 6"/>
                <a:gd name="T41" fmla="*/ 2 h 5"/>
                <a:gd name="T42" fmla="*/ 2 w 6"/>
                <a:gd name="T43" fmla="*/ 2 h 5"/>
                <a:gd name="T44" fmla="*/ 3 w 6"/>
                <a:gd name="T45" fmla="*/ 2 h 5"/>
                <a:gd name="T46" fmla="*/ 4 w 6"/>
                <a:gd name="T47" fmla="*/ 2 h 5"/>
                <a:gd name="T48" fmla="*/ 4 w 6"/>
                <a:gd name="T49" fmla="*/ 1 h 5"/>
                <a:gd name="T50" fmla="*/ 5 w 6"/>
                <a:gd name="T51" fmla="*/ 0 h 5"/>
                <a:gd name="T52" fmla="*/ 6 w 6"/>
                <a:gd name="T53" fmla="*/ 1 h 5"/>
                <a:gd name="T54" fmla="*/ 5 w 6"/>
                <a:gd name="T55" fmla="*/ 2 h 5"/>
                <a:gd name="T56" fmla="*/ 4 w 6"/>
                <a:gd name="T57" fmla="*/ 2 h 5"/>
                <a:gd name="T58" fmla="*/ 5 w 6"/>
                <a:gd name="T59" fmla="*/ 3 h 5"/>
                <a:gd name="T60" fmla="*/ 4 w 6"/>
                <a:gd name="T61" fmla="*/ 3 h 5"/>
                <a:gd name="T62" fmla="*/ 4 w 6"/>
                <a:gd name="T63" fmla="*/ 4 h 5"/>
                <a:gd name="T64" fmla="*/ 4 w 6"/>
                <a:gd name="T65" fmla="*/ 4 h 5"/>
                <a:gd name="T66" fmla="*/ 4 w 6"/>
                <a:gd name="T67" fmla="*/ 4 h 5"/>
                <a:gd name="T68" fmla="*/ 3 w 6"/>
                <a:gd name="T69" fmla="*/ 5 h 5"/>
                <a:gd name="T70" fmla="*/ 3 w 6"/>
                <a:gd name="T71" fmla="*/ 4 h 5"/>
                <a:gd name="T72" fmla="*/ 2 w 6"/>
                <a:gd name="T73" fmla="*/ 5 h 5"/>
                <a:gd name="T74" fmla="*/ 3 w 6"/>
                <a:gd name="T75" fmla="*/ 4 h 5"/>
                <a:gd name="T76" fmla="*/ 2 w 6"/>
                <a:gd name="T7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6" name="Freeform 32"/>
            <p:cNvSpPr>
              <a:spLocks noEditPoints="1"/>
            </p:cNvSpPr>
            <p:nvPr/>
          </p:nvSpPr>
          <p:spPr bwMode="auto">
            <a:xfrm>
              <a:off x="5964103" y="3298766"/>
              <a:ext cx="125312" cy="192896"/>
            </a:xfrm>
            <a:custGeom>
              <a:avLst/>
              <a:gdLst>
                <a:gd name="T0" fmla="*/ 4 w 96"/>
                <a:gd name="T1" fmla="*/ 133 h 140"/>
                <a:gd name="T2" fmla="*/ 4 w 96"/>
                <a:gd name="T3" fmla="*/ 137 h 140"/>
                <a:gd name="T4" fmla="*/ 4 w 96"/>
                <a:gd name="T5" fmla="*/ 138 h 140"/>
                <a:gd name="T6" fmla="*/ 2 w 96"/>
                <a:gd name="T7" fmla="*/ 135 h 140"/>
                <a:gd name="T8" fmla="*/ 13 w 96"/>
                <a:gd name="T9" fmla="*/ 106 h 140"/>
                <a:gd name="T10" fmla="*/ 21 w 96"/>
                <a:gd name="T11" fmla="*/ 94 h 140"/>
                <a:gd name="T12" fmla="*/ 14 w 96"/>
                <a:gd name="T13" fmla="*/ 95 h 140"/>
                <a:gd name="T14" fmla="*/ 33 w 96"/>
                <a:gd name="T15" fmla="*/ 83 h 140"/>
                <a:gd name="T16" fmla="*/ 47 w 96"/>
                <a:gd name="T17" fmla="*/ 135 h 140"/>
                <a:gd name="T18" fmla="*/ 44 w 96"/>
                <a:gd name="T19" fmla="*/ 136 h 140"/>
                <a:gd name="T20" fmla="*/ 41 w 96"/>
                <a:gd name="T21" fmla="*/ 136 h 140"/>
                <a:gd name="T22" fmla="*/ 38 w 96"/>
                <a:gd name="T23" fmla="*/ 138 h 140"/>
                <a:gd name="T24" fmla="*/ 36 w 96"/>
                <a:gd name="T25" fmla="*/ 138 h 140"/>
                <a:gd name="T26" fmla="*/ 31 w 96"/>
                <a:gd name="T27" fmla="*/ 138 h 140"/>
                <a:gd name="T28" fmla="*/ 30 w 96"/>
                <a:gd name="T29" fmla="*/ 139 h 140"/>
                <a:gd name="T30" fmla="*/ 28 w 96"/>
                <a:gd name="T31" fmla="*/ 138 h 140"/>
                <a:gd name="T32" fmla="*/ 28 w 96"/>
                <a:gd name="T33" fmla="*/ 137 h 140"/>
                <a:gd name="T34" fmla="*/ 24 w 96"/>
                <a:gd name="T35" fmla="*/ 135 h 140"/>
                <a:gd name="T36" fmla="*/ 19 w 96"/>
                <a:gd name="T37" fmla="*/ 131 h 140"/>
                <a:gd name="T38" fmla="*/ 14 w 96"/>
                <a:gd name="T39" fmla="*/ 129 h 140"/>
                <a:gd name="T40" fmla="*/ 14 w 96"/>
                <a:gd name="T41" fmla="*/ 126 h 140"/>
                <a:gd name="T42" fmla="*/ 15 w 96"/>
                <a:gd name="T43" fmla="*/ 124 h 140"/>
                <a:gd name="T44" fmla="*/ 16 w 96"/>
                <a:gd name="T45" fmla="*/ 121 h 140"/>
                <a:gd name="T46" fmla="*/ 17 w 96"/>
                <a:gd name="T47" fmla="*/ 118 h 140"/>
                <a:gd name="T48" fmla="*/ 16 w 96"/>
                <a:gd name="T49" fmla="*/ 114 h 140"/>
                <a:gd name="T50" fmla="*/ 14 w 96"/>
                <a:gd name="T51" fmla="*/ 111 h 140"/>
                <a:gd name="T52" fmla="*/ 14 w 96"/>
                <a:gd name="T53" fmla="*/ 106 h 140"/>
                <a:gd name="T54" fmla="*/ 13 w 96"/>
                <a:gd name="T55" fmla="*/ 101 h 140"/>
                <a:gd name="T56" fmla="*/ 15 w 96"/>
                <a:gd name="T57" fmla="*/ 98 h 140"/>
                <a:gd name="T58" fmla="*/ 16 w 96"/>
                <a:gd name="T59" fmla="*/ 95 h 140"/>
                <a:gd name="T60" fmla="*/ 20 w 96"/>
                <a:gd name="T61" fmla="*/ 95 h 140"/>
                <a:gd name="T62" fmla="*/ 23 w 96"/>
                <a:gd name="T63" fmla="*/ 92 h 140"/>
                <a:gd name="T64" fmla="*/ 26 w 96"/>
                <a:gd name="T65" fmla="*/ 88 h 140"/>
                <a:gd name="T66" fmla="*/ 26 w 96"/>
                <a:gd name="T67" fmla="*/ 87 h 140"/>
                <a:gd name="T68" fmla="*/ 29 w 96"/>
                <a:gd name="T69" fmla="*/ 87 h 140"/>
                <a:gd name="T70" fmla="*/ 33 w 96"/>
                <a:gd name="T71" fmla="*/ 83 h 140"/>
                <a:gd name="T72" fmla="*/ 37 w 96"/>
                <a:gd name="T73" fmla="*/ 77 h 140"/>
                <a:gd name="T74" fmla="*/ 46 w 96"/>
                <a:gd name="T75" fmla="*/ 73 h 140"/>
                <a:gd name="T76" fmla="*/ 54 w 96"/>
                <a:gd name="T77" fmla="*/ 74 h 140"/>
                <a:gd name="T78" fmla="*/ 46 w 96"/>
                <a:gd name="T79" fmla="*/ 68 h 140"/>
                <a:gd name="T80" fmla="*/ 45 w 96"/>
                <a:gd name="T81" fmla="*/ 63 h 140"/>
                <a:gd name="T82" fmla="*/ 41 w 96"/>
                <a:gd name="T83" fmla="*/ 59 h 140"/>
                <a:gd name="T84" fmla="*/ 38 w 96"/>
                <a:gd name="T85" fmla="*/ 61 h 140"/>
                <a:gd name="T86" fmla="*/ 33 w 96"/>
                <a:gd name="T87" fmla="*/ 51 h 140"/>
                <a:gd name="T88" fmla="*/ 33 w 96"/>
                <a:gd name="T89" fmla="*/ 37 h 140"/>
                <a:gd name="T90" fmla="*/ 29 w 96"/>
                <a:gd name="T91" fmla="*/ 26 h 140"/>
                <a:gd name="T92" fmla="*/ 14 w 96"/>
                <a:gd name="T93" fmla="*/ 18 h 140"/>
                <a:gd name="T94" fmla="*/ 28 w 96"/>
                <a:gd name="T95" fmla="*/ 19 h 140"/>
                <a:gd name="T96" fmla="*/ 48 w 96"/>
                <a:gd name="T97" fmla="*/ 17 h 140"/>
                <a:gd name="T98" fmla="*/ 55 w 96"/>
                <a:gd name="T99" fmla="*/ 3 h 140"/>
                <a:gd name="T100" fmla="*/ 71 w 96"/>
                <a:gd name="T101" fmla="*/ 3 h 140"/>
                <a:gd name="T102" fmla="*/ 81 w 96"/>
                <a:gd name="T103" fmla="*/ 39 h 140"/>
                <a:gd name="T104" fmla="*/ 81 w 96"/>
                <a:gd name="T105" fmla="*/ 62 h 140"/>
                <a:gd name="T106" fmla="*/ 84 w 96"/>
                <a:gd name="T107" fmla="*/ 79 h 140"/>
                <a:gd name="T108" fmla="*/ 93 w 96"/>
                <a:gd name="T109" fmla="*/ 95 h 140"/>
                <a:gd name="T110" fmla="*/ 85 w 96"/>
                <a:gd name="T111" fmla="*/ 113 h 140"/>
                <a:gd name="T112" fmla="*/ 67 w 96"/>
                <a:gd name="T113" fmla="*/ 129 h 140"/>
                <a:gd name="T114" fmla="*/ 62 w 96"/>
                <a:gd name="T115" fmla="*/ 131 h 140"/>
                <a:gd name="T116" fmla="*/ 59 w 96"/>
                <a:gd name="T117" fmla="*/ 132 h 140"/>
                <a:gd name="T118" fmla="*/ 56 w 96"/>
                <a:gd name="T119" fmla="*/ 133 h 140"/>
                <a:gd name="T120" fmla="*/ 53 w 96"/>
                <a:gd name="T121" fmla="*/ 132 h 140"/>
                <a:gd name="T122" fmla="*/ 50 w 96"/>
                <a:gd name="T123" fmla="*/ 13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40">
                  <a:moveTo>
                    <a:pt x="11" y="139"/>
                  </a:move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close/>
                  <a:moveTo>
                    <a:pt x="14" y="138"/>
                  </a:moveTo>
                  <a:lnTo>
                    <a:pt x="14" y="138"/>
                  </a:lnTo>
                  <a:lnTo>
                    <a:pt x="14" y="138"/>
                  </a:lnTo>
                  <a:close/>
                  <a:moveTo>
                    <a:pt x="2" y="132"/>
                  </a:move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6" y="134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4"/>
                  </a:lnTo>
                  <a:lnTo>
                    <a:pt x="4" y="133"/>
                  </a:lnTo>
                  <a:lnTo>
                    <a:pt x="4" y="134"/>
                  </a:lnTo>
                  <a:lnTo>
                    <a:pt x="3" y="134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7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4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4"/>
                  </a:lnTo>
                  <a:lnTo>
                    <a:pt x="0" y="134"/>
                  </a:lnTo>
                  <a:lnTo>
                    <a:pt x="0" y="133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2"/>
                  </a:lnTo>
                  <a:close/>
                  <a:moveTo>
                    <a:pt x="66" y="132"/>
                  </a:moveTo>
                  <a:lnTo>
                    <a:pt x="66" y="131"/>
                  </a:lnTo>
                  <a:lnTo>
                    <a:pt x="66" y="132"/>
                  </a:lnTo>
                  <a:close/>
                  <a:moveTo>
                    <a:pt x="13" y="127"/>
                  </a:moveTo>
                  <a:lnTo>
                    <a:pt x="13" y="127"/>
                  </a:lnTo>
                  <a:lnTo>
                    <a:pt x="13" y="127"/>
                  </a:lnTo>
                  <a:close/>
                  <a:moveTo>
                    <a:pt x="13" y="106"/>
                  </a:moveTo>
                  <a:lnTo>
                    <a:pt x="13" y="105"/>
                  </a:lnTo>
                  <a:lnTo>
                    <a:pt x="13" y="106"/>
                  </a:lnTo>
                  <a:close/>
                  <a:moveTo>
                    <a:pt x="22" y="94"/>
                  </a:moveTo>
                  <a:lnTo>
                    <a:pt x="21" y="94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19" y="94"/>
                  </a:lnTo>
                  <a:lnTo>
                    <a:pt x="19" y="95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19" y="94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2" y="94"/>
                  </a:lnTo>
                  <a:lnTo>
                    <a:pt x="22" y="94"/>
                  </a:lnTo>
                  <a:close/>
                  <a:moveTo>
                    <a:pt x="13" y="95"/>
                  </a:move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5" y="94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3" y="96"/>
                  </a:lnTo>
                  <a:lnTo>
                    <a:pt x="13" y="95"/>
                  </a:lnTo>
                  <a:close/>
                  <a:moveTo>
                    <a:pt x="33" y="82"/>
                  </a:move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2"/>
                  </a:lnTo>
                  <a:lnTo>
                    <a:pt x="33" y="82"/>
                  </a:lnTo>
                  <a:close/>
                  <a:moveTo>
                    <a:pt x="37" y="60"/>
                  </a:move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0"/>
                  </a:lnTo>
                  <a:close/>
                  <a:moveTo>
                    <a:pt x="33" y="54"/>
                  </a:moveTo>
                  <a:lnTo>
                    <a:pt x="34" y="54"/>
                  </a:lnTo>
                  <a:lnTo>
                    <a:pt x="34" y="55"/>
                  </a:lnTo>
                  <a:lnTo>
                    <a:pt x="33" y="55"/>
                  </a:lnTo>
                  <a:lnTo>
                    <a:pt x="33" y="54"/>
                  </a:lnTo>
                  <a:close/>
                  <a:moveTo>
                    <a:pt x="34" y="55"/>
                  </a:moveTo>
                  <a:lnTo>
                    <a:pt x="33" y="55"/>
                  </a:lnTo>
                  <a:lnTo>
                    <a:pt x="34" y="55"/>
                  </a:lnTo>
                  <a:close/>
                  <a:moveTo>
                    <a:pt x="33" y="52"/>
                  </a:move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close/>
                  <a:moveTo>
                    <a:pt x="48" y="133"/>
                  </a:move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8" y="13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8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6" y="135"/>
                  </a:lnTo>
                  <a:lnTo>
                    <a:pt x="45" y="135"/>
                  </a:lnTo>
                  <a:lnTo>
                    <a:pt x="45" y="134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3" y="135"/>
                  </a:lnTo>
                  <a:lnTo>
                    <a:pt x="44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2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0" y="135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0" y="137"/>
                  </a:lnTo>
                  <a:lnTo>
                    <a:pt x="41" y="137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40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40" y="137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7" y="138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1" y="139"/>
                  </a:lnTo>
                  <a:lnTo>
                    <a:pt x="30" y="139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1" y="139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9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7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0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40"/>
                  </a:lnTo>
                  <a:lnTo>
                    <a:pt x="30" y="140"/>
                  </a:lnTo>
                  <a:lnTo>
                    <a:pt x="29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7" y="140"/>
                  </a:lnTo>
                  <a:lnTo>
                    <a:pt x="28" y="140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6" y="139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30" y="137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7" y="136"/>
                  </a:lnTo>
                  <a:lnTo>
                    <a:pt x="26" y="136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7" y="134"/>
                  </a:lnTo>
                  <a:lnTo>
                    <a:pt x="28" y="134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7" y="133"/>
                  </a:lnTo>
                  <a:lnTo>
                    <a:pt x="26" y="133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3" y="135"/>
                  </a:lnTo>
                  <a:lnTo>
                    <a:pt x="24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5" y="134"/>
                  </a:lnTo>
                  <a:lnTo>
                    <a:pt x="24" y="134"/>
                  </a:lnTo>
                  <a:lnTo>
                    <a:pt x="23" y="134"/>
                  </a:lnTo>
                  <a:lnTo>
                    <a:pt x="23" y="135"/>
                  </a:lnTo>
                  <a:lnTo>
                    <a:pt x="23" y="134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5" y="133"/>
                  </a:lnTo>
                  <a:lnTo>
                    <a:pt x="25" y="132"/>
                  </a:lnTo>
                  <a:lnTo>
                    <a:pt x="25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2" y="132"/>
                  </a:lnTo>
                  <a:lnTo>
                    <a:pt x="22" y="133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20" y="132"/>
                  </a:lnTo>
                  <a:lnTo>
                    <a:pt x="19" y="132"/>
                  </a:lnTo>
                  <a:lnTo>
                    <a:pt x="20" y="132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2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0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0"/>
                  </a:lnTo>
                  <a:lnTo>
                    <a:pt x="17" y="130"/>
                  </a:lnTo>
                  <a:lnTo>
                    <a:pt x="17" y="129"/>
                  </a:lnTo>
                  <a:lnTo>
                    <a:pt x="17" y="130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6" y="119"/>
                  </a:lnTo>
                  <a:lnTo>
                    <a:pt x="15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6" y="117"/>
                  </a:lnTo>
                  <a:lnTo>
                    <a:pt x="15" y="117"/>
                  </a:lnTo>
                  <a:lnTo>
                    <a:pt x="15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9"/>
                  </a:lnTo>
                  <a:lnTo>
                    <a:pt x="19" y="119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9" y="120"/>
                  </a:lnTo>
                  <a:lnTo>
                    <a:pt x="19" y="119"/>
                  </a:lnTo>
                  <a:lnTo>
                    <a:pt x="18" y="119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5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7" y="115"/>
                  </a:lnTo>
                  <a:lnTo>
                    <a:pt x="17" y="116"/>
                  </a:lnTo>
                  <a:lnTo>
                    <a:pt x="17" y="115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08"/>
                  </a:lnTo>
                  <a:lnTo>
                    <a:pt x="15" y="107"/>
                  </a:lnTo>
                  <a:lnTo>
                    <a:pt x="15" y="108"/>
                  </a:lnTo>
                  <a:lnTo>
                    <a:pt x="14" y="108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3"/>
                  </a:lnTo>
                  <a:lnTo>
                    <a:pt x="14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2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4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6" y="98"/>
                  </a:lnTo>
                  <a:lnTo>
                    <a:pt x="16" y="97"/>
                  </a:lnTo>
                  <a:lnTo>
                    <a:pt x="16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6" y="97"/>
                  </a:lnTo>
                  <a:lnTo>
                    <a:pt x="16" y="96"/>
                  </a:lnTo>
                  <a:lnTo>
                    <a:pt x="17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3" y="92"/>
                  </a:lnTo>
                  <a:lnTo>
                    <a:pt x="22" y="92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0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1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4" y="82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7" y="79"/>
                  </a:lnTo>
                  <a:lnTo>
                    <a:pt x="38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8" y="77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1" y="73"/>
                  </a:lnTo>
                  <a:lnTo>
                    <a:pt x="41" y="74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2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2"/>
                  </a:lnTo>
                  <a:lnTo>
                    <a:pt x="47" y="73"/>
                  </a:lnTo>
                  <a:lnTo>
                    <a:pt x="46" y="73"/>
                  </a:lnTo>
                  <a:lnTo>
                    <a:pt x="46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1"/>
                  </a:lnTo>
                  <a:lnTo>
                    <a:pt x="46" y="71"/>
                  </a:lnTo>
                  <a:lnTo>
                    <a:pt x="46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8" y="72"/>
                  </a:lnTo>
                  <a:lnTo>
                    <a:pt x="47" y="72"/>
                  </a:lnTo>
                  <a:lnTo>
                    <a:pt x="47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50" y="72"/>
                  </a:lnTo>
                  <a:lnTo>
                    <a:pt x="50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4"/>
                  </a:lnTo>
                  <a:lnTo>
                    <a:pt x="52" y="74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3" y="73"/>
                  </a:lnTo>
                  <a:lnTo>
                    <a:pt x="54" y="73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3"/>
                  </a:lnTo>
                  <a:lnTo>
                    <a:pt x="53" y="73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2" y="74"/>
                  </a:lnTo>
                  <a:lnTo>
                    <a:pt x="51" y="74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0" y="73"/>
                  </a:lnTo>
                  <a:lnTo>
                    <a:pt x="50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2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6" y="70"/>
                  </a:lnTo>
                  <a:lnTo>
                    <a:pt x="46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6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6" y="69"/>
                  </a:lnTo>
                  <a:lnTo>
                    <a:pt x="46" y="68"/>
                  </a:lnTo>
                  <a:lnTo>
                    <a:pt x="45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6" y="67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0" y="62"/>
                  </a:lnTo>
                  <a:lnTo>
                    <a:pt x="41" y="62"/>
                  </a:lnTo>
                  <a:lnTo>
                    <a:pt x="41" y="61"/>
                  </a:lnTo>
                  <a:lnTo>
                    <a:pt x="40" y="61"/>
                  </a:lnTo>
                  <a:lnTo>
                    <a:pt x="40" y="62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60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5" y="56"/>
                  </a:lnTo>
                  <a:lnTo>
                    <a:pt x="35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4" y="51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5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5" y="46"/>
                  </a:lnTo>
                  <a:lnTo>
                    <a:pt x="35" y="45"/>
                  </a:lnTo>
                  <a:lnTo>
                    <a:pt x="34" y="45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2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2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18" y="13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8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6" y="20"/>
                  </a:lnTo>
                  <a:lnTo>
                    <a:pt x="28" y="19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0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9" y="17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9" y="15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8" y="1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5" y="5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76" y="11"/>
                  </a:lnTo>
                  <a:lnTo>
                    <a:pt x="74" y="12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4"/>
                  </a:lnTo>
                  <a:lnTo>
                    <a:pt x="75" y="15"/>
                  </a:lnTo>
                  <a:lnTo>
                    <a:pt x="74" y="15"/>
                  </a:lnTo>
                  <a:lnTo>
                    <a:pt x="72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9"/>
                  </a:lnTo>
                  <a:lnTo>
                    <a:pt x="73" y="20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3" y="26"/>
                  </a:lnTo>
                  <a:lnTo>
                    <a:pt x="73" y="27"/>
                  </a:lnTo>
                  <a:lnTo>
                    <a:pt x="78" y="29"/>
                  </a:lnTo>
                  <a:lnTo>
                    <a:pt x="81" y="32"/>
                  </a:lnTo>
                  <a:lnTo>
                    <a:pt x="84" y="34"/>
                  </a:lnTo>
                  <a:lnTo>
                    <a:pt x="84" y="35"/>
                  </a:lnTo>
                  <a:lnTo>
                    <a:pt x="83" y="36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9" y="41"/>
                  </a:lnTo>
                  <a:lnTo>
                    <a:pt x="77" y="43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5"/>
                  </a:lnTo>
                  <a:lnTo>
                    <a:pt x="76" y="46"/>
                  </a:lnTo>
                  <a:lnTo>
                    <a:pt x="77" y="46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8" y="47"/>
                  </a:lnTo>
                  <a:lnTo>
                    <a:pt x="78" y="48"/>
                  </a:lnTo>
                  <a:lnTo>
                    <a:pt x="79" y="49"/>
                  </a:lnTo>
                  <a:lnTo>
                    <a:pt x="79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1" y="52"/>
                  </a:lnTo>
                  <a:lnTo>
                    <a:pt x="81" y="53"/>
                  </a:lnTo>
                  <a:lnTo>
                    <a:pt x="81" y="54"/>
                  </a:lnTo>
                  <a:lnTo>
                    <a:pt x="82" y="54"/>
                  </a:lnTo>
                  <a:lnTo>
                    <a:pt x="83" y="55"/>
                  </a:lnTo>
                  <a:lnTo>
                    <a:pt x="83" y="56"/>
                  </a:lnTo>
                  <a:lnTo>
                    <a:pt x="84" y="57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9"/>
                  </a:lnTo>
                  <a:lnTo>
                    <a:pt x="85" y="60"/>
                  </a:lnTo>
                  <a:lnTo>
                    <a:pt x="85" y="61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4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70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1" y="70"/>
                  </a:lnTo>
                  <a:lnTo>
                    <a:pt x="81" y="71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4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3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5"/>
                  </a:lnTo>
                  <a:lnTo>
                    <a:pt x="85" y="76"/>
                  </a:lnTo>
                  <a:lnTo>
                    <a:pt x="84" y="76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8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7" y="81"/>
                  </a:lnTo>
                  <a:lnTo>
                    <a:pt x="86" y="81"/>
                  </a:lnTo>
                  <a:lnTo>
                    <a:pt x="87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5"/>
                  </a:lnTo>
                  <a:lnTo>
                    <a:pt x="87" y="85"/>
                  </a:lnTo>
                  <a:lnTo>
                    <a:pt x="86" y="85"/>
                  </a:lnTo>
                  <a:lnTo>
                    <a:pt x="86" y="86"/>
                  </a:lnTo>
                  <a:lnTo>
                    <a:pt x="86" y="87"/>
                  </a:lnTo>
                  <a:lnTo>
                    <a:pt x="85" y="87"/>
                  </a:lnTo>
                  <a:lnTo>
                    <a:pt x="84" y="88"/>
                  </a:lnTo>
                  <a:lnTo>
                    <a:pt x="84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6" y="90"/>
                  </a:lnTo>
                  <a:lnTo>
                    <a:pt x="86" y="91"/>
                  </a:lnTo>
                  <a:lnTo>
                    <a:pt x="87" y="91"/>
                  </a:lnTo>
                  <a:lnTo>
                    <a:pt x="88" y="92"/>
                  </a:lnTo>
                  <a:lnTo>
                    <a:pt x="89" y="92"/>
                  </a:lnTo>
                  <a:lnTo>
                    <a:pt x="89" y="92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4"/>
                  </a:lnTo>
                  <a:lnTo>
                    <a:pt x="91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4" y="95"/>
                  </a:lnTo>
                  <a:lnTo>
                    <a:pt x="94" y="96"/>
                  </a:lnTo>
                  <a:lnTo>
                    <a:pt x="94" y="96"/>
                  </a:lnTo>
                  <a:lnTo>
                    <a:pt x="94" y="97"/>
                  </a:lnTo>
                  <a:lnTo>
                    <a:pt x="95" y="97"/>
                  </a:lnTo>
                  <a:lnTo>
                    <a:pt x="95" y="98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99"/>
                  </a:lnTo>
                  <a:lnTo>
                    <a:pt x="96" y="100"/>
                  </a:lnTo>
                  <a:lnTo>
                    <a:pt x="96" y="101"/>
                  </a:lnTo>
                  <a:lnTo>
                    <a:pt x="95" y="101"/>
                  </a:lnTo>
                  <a:lnTo>
                    <a:pt x="95" y="102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4" y="105"/>
                  </a:lnTo>
                  <a:lnTo>
                    <a:pt x="93" y="105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1" y="107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10"/>
                  </a:lnTo>
                  <a:lnTo>
                    <a:pt x="88" y="110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6" y="111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6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83" y="116"/>
                  </a:lnTo>
                  <a:lnTo>
                    <a:pt x="82" y="116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1" y="117"/>
                  </a:lnTo>
                  <a:lnTo>
                    <a:pt x="81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9" y="120"/>
                  </a:lnTo>
                  <a:lnTo>
                    <a:pt x="78" y="120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7" y="121"/>
                  </a:lnTo>
                  <a:lnTo>
                    <a:pt x="77" y="122"/>
                  </a:lnTo>
                  <a:lnTo>
                    <a:pt x="76" y="122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5" y="123"/>
                  </a:lnTo>
                  <a:lnTo>
                    <a:pt x="74" y="123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3" y="124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2" y="125"/>
                  </a:lnTo>
                  <a:lnTo>
                    <a:pt x="71" y="125"/>
                  </a:lnTo>
                  <a:lnTo>
                    <a:pt x="71" y="126"/>
                  </a:lnTo>
                  <a:lnTo>
                    <a:pt x="70" y="127"/>
                  </a:lnTo>
                  <a:lnTo>
                    <a:pt x="70" y="127"/>
                  </a:lnTo>
                  <a:lnTo>
                    <a:pt x="70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8" y="128"/>
                  </a:lnTo>
                  <a:lnTo>
                    <a:pt x="67" y="129"/>
                  </a:lnTo>
                  <a:lnTo>
                    <a:pt x="67" y="130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2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3" y="131"/>
                  </a:lnTo>
                  <a:lnTo>
                    <a:pt x="63" y="132"/>
                  </a:lnTo>
                  <a:lnTo>
                    <a:pt x="64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60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5" y="132"/>
                  </a:lnTo>
                  <a:lnTo>
                    <a:pt x="55" y="131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4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3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2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3"/>
                  </a:lnTo>
                  <a:lnTo>
                    <a:pt x="49" y="133"/>
                  </a:lnTo>
                  <a:lnTo>
                    <a:pt x="50" y="133"/>
                  </a:lnTo>
                  <a:lnTo>
                    <a:pt x="50" y="134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5"/>
                  </a:lnTo>
                  <a:lnTo>
                    <a:pt x="49" y="134"/>
                  </a:lnTo>
                  <a:lnTo>
                    <a:pt x="49" y="135"/>
                  </a:lnTo>
                  <a:lnTo>
                    <a:pt x="50" y="135"/>
                  </a:lnTo>
                  <a:lnTo>
                    <a:pt x="49" y="135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2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7" name="Freeform 33"/>
            <p:cNvSpPr>
              <a:spLocks noEditPoints="1"/>
            </p:cNvSpPr>
            <p:nvPr/>
          </p:nvSpPr>
          <p:spPr bwMode="auto">
            <a:xfrm>
              <a:off x="5961492" y="3367658"/>
              <a:ext cx="86152" cy="124005"/>
            </a:xfrm>
            <a:custGeom>
              <a:avLst/>
              <a:gdLst>
                <a:gd name="T0" fmla="*/ 13 w 66"/>
                <a:gd name="T1" fmla="*/ 90 h 90"/>
                <a:gd name="T2" fmla="*/ 34 w 66"/>
                <a:gd name="T3" fmla="*/ 89 h 90"/>
                <a:gd name="T4" fmla="*/ 26 w 66"/>
                <a:gd name="T5" fmla="*/ 89 h 90"/>
                <a:gd name="T6" fmla="*/ 19 w 66"/>
                <a:gd name="T7" fmla="*/ 89 h 90"/>
                <a:gd name="T8" fmla="*/ 33 w 66"/>
                <a:gd name="T9" fmla="*/ 89 h 90"/>
                <a:gd name="T10" fmla="*/ 24 w 66"/>
                <a:gd name="T11" fmla="*/ 88 h 90"/>
                <a:gd name="T12" fmla="*/ 13 w 66"/>
                <a:gd name="T13" fmla="*/ 89 h 90"/>
                <a:gd name="T14" fmla="*/ 9 w 66"/>
                <a:gd name="T15" fmla="*/ 88 h 90"/>
                <a:gd name="T16" fmla="*/ 10 w 66"/>
                <a:gd name="T17" fmla="*/ 88 h 90"/>
                <a:gd name="T18" fmla="*/ 6 w 66"/>
                <a:gd name="T19" fmla="*/ 88 h 90"/>
                <a:gd name="T20" fmla="*/ 24 w 66"/>
                <a:gd name="T21" fmla="*/ 88 h 90"/>
                <a:gd name="T22" fmla="*/ 5 w 66"/>
                <a:gd name="T23" fmla="*/ 87 h 90"/>
                <a:gd name="T24" fmla="*/ 11 w 66"/>
                <a:gd name="T25" fmla="*/ 86 h 90"/>
                <a:gd name="T26" fmla="*/ 16 w 66"/>
                <a:gd name="T27" fmla="*/ 87 h 90"/>
                <a:gd name="T28" fmla="*/ 10 w 66"/>
                <a:gd name="T29" fmla="*/ 86 h 90"/>
                <a:gd name="T30" fmla="*/ 22 w 66"/>
                <a:gd name="T31" fmla="*/ 86 h 90"/>
                <a:gd name="T32" fmla="*/ 21 w 66"/>
                <a:gd name="T33" fmla="*/ 86 h 90"/>
                <a:gd name="T34" fmla="*/ 49 w 66"/>
                <a:gd name="T35" fmla="*/ 85 h 90"/>
                <a:gd name="T36" fmla="*/ 19 w 66"/>
                <a:gd name="T37" fmla="*/ 86 h 90"/>
                <a:gd name="T38" fmla="*/ 25 w 66"/>
                <a:gd name="T39" fmla="*/ 85 h 90"/>
                <a:gd name="T40" fmla="*/ 19 w 66"/>
                <a:gd name="T41" fmla="*/ 86 h 90"/>
                <a:gd name="T42" fmla="*/ 48 w 66"/>
                <a:gd name="T43" fmla="*/ 85 h 90"/>
                <a:gd name="T44" fmla="*/ 52 w 66"/>
                <a:gd name="T45" fmla="*/ 85 h 90"/>
                <a:gd name="T46" fmla="*/ 12 w 66"/>
                <a:gd name="T47" fmla="*/ 85 h 90"/>
                <a:gd name="T48" fmla="*/ 17 w 66"/>
                <a:gd name="T49" fmla="*/ 84 h 90"/>
                <a:gd name="T50" fmla="*/ 9 w 66"/>
                <a:gd name="T51" fmla="*/ 85 h 90"/>
                <a:gd name="T52" fmla="*/ 19 w 66"/>
                <a:gd name="T53" fmla="*/ 83 h 90"/>
                <a:gd name="T54" fmla="*/ 3 w 66"/>
                <a:gd name="T55" fmla="*/ 84 h 90"/>
                <a:gd name="T56" fmla="*/ 51 w 66"/>
                <a:gd name="T57" fmla="*/ 85 h 90"/>
                <a:gd name="T58" fmla="*/ 21 w 66"/>
                <a:gd name="T59" fmla="*/ 83 h 90"/>
                <a:gd name="T60" fmla="*/ 4 w 66"/>
                <a:gd name="T61" fmla="*/ 83 h 90"/>
                <a:gd name="T62" fmla="*/ 53 w 66"/>
                <a:gd name="T63" fmla="*/ 83 h 90"/>
                <a:gd name="T64" fmla="*/ 15 w 66"/>
                <a:gd name="T65" fmla="*/ 83 h 90"/>
                <a:gd name="T66" fmla="*/ 24 w 66"/>
                <a:gd name="T67" fmla="*/ 84 h 90"/>
                <a:gd name="T68" fmla="*/ 15 w 66"/>
                <a:gd name="T69" fmla="*/ 82 h 90"/>
                <a:gd name="T70" fmla="*/ 3 w 66"/>
                <a:gd name="T71" fmla="*/ 83 h 90"/>
                <a:gd name="T72" fmla="*/ 18 w 66"/>
                <a:gd name="T73" fmla="*/ 82 h 90"/>
                <a:gd name="T74" fmla="*/ 64 w 66"/>
                <a:gd name="T75" fmla="*/ 82 h 90"/>
                <a:gd name="T76" fmla="*/ 15 w 66"/>
                <a:gd name="T77" fmla="*/ 82 h 90"/>
                <a:gd name="T78" fmla="*/ 19 w 66"/>
                <a:gd name="T79" fmla="*/ 82 h 90"/>
                <a:gd name="T80" fmla="*/ 60 w 66"/>
                <a:gd name="T81" fmla="*/ 82 h 90"/>
                <a:gd name="T82" fmla="*/ 13 w 66"/>
                <a:gd name="T83" fmla="*/ 82 h 90"/>
                <a:gd name="T84" fmla="*/ 17 w 66"/>
                <a:gd name="T85" fmla="*/ 81 h 90"/>
                <a:gd name="T86" fmla="*/ 13 w 66"/>
                <a:gd name="T87" fmla="*/ 81 h 90"/>
                <a:gd name="T88" fmla="*/ 20 w 66"/>
                <a:gd name="T89" fmla="*/ 80 h 90"/>
                <a:gd name="T90" fmla="*/ 17 w 66"/>
                <a:gd name="T91" fmla="*/ 81 h 90"/>
                <a:gd name="T92" fmla="*/ 16 w 66"/>
                <a:gd name="T93" fmla="*/ 77 h 90"/>
                <a:gd name="T94" fmla="*/ 16 w 66"/>
                <a:gd name="T95" fmla="*/ 77 h 90"/>
                <a:gd name="T96" fmla="*/ 17 w 66"/>
                <a:gd name="T97" fmla="*/ 70 h 90"/>
                <a:gd name="T98" fmla="*/ 17 w 66"/>
                <a:gd name="T99" fmla="*/ 67 h 90"/>
                <a:gd name="T100" fmla="*/ 15 w 66"/>
                <a:gd name="T101" fmla="*/ 56 h 90"/>
                <a:gd name="T102" fmla="*/ 16 w 66"/>
                <a:gd name="T103" fmla="*/ 49 h 90"/>
                <a:gd name="T104" fmla="*/ 15 w 66"/>
                <a:gd name="T105" fmla="*/ 49 h 90"/>
                <a:gd name="T106" fmla="*/ 12 w 66"/>
                <a:gd name="T107" fmla="*/ 47 h 90"/>
                <a:gd name="T108" fmla="*/ 20 w 66"/>
                <a:gd name="T109" fmla="*/ 44 h 90"/>
                <a:gd name="T110" fmla="*/ 15 w 66"/>
                <a:gd name="T111" fmla="*/ 44 h 90"/>
                <a:gd name="T112" fmla="*/ 20 w 66"/>
                <a:gd name="T113" fmla="*/ 42 h 90"/>
                <a:gd name="T114" fmla="*/ 24 w 66"/>
                <a:gd name="T115" fmla="*/ 39 h 90"/>
                <a:gd name="T116" fmla="*/ 27 w 66"/>
                <a:gd name="T117" fmla="*/ 37 h 90"/>
                <a:gd name="T118" fmla="*/ 34 w 66"/>
                <a:gd name="T119" fmla="*/ 34 h 90"/>
                <a:gd name="T120" fmla="*/ 45 w 66"/>
                <a:gd name="T121" fmla="*/ 20 h 90"/>
                <a:gd name="T122" fmla="*/ 42 w 66"/>
                <a:gd name="T123" fmla="*/ 12 h 90"/>
                <a:gd name="T124" fmla="*/ 35 w 66"/>
                <a:gd name="T125" fmla="*/ 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90"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6" y="90"/>
                  </a:moveTo>
                  <a:lnTo>
                    <a:pt x="17" y="90"/>
                  </a:lnTo>
                  <a:lnTo>
                    <a:pt x="16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31" y="90"/>
                  </a:moveTo>
                  <a:lnTo>
                    <a:pt x="32" y="90"/>
                  </a:lnTo>
                  <a:lnTo>
                    <a:pt x="31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5" y="90"/>
                  </a:moveTo>
                  <a:lnTo>
                    <a:pt x="5" y="90"/>
                  </a:lnTo>
                  <a:lnTo>
                    <a:pt x="5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28" y="90"/>
                  </a:moveTo>
                  <a:lnTo>
                    <a:pt x="28" y="89"/>
                  </a:lnTo>
                  <a:lnTo>
                    <a:pt x="28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34" y="89"/>
                  </a:moveTo>
                  <a:lnTo>
                    <a:pt x="34" y="90"/>
                  </a:lnTo>
                  <a:lnTo>
                    <a:pt x="34" y="89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29" y="89"/>
                  </a:moveTo>
                  <a:lnTo>
                    <a:pt x="28" y="89"/>
                  </a:lnTo>
                  <a:lnTo>
                    <a:pt x="28" y="89"/>
                  </a:lnTo>
                  <a:lnTo>
                    <a:pt x="29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9" y="89"/>
                  </a:moveTo>
                  <a:lnTo>
                    <a:pt x="29" y="89"/>
                  </a:lnTo>
                  <a:lnTo>
                    <a:pt x="29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4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26" y="89"/>
                  </a:move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36" y="89"/>
                  </a:move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40" y="89"/>
                  </a:moveTo>
                  <a:lnTo>
                    <a:pt x="41" y="89"/>
                  </a:lnTo>
                  <a:lnTo>
                    <a:pt x="40" y="89"/>
                  </a:lnTo>
                  <a:close/>
                  <a:moveTo>
                    <a:pt x="8" y="89"/>
                  </a:moveTo>
                  <a:lnTo>
                    <a:pt x="7" y="89"/>
                  </a:lnTo>
                  <a:lnTo>
                    <a:pt x="7" y="88"/>
                  </a:lnTo>
                  <a:lnTo>
                    <a:pt x="8" y="88"/>
                  </a:lnTo>
                  <a:lnTo>
                    <a:pt x="8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10" y="89"/>
                  </a:moveTo>
                  <a:lnTo>
                    <a:pt x="10" y="88"/>
                  </a:lnTo>
                  <a:lnTo>
                    <a:pt x="10" y="89"/>
                  </a:lnTo>
                  <a:close/>
                  <a:moveTo>
                    <a:pt x="20" y="88"/>
                  </a:moveTo>
                  <a:lnTo>
                    <a:pt x="19" y="89"/>
                  </a:ln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21" y="88"/>
                  </a:moveTo>
                  <a:lnTo>
                    <a:pt x="21" y="89"/>
                  </a:lnTo>
                  <a:lnTo>
                    <a:pt x="21" y="88"/>
                  </a:lnTo>
                  <a:close/>
                  <a:moveTo>
                    <a:pt x="7" y="88"/>
                  </a:moveTo>
                  <a:lnTo>
                    <a:pt x="7" y="89"/>
                  </a:lnTo>
                  <a:lnTo>
                    <a:pt x="7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36" y="88"/>
                  </a:move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6" y="88"/>
                  </a:lnTo>
                  <a:lnTo>
                    <a:pt x="36" y="89"/>
                  </a:lnTo>
                  <a:lnTo>
                    <a:pt x="36" y="88"/>
                  </a:lnTo>
                  <a:close/>
                  <a:moveTo>
                    <a:pt x="14" y="88"/>
                  </a:moveTo>
                  <a:lnTo>
                    <a:pt x="15" y="88"/>
                  </a:lnTo>
                  <a:lnTo>
                    <a:pt x="14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37" y="88"/>
                  </a:moveTo>
                  <a:lnTo>
                    <a:pt x="38" y="88"/>
                  </a:lnTo>
                  <a:lnTo>
                    <a:pt x="37" y="88"/>
                  </a:lnTo>
                  <a:close/>
                  <a:moveTo>
                    <a:pt x="13" y="88"/>
                  </a:move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2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2" y="88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7" y="88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6" y="88"/>
                  </a:move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41" y="88"/>
                  </a:moveTo>
                  <a:lnTo>
                    <a:pt x="40" y="88"/>
                  </a:lnTo>
                  <a:lnTo>
                    <a:pt x="41" y="88"/>
                  </a:lnTo>
                  <a:lnTo>
                    <a:pt x="40" y="88"/>
                  </a:lnTo>
                  <a:lnTo>
                    <a:pt x="41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41" y="88"/>
                  </a:moveTo>
                  <a:lnTo>
                    <a:pt x="41" y="87"/>
                  </a:lnTo>
                  <a:lnTo>
                    <a:pt x="41" y="88"/>
                  </a:lnTo>
                  <a:close/>
                  <a:moveTo>
                    <a:pt x="24" y="88"/>
                  </a:moveTo>
                  <a:lnTo>
                    <a:pt x="24" y="87"/>
                  </a:lnTo>
                  <a:lnTo>
                    <a:pt x="24" y="88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7" y="87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0" y="88"/>
                  </a:moveTo>
                  <a:lnTo>
                    <a:pt x="10" y="87"/>
                  </a:lnTo>
                  <a:lnTo>
                    <a:pt x="10" y="88"/>
                  </a:lnTo>
                  <a:close/>
                  <a:moveTo>
                    <a:pt x="20" y="87"/>
                  </a:moveTo>
                  <a:lnTo>
                    <a:pt x="20" y="88"/>
                  </a:lnTo>
                  <a:lnTo>
                    <a:pt x="20" y="87"/>
                  </a:lnTo>
                  <a:lnTo>
                    <a:pt x="20" y="88"/>
                  </a:lnTo>
                  <a:lnTo>
                    <a:pt x="20" y="87"/>
                  </a:lnTo>
                  <a:close/>
                  <a:moveTo>
                    <a:pt x="30" y="87"/>
                  </a:moveTo>
                  <a:lnTo>
                    <a:pt x="30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30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7"/>
                  </a:ln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7"/>
                  </a:lnTo>
                  <a:close/>
                  <a:moveTo>
                    <a:pt x="29" y="87"/>
                  </a:moveTo>
                  <a:lnTo>
                    <a:pt x="28" y="87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9" y="87"/>
                  </a:lnTo>
                  <a:lnTo>
                    <a:pt x="9" y="86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1" y="86"/>
                  </a:moveTo>
                  <a:lnTo>
                    <a:pt x="12" y="86"/>
                  </a:lnTo>
                  <a:lnTo>
                    <a:pt x="12" y="87"/>
                  </a:lnTo>
                  <a:lnTo>
                    <a:pt x="11" y="87"/>
                  </a:lnTo>
                  <a:lnTo>
                    <a:pt x="11" y="86"/>
                  </a:lnTo>
                  <a:close/>
                  <a:moveTo>
                    <a:pt x="12" y="87"/>
                  </a:moveTo>
                  <a:lnTo>
                    <a:pt x="12" y="87"/>
                  </a:lnTo>
                  <a:lnTo>
                    <a:pt x="12" y="87"/>
                  </a:ln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28" y="86"/>
                  </a:moveTo>
                  <a:lnTo>
                    <a:pt x="28" y="87"/>
                  </a:lnTo>
                  <a:lnTo>
                    <a:pt x="28" y="86"/>
                  </a:lnTo>
                  <a:close/>
                  <a:moveTo>
                    <a:pt x="9" y="87"/>
                  </a:moveTo>
                  <a:lnTo>
                    <a:pt x="9" y="87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lnTo>
                    <a:pt x="17" y="86"/>
                  </a:lnTo>
                  <a:lnTo>
                    <a:pt x="17" y="87"/>
                  </a:ln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16" y="86"/>
                  </a:move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5" y="86"/>
                  </a:moveTo>
                  <a:lnTo>
                    <a:pt x="5" y="87"/>
                  </a:lnTo>
                  <a:lnTo>
                    <a:pt x="5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9" y="86"/>
                  </a:moveTo>
                  <a:lnTo>
                    <a:pt x="10" y="86"/>
                  </a:lnTo>
                  <a:lnTo>
                    <a:pt x="9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9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17" y="86"/>
                  </a:moveTo>
                  <a:lnTo>
                    <a:pt x="18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9" y="86"/>
                  </a:moveTo>
                  <a:lnTo>
                    <a:pt x="30" y="86"/>
                  </a:lnTo>
                  <a:lnTo>
                    <a:pt x="30" y="86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1" y="86"/>
                  </a:moveTo>
                  <a:lnTo>
                    <a:pt x="22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24" y="86"/>
                  </a:moveTo>
                  <a:lnTo>
                    <a:pt x="23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6"/>
                  </a:lnTo>
                  <a:lnTo>
                    <a:pt x="24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14" y="86"/>
                  </a:moveTo>
                  <a:lnTo>
                    <a:pt x="15" y="86"/>
                  </a:lnTo>
                  <a:lnTo>
                    <a:pt x="14" y="86"/>
                  </a:lnTo>
                  <a:lnTo>
                    <a:pt x="15" y="86"/>
                  </a:lnTo>
                  <a:lnTo>
                    <a:pt x="14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1" y="86"/>
                  </a:moveTo>
                  <a:lnTo>
                    <a:pt x="11" y="86"/>
                  </a:lnTo>
                  <a:lnTo>
                    <a:pt x="11" y="86"/>
                  </a:lnTo>
                  <a:lnTo>
                    <a:pt x="10" y="86"/>
                  </a:lnTo>
                  <a:lnTo>
                    <a:pt x="1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0" y="86"/>
                  </a:move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0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5"/>
                  </a:ln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45" y="85"/>
                  </a:move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close/>
                  <a:moveTo>
                    <a:pt x="2" y="86"/>
                  </a:moveTo>
                  <a:lnTo>
                    <a:pt x="2" y="85"/>
                  </a:lnTo>
                  <a:lnTo>
                    <a:pt x="2" y="86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49" y="85"/>
                  </a:moveTo>
                  <a:lnTo>
                    <a:pt x="49" y="86"/>
                  </a:lnTo>
                  <a:lnTo>
                    <a:pt x="49" y="85"/>
                  </a:lnTo>
                  <a:lnTo>
                    <a:pt x="49" y="86"/>
                  </a:lnTo>
                  <a:lnTo>
                    <a:pt x="49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close/>
                  <a:moveTo>
                    <a:pt x="9" y="85"/>
                  </a:move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24" y="85"/>
                  </a:move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4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3" y="85"/>
                  </a:moveTo>
                  <a:lnTo>
                    <a:pt x="3" y="86"/>
                  </a:lnTo>
                  <a:lnTo>
                    <a:pt x="3" y="85"/>
                  </a:lnTo>
                  <a:close/>
                  <a:moveTo>
                    <a:pt x="49" y="85"/>
                  </a:moveTo>
                  <a:lnTo>
                    <a:pt x="50" y="85"/>
                  </a:lnTo>
                  <a:lnTo>
                    <a:pt x="49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7" y="85"/>
                  </a:move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9" y="85"/>
                  </a:lnTo>
                  <a:lnTo>
                    <a:pt x="8" y="85"/>
                  </a:lnTo>
                  <a:close/>
                  <a:moveTo>
                    <a:pt x="11" y="85"/>
                  </a:moveTo>
                  <a:lnTo>
                    <a:pt x="12" y="85"/>
                  </a:lnTo>
                  <a:lnTo>
                    <a:pt x="11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9" y="85"/>
                  </a:moveTo>
                  <a:lnTo>
                    <a:pt x="20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4" y="85"/>
                  </a:moveTo>
                  <a:lnTo>
                    <a:pt x="25" y="85"/>
                  </a:lnTo>
                  <a:lnTo>
                    <a:pt x="24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20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47" y="85"/>
                  </a:moveTo>
                  <a:lnTo>
                    <a:pt x="48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53" y="85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3" y="85"/>
                  </a:moveTo>
                  <a:lnTo>
                    <a:pt x="14" y="85"/>
                  </a:lnTo>
                  <a:lnTo>
                    <a:pt x="13" y="85"/>
                  </a:lnTo>
                  <a:lnTo>
                    <a:pt x="14" y="85"/>
                  </a:lnTo>
                  <a:lnTo>
                    <a:pt x="13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6" y="85"/>
                  </a:moveTo>
                  <a:lnTo>
                    <a:pt x="25" y="85"/>
                  </a:lnTo>
                  <a:lnTo>
                    <a:pt x="26" y="85"/>
                  </a:lnTo>
                  <a:close/>
                  <a:moveTo>
                    <a:pt x="20" y="85"/>
                  </a:moveTo>
                  <a:lnTo>
                    <a:pt x="19" y="85"/>
                  </a:lnTo>
                  <a:lnTo>
                    <a:pt x="20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25" y="84"/>
                  </a:moveTo>
                  <a:lnTo>
                    <a:pt x="25" y="85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8" y="85"/>
                  </a:move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50" y="84"/>
                  </a:moveTo>
                  <a:lnTo>
                    <a:pt x="50" y="85"/>
                  </a:lnTo>
                  <a:lnTo>
                    <a:pt x="50" y="84"/>
                  </a:lnTo>
                  <a:close/>
                  <a:moveTo>
                    <a:pt x="25" y="84"/>
                  </a:moveTo>
                  <a:lnTo>
                    <a:pt x="25" y="84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3" y="85"/>
                  </a:moveTo>
                  <a:lnTo>
                    <a:pt x="13" y="84"/>
                  </a:lnTo>
                  <a:lnTo>
                    <a:pt x="13" y="85"/>
                  </a:lnTo>
                  <a:close/>
                  <a:moveTo>
                    <a:pt x="11" y="85"/>
                  </a:moveTo>
                  <a:lnTo>
                    <a:pt x="11" y="84"/>
                  </a:lnTo>
                  <a:lnTo>
                    <a:pt x="11" y="85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5"/>
                  </a:lnTo>
                  <a:lnTo>
                    <a:pt x="13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6" y="84"/>
                  </a:lnTo>
                  <a:lnTo>
                    <a:pt x="17" y="84"/>
                  </a:lnTo>
                  <a:close/>
                  <a:moveTo>
                    <a:pt x="54" y="84"/>
                  </a:moveTo>
                  <a:lnTo>
                    <a:pt x="53" y="84"/>
                  </a:lnTo>
                  <a:lnTo>
                    <a:pt x="54" y="84"/>
                  </a:lnTo>
                  <a:close/>
                  <a:moveTo>
                    <a:pt x="19" y="84"/>
                  </a:moveTo>
                  <a:lnTo>
                    <a:pt x="18" y="85"/>
                  </a:lnTo>
                  <a:lnTo>
                    <a:pt x="19" y="85"/>
                  </a:lnTo>
                  <a:lnTo>
                    <a:pt x="19" y="84"/>
                  </a:lnTo>
                  <a:lnTo>
                    <a:pt x="19" y="85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1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4"/>
                  </a:moveTo>
                  <a:lnTo>
                    <a:pt x="9" y="84"/>
                  </a:lnTo>
                  <a:lnTo>
                    <a:pt x="9" y="85"/>
                  </a:lnTo>
                  <a:lnTo>
                    <a:pt x="9" y="84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4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8" y="84"/>
                  </a:moveTo>
                  <a:lnTo>
                    <a:pt x="8" y="83"/>
                  </a:lnTo>
                  <a:lnTo>
                    <a:pt x="8" y="84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10" y="84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59" y="84"/>
                  </a:moveTo>
                  <a:lnTo>
                    <a:pt x="59" y="83"/>
                  </a:lnTo>
                  <a:lnTo>
                    <a:pt x="59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8" y="84"/>
                  </a:moveTo>
                  <a:lnTo>
                    <a:pt x="18" y="83"/>
                  </a:lnTo>
                  <a:lnTo>
                    <a:pt x="18" y="84"/>
                  </a:lnTo>
                  <a:lnTo>
                    <a:pt x="18" y="83"/>
                  </a:lnTo>
                  <a:lnTo>
                    <a:pt x="18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14" y="84"/>
                  </a:moveTo>
                  <a:lnTo>
                    <a:pt x="13" y="84"/>
                  </a:lnTo>
                  <a:lnTo>
                    <a:pt x="13" y="83"/>
                  </a:lnTo>
                  <a:lnTo>
                    <a:pt x="14" y="83"/>
                  </a:lnTo>
                  <a:lnTo>
                    <a:pt x="14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9" y="83"/>
                  </a:moveTo>
                  <a:lnTo>
                    <a:pt x="9" y="84"/>
                  </a:lnTo>
                  <a:lnTo>
                    <a:pt x="9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close/>
                  <a:moveTo>
                    <a:pt x="2" y="83"/>
                  </a:moveTo>
                  <a:lnTo>
                    <a:pt x="2" y="84"/>
                  </a:lnTo>
                  <a:lnTo>
                    <a:pt x="3" y="84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2" y="85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lnTo>
                    <a:pt x="50" y="84"/>
                  </a:lnTo>
                  <a:lnTo>
                    <a:pt x="51" y="84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0" y="84"/>
                  </a:lnTo>
                  <a:lnTo>
                    <a:pt x="50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30" y="83"/>
                  </a:moveTo>
                  <a:lnTo>
                    <a:pt x="30" y="83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30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22" y="83"/>
                  </a:moveTo>
                  <a:lnTo>
                    <a:pt x="22" y="83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55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8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4" y="83"/>
                  </a:moveTo>
                  <a:lnTo>
                    <a:pt x="15" y="83"/>
                  </a:lnTo>
                  <a:lnTo>
                    <a:pt x="14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60" y="83"/>
                  </a:moveTo>
                  <a:lnTo>
                    <a:pt x="60" y="83"/>
                  </a:lnTo>
                  <a:lnTo>
                    <a:pt x="60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25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5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59" y="83"/>
                  </a:moveTo>
                  <a:lnTo>
                    <a:pt x="58" y="83"/>
                  </a:lnTo>
                  <a:lnTo>
                    <a:pt x="59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26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6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7" y="83"/>
                  </a:moveTo>
                  <a:lnTo>
                    <a:pt x="17" y="82"/>
                  </a:lnTo>
                  <a:lnTo>
                    <a:pt x="17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23" y="82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5" y="83"/>
                  </a:moveTo>
                  <a:lnTo>
                    <a:pt x="65" y="82"/>
                  </a:lnTo>
                  <a:lnTo>
                    <a:pt x="65" y="83"/>
                  </a:lnTo>
                  <a:lnTo>
                    <a:pt x="65" y="82"/>
                  </a:lnTo>
                  <a:lnTo>
                    <a:pt x="65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5" y="82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3" y="82"/>
                  </a:moveTo>
                  <a:lnTo>
                    <a:pt x="4" y="82"/>
                  </a:lnTo>
                  <a:lnTo>
                    <a:pt x="4" y="83"/>
                  </a:lnTo>
                  <a:lnTo>
                    <a:pt x="3" y="83"/>
                  </a:lnTo>
                  <a:lnTo>
                    <a:pt x="3" y="82"/>
                  </a:lnTo>
                  <a:close/>
                  <a:moveTo>
                    <a:pt x="59" y="82"/>
                  </a:moveTo>
                  <a:lnTo>
                    <a:pt x="60" y="82"/>
                  </a:lnTo>
                  <a:lnTo>
                    <a:pt x="59" y="82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25" y="82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5" y="82"/>
                  </a:lnTo>
                  <a:lnTo>
                    <a:pt x="25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3" y="83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2"/>
                  </a:lnTo>
                  <a:close/>
                  <a:moveTo>
                    <a:pt x="12" y="82"/>
                  </a:moveTo>
                  <a:lnTo>
                    <a:pt x="12" y="83"/>
                  </a:lnTo>
                  <a:lnTo>
                    <a:pt x="12" y="82"/>
                  </a:lnTo>
                  <a:close/>
                  <a:moveTo>
                    <a:pt x="19" y="82"/>
                  </a:moveTo>
                  <a:lnTo>
                    <a:pt x="19" y="83"/>
                  </a:lnTo>
                  <a:lnTo>
                    <a:pt x="19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8" y="82"/>
                  </a:moveTo>
                  <a:lnTo>
                    <a:pt x="19" y="82"/>
                  </a:lnTo>
                  <a:lnTo>
                    <a:pt x="18" y="82"/>
                  </a:lnTo>
                  <a:lnTo>
                    <a:pt x="19" y="82"/>
                  </a:lnTo>
                  <a:lnTo>
                    <a:pt x="18" y="82"/>
                  </a:lnTo>
                  <a:close/>
                  <a:moveTo>
                    <a:pt x="62" y="82"/>
                  </a:moveTo>
                  <a:lnTo>
                    <a:pt x="61" y="82"/>
                  </a:lnTo>
                  <a:lnTo>
                    <a:pt x="62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lnTo>
                    <a:pt x="4" y="83"/>
                  </a:lnTo>
                  <a:lnTo>
                    <a:pt x="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23" y="82"/>
                  </a:moveTo>
                  <a:lnTo>
                    <a:pt x="24" y="82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6" y="82"/>
                  </a:ln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5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lnTo>
                    <a:pt x="22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58" y="82"/>
                  </a:moveTo>
                  <a:lnTo>
                    <a:pt x="59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1" y="82"/>
                  </a:moveTo>
                  <a:lnTo>
                    <a:pt x="60" y="82"/>
                  </a:lnTo>
                  <a:lnTo>
                    <a:pt x="61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54" y="82"/>
                  </a:moveTo>
                  <a:lnTo>
                    <a:pt x="53" y="82"/>
                  </a:lnTo>
                  <a:lnTo>
                    <a:pt x="54" y="82"/>
                  </a:lnTo>
                  <a:close/>
                  <a:moveTo>
                    <a:pt x="20" y="81"/>
                  </a:moveTo>
                  <a:lnTo>
                    <a:pt x="20" y="82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21" y="82"/>
                  </a:moveTo>
                  <a:lnTo>
                    <a:pt x="21" y="81"/>
                  </a:lnTo>
                  <a:lnTo>
                    <a:pt x="21" y="82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66" y="82"/>
                  </a:moveTo>
                  <a:lnTo>
                    <a:pt x="66" y="81"/>
                  </a:lnTo>
                  <a:lnTo>
                    <a:pt x="66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3" y="81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20" y="81"/>
                  </a:moveTo>
                  <a:lnTo>
                    <a:pt x="21" y="81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close/>
                  <a:moveTo>
                    <a:pt x="15" y="81"/>
                  </a:moveTo>
                  <a:lnTo>
                    <a:pt x="16" y="81"/>
                  </a:lnTo>
                  <a:lnTo>
                    <a:pt x="15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7" y="81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7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19" y="82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8" y="80"/>
                  </a:moveTo>
                  <a:lnTo>
                    <a:pt x="17" y="80"/>
                  </a:lnTo>
                  <a:lnTo>
                    <a:pt x="18" y="80"/>
                  </a:lnTo>
                  <a:close/>
                  <a:moveTo>
                    <a:pt x="19" y="80"/>
                  </a:moveTo>
                  <a:lnTo>
                    <a:pt x="19" y="81"/>
                  </a:lnTo>
                  <a:lnTo>
                    <a:pt x="19" y="80"/>
                  </a:lnTo>
                  <a:close/>
                  <a:moveTo>
                    <a:pt x="20" y="80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0"/>
                  </a:lnTo>
                  <a:close/>
                  <a:moveTo>
                    <a:pt x="20" y="80"/>
                  </a:move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6" y="80"/>
                  </a:lnTo>
                  <a:lnTo>
                    <a:pt x="15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7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4" y="78"/>
                  </a:moveTo>
                  <a:lnTo>
                    <a:pt x="13" y="78"/>
                  </a:lnTo>
                  <a:lnTo>
                    <a:pt x="14" y="78"/>
                  </a:lnTo>
                  <a:close/>
                  <a:moveTo>
                    <a:pt x="16" y="78"/>
                  </a:moveTo>
                  <a:lnTo>
                    <a:pt x="17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8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3" y="77"/>
                  </a:moveTo>
                  <a:lnTo>
                    <a:pt x="14" y="77"/>
                  </a:lnTo>
                  <a:lnTo>
                    <a:pt x="13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6"/>
                  </a:moveTo>
                  <a:lnTo>
                    <a:pt x="16" y="76"/>
                  </a:lnTo>
                  <a:lnTo>
                    <a:pt x="15" y="76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5" y="77"/>
                  </a:lnTo>
                  <a:lnTo>
                    <a:pt x="15" y="76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4"/>
                  </a:moveTo>
                  <a:lnTo>
                    <a:pt x="16" y="75"/>
                  </a:lnTo>
                  <a:lnTo>
                    <a:pt x="16" y="74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6" y="70"/>
                  </a:lnTo>
                  <a:lnTo>
                    <a:pt x="16" y="69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7"/>
                  </a:lnTo>
                  <a:close/>
                  <a:moveTo>
                    <a:pt x="18" y="66"/>
                  </a:move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7" y="66"/>
                  </a:lnTo>
                  <a:lnTo>
                    <a:pt x="16" y="66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6" y="59"/>
                  </a:lnTo>
                  <a:lnTo>
                    <a:pt x="17" y="59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4" y="54"/>
                  </a:moveTo>
                  <a:lnTo>
                    <a:pt x="15" y="54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4" y="53"/>
                  </a:moveTo>
                  <a:lnTo>
                    <a:pt x="15" y="53"/>
                  </a:lnTo>
                  <a:lnTo>
                    <a:pt x="14" y="53"/>
                  </a:lnTo>
                  <a:close/>
                  <a:moveTo>
                    <a:pt x="14" y="52"/>
                  </a:move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5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5" y="50"/>
                  </a:moveTo>
                  <a:lnTo>
                    <a:pt x="14" y="49"/>
                  </a:lnTo>
                  <a:lnTo>
                    <a:pt x="15" y="49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4" y="49"/>
                  </a:lnTo>
                  <a:lnTo>
                    <a:pt x="15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7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6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close/>
                  <a:moveTo>
                    <a:pt x="14" y="49"/>
                  </a:moveTo>
                  <a:lnTo>
                    <a:pt x="14" y="48"/>
                  </a:lnTo>
                  <a:lnTo>
                    <a:pt x="14" y="49"/>
                  </a:lnTo>
                  <a:close/>
                  <a:moveTo>
                    <a:pt x="15" y="49"/>
                  </a:moveTo>
                  <a:lnTo>
                    <a:pt x="15" y="48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7" y="49"/>
                  </a:lnTo>
                  <a:lnTo>
                    <a:pt x="17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9"/>
                  </a:lnTo>
                  <a:lnTo>
                    <a:pt x="12" y="48"/>
                  </a:lnTo>
                  <a:lnTo>
                    <a:pt x="12" y="49"/>
                  </a:lnTo>
                  <a:lnTo>
                    <a:pt x="12" y="48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8"/>
                  </a:lnTo>
                  <a:close/>
                  <a:moveTo>
                    <a:pt x="17" y="48"/>
                  </a:move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7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7"/>
                  </a:lnTo>
                  <a:lnTo>
                    <a:pt x="12" y="48"/>
                  </a:lnTo>
                  <a:close/>
                  <a:moveTo>
                    <a:pt x="16" y="47"/>
                  </a:moveTo>
                  <a:lnTo>
                    <a:pt x="16" y="48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8" y="47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9" y="47"/>
                  </a:moveTo>
                  <a:lnTo>
                    <a:pt x="18" y="47"/>
                  </a:lnTo>
                  <a:lnTo>
                    <a:pt x="19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2" y="46"/>
                  </a:moveTo>
                  <a:lnTo>
                    <a:pt x="12" y="47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2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5"/>
                  </a:lnTo>
                  <a:lnTo>
                    <a:pt x="15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5"/>
                  </a:lnTo>
                  <a:lnTo>
                    <a:pt x="10" y="45"/>
                  </a:lnTo>
                  <a:close/>
                  <a:moveTo>
                    <a:pt x="19" y="45"/>
                  </a:moveTo>
                  <a:lnTo>
                    <a:pt x="20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4" y="45"/>
                  </a:lnTo>
                  <a:lnTo>
                    <a:pt x="15" y="45"/>
                  </a:lnTo>
                  <a:close/>
                  <a:moveTo>
                    <a:pt x="21" y="45"/>
                  </a:moveTo>
                  <a:lnTo>
                    <a:pt x="22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1" y="45"/>
                  </a:lnTo>
                  <a:close/>
                  <a:moveTo>
                    <a:pt x="17" y="44"/>
                  </a:moveTo>
                  <a:lnTo>
                    <a:pt x="17" y="45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7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4" y="44"/>
                  </a:moveTo>
                  <a:lnTo>
                    <a:pt x="24" y="44"/>
                  </a:lnTo>
                  <a:lnTo>
                    <a:pt x="24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close/>
                  <a:moveTo>
                    <a:pt x="20" y="44"/>
                  </a:moveTo>
                  <a:lnTo>
                    <a:pt x="20" y="43"/>
                  </a:lnTo>
                  <a:lnTo>
                    <a:pt x="20" y="44"/>
                  </a:lnTo>
                  <a:close/>
                  <a:moveTo>
                    <a:pt x="16" y="43"/>
                  </a:move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3"/>
                  </a:lnTo>
                  <a:close/>
                  <a:moveTo>
                    <a:pt x="15" y="43"/>
                  </a:moveTo>
                  <a:lnTo>
                    <a:pt x="15" y="44"/>
                  </a:lnTo>
                  <a:lnTo>
                    <a:pt x="15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0" y="43"/>
                  </a:moveTo>
                  <a:lnTo>
                    <a:pt x="19" y="43"/>
                  </a:lnTo>
                  <a:lnTo>
                    <a:pt x="20" y="43"/>
                  </a:lnTo>
                  <a:close/>
                  <a:moveTo>
                    <a:pt x="21" y="43"/>
                  </a:move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3"/>
                  </a:lnTo>
                  <a:close/>
                  <a:moveTo>
                    <a:pt x="16" y="43"/>
                  </a:moveTo>
                  <a:lnTo>
                    <a:pt x="16" y="44"/>
                  </a:lnTo>
                  <a:lnTo>
                    <a:pt x="15" y="44"/>
                  </a:lnTo>
                  <a:lnTo>
                    <a:pt x="15" y="43"/>
                  </a:lnTo>
                  <a:lnTo>
                    <a:pt x="16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9" y="42"/>
                  </a:moveTo>
                  <a:lnTo>
                    <a:pt x="19" y="43"/>
                  </a:lnTo>
                  <a:lnTo>
                    <a:pt x="19" y="42"/>
                  </a:lnTo>
                  <a:close/>
                  <a:moveTo>
                    <a:pt x="24" y="43"/>
                  </a:moveTo>
                  <a:lnTo>
                    <a:pt x="24" y="42"/>
                  </a:lnTo>
                  <a:lnTo>
                    <a:pt x="24" y="43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3" y="42"/>
                  </a:moveTo>
                  <a:lnTo>
                    <a:pt x="22" y="42"/>
                  </a:lnTo>
                  <a:lnTo>
                    <a:pt x="23" y="42"/>
                  </a:lnTo>
                  <a:close/>
                  <a:moveTo>
                    <a:pt x="19" y="42"/>
                  </a:move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4" y="41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0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0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4" y="40"/>
                  </a:moveTo>
                  <a:lnTo>
                    <a:pt x="25" y="40"/>
                  </a:lnTo>
                  <a:lnTo>
                    <a:pt x="24" y="40"/>
                  </a:lnTo>
                  <a:close/>
                  <a:moveTo>
                    <a:pt x="24" y="39"/>
                  </a:moveTo>
                  <a:lnTo>
                    <a:pt x="25" y="39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9" y="38"/>
                  </a:lnTo>
                  <a:lnTo>
                    <a:pt x="28" y="38"/>
                  </a:lnTo>
                  <a:lnTo>
                    <a:pt x="29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8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7" y="37"/>
                  </a:lnTo>
                  <a:lnTo>
                    <a:pt x="28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31" y="36"/>
                  </a:moveTo>
                  <a:lnTo>
                    <a:pt x="31" y="36"/>
                  </a:lnTo>
                  <a:lnTo>
                    <a:pt x="31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5"/>
                  </a:lnTo>
                  <a:lnTo>
                    <a:pt x="28" y="36"/>
                  </a:lnTo>
                  <a:close/>
                  <a:moveTo>
                    <a:pt x="28" y="35"/>
                  </a:moveTo>
                  <a:lnTo>
                    <a:pt x="28" y="36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3"/>
                  </a:move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close/>
                  <a:moveTo>
                    <a:pt x="41" y="25"/>
                  </a:moveTo>
                  <a:lnTo>
                    <a:pt x="41" y="26"/>
                  </a:lnTo>
                  <a:lnTo>
                    <a:pt x="41" y="25"/>
                  </a:lnTo>
                  <a:close/>
                  <a:moveTo>
                    <a:pt x="48" y="21"/>
                  </a:moveTo>
                  <a:lnTo>
                    <a:pt x="48" y="22"/>
                  </a:lnTo>
                  <a:lnTo>
                    <a:pt x="48" y="21"/>
                  </a:lnTo>
                  <a:close/>
                  <a:moveTo>
                    <a:pt x="49" y="21"/>
                  </a:move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1"/>
                  </a:lnTo>
                  <a:close/>
                  <a:moveTo>
                    <a:pt x="45" y="20"/>
                  </a:move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5" y="20"/>
                  </a:lnTo>
                  <a:close/>
                  <a:moveTo>
                    <a:pt x="49" y="20"/>
                  </a:moveTo>
                  <a:lnTo>
                    <a:pt x="49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47" y="19"/>
                  </a:moveTo>
                  <a:lnTo>
                    <a:pt x="46" y="19"/>
                  </a:lnTo>
                  <a:lnTo>
                    <a:pt x="47" y="19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5" y="16"/>
                  </a:move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close/>
                  <a:moveTo>
                    <a:pt x="46" y="15"/>
                  </a:moveTo>
                  <a:lnTo>
                    <a:pt x="46" y="16"/>
                  </a:lnTo>
                  <a:lnTo>
                    <a:pt x="46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3" y="13"/>
                  </a:moveTo>
                  <a:lnTo>
                    <a:pt x="43" y="12"/>
                  </a:lnTo>
                  <a:lnTo>
                    <a:pt x="43" y="13"/>
                  </a:lnTo>
                  <a:close/>
                  <a:moveTo>
                    <a:pt x="42" y="12"/>
                  </a:moveTo>
                  <a:lnTo>
                    <a:pt x="42" y="13"/>
                  </a:lnTo>
                  <a:lnTo>
                    <a:pt x="42" y="12"/>
                  </a:lnTo>
                  <a:close/>
                  <a:moveTo>
                    <a:pt x="45" y="13"/>
                  </a:move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close/>
                  <a:moveTo>
                    <a:pt x="45" y="12"/>
                  </a:moveTo>
                  <a:lnTo>
                    <a:pt x="44" y="12"/>
                  </a:lnTo>
                  <a:lnTo>
                    <a:pt x="45" y="12"/>
                  </a:lnTo>
                  <a:close/>
                  <a:moveTo>
                    <a:pt x="42" y="12"/>
                  </a:moveTo>
                  <a:lnTo>
                    <a:pt x="43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39" y="11"/>
                  </a:moveTo>
                  <a:lnTo>
                    <a:pt x="40" y="11"/>
                  </a:lnTo>
                  <a:lnTo>
                    <a:pt x="39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2" y="11"/>
                  </a:lnTo>
                  <a:lnTo>
                    <a:pt x="41" y="11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41" y="11"/>
                  </a:moveTo>
                  <a:lnTo>
                    <a:pt x="40" y="11"/>
                  </a:lnTo>
                  <a:lnTo>
                    <a:pt x="41" y="11"/>
                  </a:lnTo>
                  <a:close/>
                  <a:moveTo>
                    <a:pt x="39" y="10"/>
                  </a:moveTo>
                  <a:lnTo>
                    <a:pt x="39" y="11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0"/>
                  </a:lnTo>
                  <a:close/>
                  <a:moveTo>
                    <a:pt x="40" y="11"/>
                  </a:moveTo>
                  <a:lnTo>
                    <a:pt x="40" y="10"/>
                  </a:lnTo>
                  <a:lnTo>
                    <a:pt x="40" y="11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7" y="7"/>
                  </a:moveTo>
                  <a:lnTo>
                    <a:pt x="38" y="7"/>
                  </a:lnTo>
                  <a:lnTo>
                    <a:pt x="37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3"/>
                  </a:move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8" name="Freeform 34"/>
            <p:cNvSpPr>
              <a:spLocks noEditPoints="1"/>
            </p:cNvSpPr>
            <p:nvPr/>
          </p:nvSpPr>
          <p:spPr bwMode="auto">
            <a:xfrm>
              <a:off x="5961492" y="3367658"/>
              <a:ext cx="88762" cy="125383"/>
            </a:xfrm>
            <a:custGeom>
              <a:avLst/>
              <a:gdLst>
                <a:gd name="T0" fmla="*/ 30 w 68"/>
                <a:gd name="T1" fmla="*/ 90 h 91"/>
                <a:gd name="T2" fmla="*/ 28 w 68"/>
                <a:gd name="T3" fmla="*/ 90 h 91"/>
                <a:gd name="T4" fmla="*/ 14 w 68"/>
                <a:gd name="T5" fmla="*/ 90 h 91"/>
                <a:gd name="T6" fmla="*/ 23 w 68"/>
                <a:gd name="T7" fmla="*/ 90 h 91"/>
                <a:gd name="T8" fmla="*/ 35 w 68"/>
                <a:gd name="T9" fmla="*/ 89 h 91"/>
                <a:gd name="T10" fmla="*/ 22 w 68"/>
                <a:gd name="T11" fmla="*/ 89 h 91"/>
                <a:gd name="T12" fmla="*/ 13 w 68"/>
                <a:gd name="T13" fmla="*/ 89 h 91"/>
                <a:gd name="T14" fmla="*/ 32 w 68"/>
                <a:gd name="T15" fmla="*/ 89 h 91"/>
                <a:gd name="T16" fmla="*/ 20 w 68"/>
                <a:gd name="T17" fmla="*/ 89 h 91"/>
                <a:gd name="T18" fmla="*/ 14 w 68"/>
                <a:gd name="T19" fmla="*/ 89 h 91"/>
                <a:gd name="T20" fmla="*/ 38 w 68"/>
                <a:gd name="T21" fmla="*/ 88 h 91"/>
                <a:gd name="T22" fmla="*/ 13 w 68"/>
                <a:gd name="T23" fmla="*/ 88 h 91"/>
                <a:gd name="T24" fmla="*/ 39 w 68"/>
                <a:gd name="T25" fmla="*/ 88 h 91"/>
                <a:gd name="T26" fmla="*/ 16 w 68"/>
                <a:gd name="T27" fmla="*/ 88 h 91"/>
                <a:gd name="T28" fmla="*/ 19 w 68"/>
                <a:gd name="T29" fmla="*/ 88 h 91"/>
                <a:gd name="T30" fmla="*/ 5 w 68"/>
                <a:gd name="T31" fmla="*/ 88 h 91"/>
                <a:gd name="T32" fmla="*/ 7 w 68"/>
                <a:gd name="T33" fmla="*/ 88 h 91"/>
                <a:gd name="T34" fmla="*/ 8 w 68"/>
                <a:gd name="T35" fmla="*/ 87 h 91"/>
                <a:gd name="T36" fmla="*/ 22 w 68"/>
                <a:gd name="T37" fmla="*/ 86 h 91"/>
                <a:gd name="T38" fmla="*/ 4 w 68"/>
                <a:gd name="T39" fmla="*/ 86 h 91"/>
                <a:gd name="T40" fmla="*/ 15 w 68"/>
                <a:gd name="T41" fmla="*/ 86 h 91"/>
                <a:gd name="T42" fmla="*/ 15 w 68"/>
                <a:gd name="T43" fmla="*/ 86 h 91"/>
                <a:gd name="T44" fmla="*/ 8 w 68"/>
                <a:gd name="T45" fmla="*/ 86 h 91"/>
                <a:gd name="T46" fmla="*/ 9 w 68"/>
                <a:gd name="T47" fmla="*/ 86 h 91"/>
                <a:gd name="T48" fmla="*/ 12 w 68"/>
                <a:gd name="T49" fmla="*/ 85 h 91"/>
                <a:gd name="T50" fmla="*/ 54 w 68"/>
                <a:gd name="T51" fmla="*/ 85 h 91"/>
                <a:gd name="T52" fmla="*/ 53 w 68"/>
                <a:gd name="T53" fmla="*/ 85 h 91"/>
                <a:gd name="T54" fmla="*/ 15 w 68"/>
                <a:gd name="T55" fmla="*/ 85 h 91"/>
                <a:gd name="T56" fmla="*/ 12 w 68"/>
                <a:gd name="T57" fmla="*/ 85 h 91"/>
                <a:gd name="T58" fmla="*/ 13 w 68"/>
                <a:gd name="T59" fmla="*/ 84 h 91"/>
                <a:gd name="T60" fmla="*/ 17 w 68"/>
                <a:gd name="T61" fmla="*/ 84 h 91"/>
                <a:gd name="T62" fmla="*/ 9 w 68"/>
                <a:gd name="T63" fmla="*/ 83 h 91"/>
                <a:gd name="T64" fmla="*/ 16 w 68"/>
                <a:gd name="T65" fmla="*/ 83 h 91"/>
                <a:gd name="T66" fmla="*/ 57 w 68"/>
                <a:gd name="T67" fmla="*/ 83 h 91"/>
                <a:gd name="T68" fmla="*/ 13 w 68"/>
                <a:gd name="T69" fmla="*/ 83 h 91"/>
                <a:gd name="T70" fmla="*/ 15 w 68"/>
                <a:gd name="T71" fmla="*/ 83 h 91"/>
                <a:gd name="T72" fmla="*/ 12 w 68"/>
                <a:gd name="T73" fmla="*/ 82 h 91"/>
                <a:gd name="T74" fmla="*/ 5 w 68"/>
                <a:gd name="T75" fmla="*/ 83 h 91"/>
                <a:gd name="T76" fmla="*/ 15 w 68"/>
                <a:gd name="T77" fmla="*/ 82 h 91"/>
                <a:gd name="T78" fmla="*/ 13 w 68"/>
                <a:gd name="T79" fmla="*/ 82 h 91"/>
                <a:gd name="T80" fmla="*/ 21 w 68"/>
                <a:gd name="T81" fmla="*/ 82 h 91"/>
                <a:gd name="T82" fmla="*/ 12 w 68"/>
                <a:gd name="T83" fmla="*/ 82 h 91"/>
                <a:gd name="T84" fmla="*/ 67 w 68"/>
                <a:gd name="T85" fmla="*/ 81 h 91"/>
                <a:gd name="T86" fmla="*/ 8 w 68"/>
                <a:gd name="T87" fmla="*/ 81 h 91"/>
                <a:gd name="T88" fmla="*/ 21 w 68"/>
                <a:gd name="T89" fmla="*/ 81 h 91"/>
                <a:gd name="T90" fmla="*/ 16 w 68"/>
                <a:gd name="T91" fmla="*/ 80 h 91"/>
                <a:gd name="T92" fmla="*/ 16 w 68"/>
                <a:gd name="T93" fmla="*/ 78 h 91"/>
                <a:gd name="T94" fmla="*/ 15 w 68"/>
                <a:gd name="T95" fmla="*/ 77 h 91"/>
                <a:gd name="T96" fmla="*/ 17 w 68"/>
                <a:gd name="T97" fmla="*/ 72 h 91"/>
                <a:gd name="T98" fmla="*/ 16 w 68"/>
                <a:gd name="T99" fmla="*/ 70 h 91"/>
                <a:gd name="T100" fmla="*/ 17 w 68"/>
                <a:gd name="T101" fmla="*/ 64 h 91"/>
                <a:gd name="T102" fmla="*/ 16 w 68"/>
                <a:gd name="T103" fmla="*/ 58 h 91"/>
                <a:gd name="T104" fmla="*/ 16 w 68"/>
                <a:gd name="T105" fmla="*/ 49 h 91"/>
                <a:gd name="T106" fmla="*/ 15 w 68"/>
                <a:gd name="T107" fmla="*/ 47 h 91"/>
                <a:gd name="T108" fmla="*/ 17 w 68"/>
                <a:gd name="T109" fmla="*/ 45 h 91"/>
                <a:gd name="T110" fmla="*/ 21 w 68"/>
                <a:gd name="T111" fmla="*/ 44 h 91"/>
                <a:gd name="T112" fmla="*/ 15 w 68"/>
                <a:gd name="T113" fmla="*/ 44 h 91"/>
                <a:gd name="T114" fmla="*/ 20 w 68"/>
                <a:gd name="T115" fmla="*/ 43 h 91"/>
                <a:gd name="T116" fmla="*/ 26 w 68"/>
                <a:gd name="T117" fmla="*/ 38 h 91"/>
                <a:gd name="T118" fmla="*/ 28 w 68"/>
                <a:gd name="T119" fmla="*/ 36 h 91"/>
                <a:gd name="T120" fmla="*/ 49 w 68"/>
                <a:gd name="T121" fmla="*/ 20 h 91"/>
                <a:gd name="T122" fmla="*/ 39 w 68"/>
                <a:gd name="T123" fmla="*/ 13 h 91"/>
                <a:gd name="T124" fmla="*/ 38 w 68"/>
                <a:gd name="T12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" h="91">
                  <a:moveTo>
                    <a:pt x="19" y="91"/>
                  </a:moveTo>
                  <a:lnTo>
                    <a:pt x="18" y="91"/>
                  </a:lnTo>
                  <a:lnTo>
                    <a:pt x="19" y="91"/>
                  </a:lnTo>
                  <a:close/>
                  <a:moveTo>
                    <a:pt x="30" y="91"/>
                  </a:moveTo>
                  <a:lnTo>
                    <a:pt x="29" y="90"/>
                  </a:lnTo>
                  <a:lnTo>
                    <a:pt x="30" y="90"/>
                  </a:lnTo>
                  <a:lnTo>
                    <a:pt x="30" y="91"/>
                  </a:lnTo>
                  <a:close/>
                  <a:moveTo>
                    <a:pt x="15" y="91"/>
                  </a:moveTo>
                  <a:lnTo>
                    <a:pt x="15" y="90"/>
                  </a:lnTo>
                  <a:lnTo>
                    <a:pt x="15" y="91"/>
                  </a:lnTo>
                  <a:close/>
                  <a:moveTo>
                    <a:pt x="18" y="91"/>
                  </a:moveTo>
                  <a:lnTo>
                    <a:pt x="18" y="90"/>
                  </a:lnTo>
                  <a:lnTo>
                    <a:pt x="18" y="91"/>
                  </a:lnTo>
                  <a:close/>
                  <a:moveTo>
                    <a:pt x="27" y="91"/>
                  </a:moveTo>
                  <a:lnTo>
                    <a:pt x="27" y="90"/>
                  </a:lnTo>
                  <a:lnTo>
                    <a:pt x="27" y="91"/>
                  </a:lnTo>
                  <a:close/>
                  <a:moveTo>
                    <a:pt x="18" y="90"/>
                  </a:moveTo>
                  <a:lnTo>
                    <a:pt x="18" y="91"/>
                  </a:lnTo>
                  <a:lnTo>
                    <a:pt x="18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2" y="90"/>
                  </a:moveTo>
                  <a:lnTo>
                    <a:pt x="23" y="90"/>
                  </a:lnTo>
                  <a:lnTo>
                    <a:pt x="22" y="90"/>
                  </a:lnTo>
                  <a:lnTo>
                    <a:pt x="23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4" y="90"/>
                  </a:moveTo>
                  <a:lnTo>
                    <a:pt x="13" y="90"/>
                  </a:lnTo>
                  <a:lnTo>
                    <a:pt x="14" y="90"/>
                  </a:lnTo>
                  <a:close/>
                  <a:moveTo>
                    <a:pt x="18" y="90"/>
                  </a:moveTo>
                  <a:lnTo>
                    <a:pt x="17" y="90"/>
                  </a:lnTo>
                  <a:lnTo>
                    <a:pt x="18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9" y="90"/>
                  </a:moveTo>
                  <a:lnTo>
                    <a:pt x="29" y="90"/>
                  </a:lnTo>
                  <a:lnTo>
                    <a:pt x="29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2" y="90"/>
                  </a:moveTo>
                  <a:lnTo>
                    <a:pt x="22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6" y="90"/>
                  </a:moveTo>
                  <a:lnTo>
                    <a:pt x="16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7" y="90"/>
                  </a:lnTo>
                  <a:lnTo>
                    <a:pt x="28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6" y="90"/>
                  </a:moveTo>
                  <a:lnTo>
                    <a:pt x="25" y="90"/>
                  </a:lnTo>
                  <a:lnTo>
                    <a:pt x="26" y="90"/>
                  </a:lnTo>
                  <a:close/>
                  <a:moveTo>
                    <a:pt x="16" y="90"/>
                  </a:moveTo>
                  <a:lnTo>
                    <a:pt x="15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32" y="90"/>
                  </a:moveTo>
                  <a:lnTo>
                    <a:pt x="31" y="90"/>
                  </a:lnTo>
                  <a:lnTo>
                    <a:pt x="32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22" y="90"/>
                  </a:moveTo>
                  <a:lnTo>
                    <a:pt x="21" y="90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9" y="90"/>
                  </a:lnTo>
                  <a:lnTo>
                    <a:pt x="1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9" y="90"/>
                  </a:moveTo>
                  <a:lnTo>
                    <a:pt x="19" y="90"/>
                  </a:lnTo>
                  <a:lnTo>
                    <a:pt x="19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9" y="90"/>
                  </a:moveTo>
                  <a:lnTo>
                    <a:pt x="10" y="90"/>
                  </a:lnTo>
                  <a:lnTo>
                    <a:pt x="9" y="90"/>
                  </a:lnTo>
                  <a:close/>
                  <a:moveTo>
                    <a:pt x="27" y="90"/>
                  </a:moveTo>
                  <a:lnTo>
                    <a:pt x="26" y="90"/>
                  </a:lnTo>
                  <a:lnTo>
                    <a:pt x="27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89"/>
                  </a:lnTo>
                  <a:lnTo>
                    <a:pt x="10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3" y="90"/>
                  </a:moveTo>
                  <a:lnTo>
                    <a:pt x="32" y="90"/>
                  </a:lnTo>
                  <a:lnTo>
                    <a:pt x="33" y="89"/>
                  </a:lnTo>
                  <a:lnTo>
                    <a:pt x="33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9" y="90"/>
                  </a:moveTo>
                  <a:lnTo>
                    <a:pt x="9" y="89"/>
                  </a:lnTo>
                  <a:lnTo>
                    <a:pt x="9" y="90"/>
                  </a:lnTo>
                  <a:close/>
                  <a:moveTo>
                    <a:pt x="23" y="90"/>
                  </a:moveTo>
                  <a:lnTo>
                    <a:pt x="23" y="89"/>
                  </a:lnTo>
                  <a:lnTo>
                    <a:pt x="23" y="90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33" y="89"/>
                  </a:moveTo>
                  <a:lnTo>
                    <a:pt x="33" y="90"/>
                  </a:lnTo>
                  <a:lnTo>
                    <a:pt x="33" y="89"/>
                  </a:lnTo>
                  <a:close/>
                  <a:moveTo>
                    <a:pt x="14" y="89"/>
                  </a:moveTo>
                  <a:lnTo>
                    <a:pt x="14" y="90"/>
                  </a:lnTo>
                  <a:lnTo>
                    <a:pt x="14" y="89"/>
                  </a:lnTo>
                  <a:close/>
                  <a:moveTo>
                    <a:pt x="24" y="90"/>
                  </a:moveTo>
                  <a:lnTo>
                    <a:pt x="24" y="89"/>
                  </a:lnTo>
                  <a:lnTo>
                    <a:pt x="24" y="90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4" y="89"/>
                  </a:moveTo>
                  <a:lnTo>
                    <a:pt x="15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1" y="89"/>
                  </a:lnTo>
                  <a:lnTo>
                    <a:pt x="32" y="89"/>
                  </a:lnTo>
                  <a:close/>
                  <a:moveTo>
                    <a:pt x="22" y="89"/>
                  </a:moveTo>
                  <a:lnTo>
                    <a:pt x="21" y="89"/>
                  </a:lnTo>
                  <a:lnTo>
                    <a:pt x="22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29" y="89"/>
                  </a:lnTo>
                  <a:lnTo>
                    <a:pt x="30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8" y="89"/>
                  </a:moveTo>
                  <a:lnTo>
                    <a:pt x="8" y="89"/>
                  </a:lnTo>
                  <a:lnTo>
                    <a:pt x="8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4" y="89"/>
                  </a:move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6" y="89"/>
                  </a:moveTo>
                  <a:lnTo>
                    <a:pt x="6" y="89"/>
                  </a:lnTo>
                  <a:lnTo>
                    <a:pt x="6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16" y="89"/>
                  </a:moveTo>
                  <a:lnTo>
                    <a:pt x="16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31" y="89"/>
                  </a:move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9" y="89"/>
                  </a:moveTo>
                  <a:lnTo>
                    <a:pt x="9" y="89"/>
                  </a:lnTo>
                  <a:lnTo>
                    <a:pt x="9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8" y="89"/>
                  </a:moveTo>
                  <a:lnTo>
                    <a:pt x="27" y="89"/>
                  </a:lnTo>
                  <a:lnTo>
                    <a:pt x="28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8" y="89"/>
                  </a:moveTo>
                  <a:lnTo>
                    <a:pt x="9" y="89"/>
                  </a:lnTo>
                  <a:lnTo>
                    <a:pt x="8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0" y="89"/>
                  </a:move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6" y="89"/>
                  </a:moveTo>
                  <a:lnTo>
                    <a:pt x="16" y="88"/>
                  </a:lnTo>
                  <a:lnTo>
                    <a:pt x="16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7" y="89"/>
                  </a:lnTo>
                  <a:lnTo>
                    <a:pt x="28" y="88"/>
                  </a:lnTo>
                  <a:close/>
                  <a:moveTo>
                    <a:pt x="36" y="89"/>
                  </a:moveTo>
                  <a:lnTo>
                    <a:pt x="36" y="88"/>
                  </a:lnTo>
                  <a:lnTo>
                    <a:pt x="36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37" y="88"/>
                  </a:moveTo>
                  <a:lnTo>
                    <a:pt x="37" y="89"/>
                  </a:lnTo>
                  <a:lnTo>
                    <a:pt x="37" y="88"/>
                  </a:lnTo>
                  <a:close/>
                  <a:moveTo>
                    <a:pt x="14" y="89"/>
                  </a:moveTo>
                  <a:lnTo>
                    <a:pt x="14" y="88"/>
                  </a:lnTo>
                  <a:lnTo>
                    <a:pt x="14" y="89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3" y="89"/>
                  </a:moveTo>
                  <a:lnTo>
                    <a:pt x="13" y="88"/>
                  </a:lnTo>
                  <a:lnTo>
                    <a:pt x="14" y="88"/>
                  </a:lnTo>
                  <a:lnTo>
                    <a:pt x="13" y="89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9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8" y="88"/>
                  </a:lnTo>
                  <a:close/>
                  <a:moveTo>
                    <a:pt x="10" y="88"/>
                  </a:moveTo>
                  <a:lnTo>
                    <a:pt x="11" y="88"/>
                  </a:lnTo>
                  <a:lnTo>
                    <a:pt x="1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5" y="88"/>
                  </a:moveTo>
                  <a:lnTo>
                    <a:pt x="14" y="88"/>
                  </a:lnTo>
                  <a:lnTo>
                    <a:pt x="15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8" y="88"/>
                  </a:moveTo>
                  <a:lnTo>
                    <a:pt x="8" y="88"/>
                  </a:lnTo>
                  <a:lnTo>
                    <a:pt x="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1" y="88"/>
                  </a:lnTo>
                  <a:lnTo>
                    <a:pt x="42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8" y="88"/>
                  </a:moveTo>
                  <a:lnTo>
                    <a:pt x="17" y="88"/>
                  </a:lnTo>
                  <a:lnTo>
                    <a:pt x="18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3" y="88"/>
                  </a:moveTo>
                  <a:lnTo>
                    <a:pt x="22" y="88"/>
                  </a:lnTo>
                  <a:lnTo>
                    <a:pt x="23" y="88"/>
                  </a:lnTo>
                  <a:close/>
                  <a:moveTo>
                    <a:pt x="10" y="88"/>
                  </a:move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41" y="88"/>
                  </a:moveTo>
                  <a:lnTo>
                    <a:pt x="42" y="88"/>
                  </a:lnTo>
                  <a:lnTo>
                    <a:pt x="41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7" y="88"/>
                  </a:moveTo>
                  <a:lnTo>
                    <a:pt x="17" y="88"/>
                  </a:lnTo>
                  <a:lnTo>
                    <a:pt x="17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4" y="88"/>
                  </a:moveTo>
                  <a:lnTo>
                    <a:pt x="14" y="88"/>
                  </a:lnTo>
                  <a:lnTo>
                    <a:pt x="14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2" y="88"/>
                  </a:moveTo>
                  <a:lnTo>
                    <a:pt x="13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39" y="88"/>
                  </a:moveTo>
                  <a:lnTo>
                    <a:pt x="38" y="88"/>
                  </a:lnTo>
                  <a:lnTo>
                    <a:pt x="3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6" y="88"/>
                  </a:lnTo>
                  <a:lnTo>
                    <a:pt x="27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9" y="88"/>
                  </a:move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9" y="88"/>
                  </a:moveTo>
                  <a:lnTo>
                    <a:pt x="9" y="87"/>
                  </a:lnTo>
                  <a:lnTo>
                    <a:pt x="9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6" y="87"/>
                  </a:moveTo>
                  <a:lnTo>
                    <a:pt x="26" y="88"/>
                  </a:lnTo>
                  <a:lnTo>
                    <a:pt x="26" y="87"/>
                  </a:lnTo>
                  <a:close/>
                  <a:moveTo>
                    <a:pt x="39" y="88"/>
                  </a:moveTo>
                  <a:lnTo>
                    <a:pt x="39" y="87"/>
                  </a:lnTo>
                  <a:lnTo>
                    <a:pt x="39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38" y="87"/>
                  </a:moveTo>
                  <a:lnTo>
                    <a:pt x="38" y="88"/>
                  </a:lnTo>
                  <a:lnTo>
                    <a:pt x="38" y="87"/>
                  </a:lnTo>
                  <a:close/>
                  <a:moveTo>
                    <a:pt x="23" y="88"/>
                  </a:moveTo>
                  <a:lnTo>
                    <a:pt x="23" y="87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6" y="88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6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0" y="88"/>
                  </a:moveTo>
                  <a:lnTo>
                    <a:pt x="20" y="87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7"/>
                  </a:lnTo>
                  <a:close/>
                  <a:moveTo>
                    <a:pt x="23" y="87"/>
                  </a:moveTo>
                  <a:lnTo>
                    <a:pt x="23" y="88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8"/>
                  </a:lnTo>
                  <a:lnTo>
                    <a:pt x="10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8" y="88"/>
                  </a:moveTo>
                  <a:lnTo>
                    <a:pt x="8" y="87"/>
                  </a:lnTo>
                  <a:lnTo>
                    <a:pt x="8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6" y="88"/>
                  </a:moveTo>
                  <a:lnTo>
                    <a:pt x="6" y="87"/>
                  </a:lnTo>
                  <a:lnTo>
                    <a:pt x="6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22" y="88"/>
                  </a:moveTo>
                  <a:lnTo>
                    <a:pt x="22" y="87"/>
                  </a:lnTo>
                  <a:lnTo>
                    <a:pt x="22" y="88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4" y="88"/>
                  </a:moveTo>
                  <a:lnTo>
                    <a:pt x="14" y="87"/>
                  </a:lnTo>
                  <a:lnTo>
                    <a:pt x="14" y="88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39" y="87"/>
                  </a:moveTo>
                  <a:lnTo>
                    <a:pt x="39" y="88"/>
                  </a:lnTo>
                  <a:lnTo>
                    <a:pt x="39" y="87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17" y="87"/>
                  </a:moveTo>
                  <a:lnTo>
                    <a:pt x="17" y="88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11" y="88"/>
                  </a:moveTo>
                  <a:lnTo>
                    <a:pt x="11" y="87"/>
                  </a:lnTo>
                  <a:lnTo>
                    <a:pt x="11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7" y="88"/>
                  </a:moveTo>
                  <a:lnTo>
                    <a:pt x="7" y="87"/>
                  </a:lnTo>
                  <a:lnTo>
                    <a:pt x="7" y="88"/>
                  </a:lnTo>
                  <a:close/>
                  <a:moveTo>
                    <a:pt x="6" y="87"/>
                  </a:moveTo>
                  <a:lnTo>
                    <a:pt x="6" y="88"/>
                  </a:lnTo>
                  <a:lnTo>
                    <a:pt x="6" y="87"/>
                  </a:lnTo>
                  <a:close/>
                  <a:moveTo>
                    <a:pt x="43" y="87"/>
                  </a:moveTo>
                  <a:lnTo>
                    <a:pt x="43" y="87"/>
                  </a:lnTo>
                  <a:lnTo>
                    <a:pt x="43" y="87"/>
                  </a:lnTo>
                  <a:close/>
                  <a:moveTo>
                    <a:pt x="19" y="87"/>
                  </a:moveTo>
                  <a:lnTo>
                    <a:pt x="19" y="88"/>
                  </a:lnTo>
                  <a:lnTo>
                    <a:pt x="19" y="87"/>
                  </a:lnTo>
                  <a:close/>
                  <a:moveTo>
                    <a:pt x="40" y="87"/>
                  </a:moveTo>
                  <a:lnTo>
                    <a:pt x="40" y="88"/>
                  </a:lnTo>
                  <a:lnTo>
                    <a:pt x="40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15" y="87"/>
                  </a:moveTo>
                  <a:lnTo>
                    <a:pt x="15" y="87"/>
                  </a:lnTo>
                  <a:lnTo>
                    <a:pt x="1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8"/>
                  </a:lnTo>
                  <a:lnTo>
                    <a:pt x="22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5" y="87"/>
                  </a:moveTo>
                  <a:lnTo>
                    <a:pt x="5" y="87"/>
                  </a:lnTo>
                  <a:lnTo>
                    <a:pt x="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2" y="87"/>
                  </a:lnTo>
                  <a:lnTo>
                    <a:pt x="13" y="87"/>
                  </a:lnTo>
                  <a:close/>
                  <a:moveTo>
                    <a:pt x="19" y="87"/>
                  </a:moveTo>
                  <a:lnTo>
                    <a:pt x="19" y="87"/>
                  </a:lnTo>
                  <a:lnTo>
                    <a:pt x="19" y="87"/>
                  </a:lnTo>
                  <a:close/>
                  <a:moveTo>
                    <a:pt x="13" y="87"/>
                  </a:moveTo>
                  <a:lnTo>
                    <a:pt x="13" y="87"/>
                  </a:lnTo>
                  <a:lnTo>
                    <a:pt x="13" y="87"/>
                  </a:lnTo>
                  <a:close/>
                  <a:moveTo>
                    <a:pt x="20" y="87"/>
                  </a:moveTo>
                  <a:lnTo>
                    <a:pt x="19" y="87"/>
                  </a:lnTo>
                  <a:lnTo>
                    <a:pt x="2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8" y="87"/>
                  </a:moveTo>
                  <a:lnTo>
                    <a:pt x="8" y="87"/>
                  </a:lnTo>
                  <a:lnTo>
                    <a:pt x="8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1" y="87"/>
                  </a:moveTo>
                  <a:lnTo>
                    <a:pt x="12" y="87"/>
                  </a:lnTo>
                  <a:lnTo>
                    <a:pt x="11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3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3" y="86"/>
                  </a:moveTo>
                  <a:lnTo>
                    <a:pt x="43" y="87"/>
                  </a:lnTo>
                  <a:lnTo>
                    <a:pt x="43" y="86"/>
                  </a:lnTo>
                  <a:close/>
                  <a:moveTo>
                    <a:pt x="20" y="86"/>
                  </a:moveTo>
                  <a:lnTo>
                    <a:pt x="20" y="87"/>
                  </a:lnTo>
                  <a:lnTo>
                    <a:pt x="2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21" y="87"/>
                  </a:moveTo>
                  <a:lnTo>
                    <a:pt x="20" y="87"/>
                  </a:lnTo>
                  <a:lnTo>
                    <a:pt x="20" y="86"/>
                  </a:lnTo>
                  <a:lnTo>
                    <a:pt x="21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6"/>
                  </a:lnTo>
                  <a:lnTo>
                    <a:pt x="22" y="87"/>
                  </a:lnTo>
                  <a:close/>
                  <a:moveTo>
                    <a:pt x="40" y="86"/>
                  </a:moveTo>
                  <a:lnTo>
                    <a:pt x="40" y="87"/>
                  </a:lnTo>
                  <a:lnTo>
                    <a:pt x="4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3" y="86"/>
                  </a:moveTo>
                  <a:lnTo>
                    <a:pt x="13" y="87"/>
                  </a:lnTo>
                  <a:lnTo>
                    <a:pt x="13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8" y="87"/>
                  </a:moveTo>
                  <a:lnTo>
                    <a:pt x="28" y="86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2" y="87"/>
                  </a:lnTo>
                  <a:lnTo>
                    <a:pt x="22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43" y="86"/>
                  </a:moveTo>
                  <a:lnTo>
                    <a:pt x="43" y="86"/>
                  </a:lnTo>
                  <a:lnTo>
                    <a:pt x="43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16" y="86"/>
                  </a:moveTo>
                  <a:lnTo>
                    <a:pt x="16" y="86"/>
                  </a:lnTo>
                  <a:lnTo>
                    <a:pt x="16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7" y="86"/>
                  </a:moveTo>
                  <a:lnTo>
                    <a:pt x="6" y="86"/>
                  </a:lnTo>
                  <a:lnTo>
                    <a:pt x="7" y="86"/>
                  </a:lnTo>
                  <a:close/>
                  <a:moveTo>
                    <a:pt x="18" y="86"/>
                  </a:moveTo>
                  <a:lnTo>
                    <a:pt x="17" y="86"/>
                  </a:lnTo>
                  <a:lnTo>
                    <a:pt x="18" y="86"/>
                  </a:lnTo>
                  <a:close/>
                  <a:moveTo>
                    <a:pt x="6" y="86"/>
                  </a:moveTo>
                  <a:lnTo>
                    <a:pt x="5" y="86"/>
                  </a:lnTo>
                  <a:lnTo>
                    <a:pt x="6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45" y="86"/>
                  </a:moveTo>
                  <a:lnTo>
                    <a:pt x="45" y="86"/>
                  </a:lnTo>
                  <a:lnTo>
                    <a:pt x="4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47" y="86"/>
                  </a:moveTo>
                  <a:lnTo>
                    <a:pt x="47" y="86"/>
                  </a:lnTo>
                  <a:lnTo>
                    <a:pt x="47" y="86"/>
                  </a:lnTo>
                  <a:close/>
                  <a:moveTo>
                    <a:pt x="22" y="86"/>
                  </a:moveTo>
                  <a:lnTo>
                    <a:pt x="22" y="86"/>
                  </a:lnTo>
                  <a:lnTo>
                    <a:pt x="22" y="86"/>
                  </a:lnTo>
                  <a:close/>
                  <a:moveTo>
                    <a:pt x="3" y="86"/>
                  </a:moveTo>
                  <a:lnTo>
                    <a:pt x="3" y="86"/>
                  </a:lnTo>
                  <a:lnTo>
                    <a:pt x="3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4" y="86"/>
                  </a:moveTo>
                  <a:lnTo>
                    <a:pt x="44" y="86"/>
                  </a:lnTo>
                  <a:lnTo>
                    <a:pt x="44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9" y="86"/>
                  </a:moveTo>
                  <a:lnTo>
                    <a:pt x="49" y="86"/>
                  </a:lnTo>
                  <a:lnTo>
                    <a:pt x="49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20" y="86"/>
                  </a:lnTo>
                  <a:lnTo>
                    <a:pt x="19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7" y="86"/>
                  </a:moveTo>
                  <a:lnTo>
                    <a:pt x="7" y="86"/>
                  </a:lnTo>
                  <a:lnTo>
                    <a:pt x="7" y="86"/>
                  </a:lnTo>
                  <a:close/>
                  <a:moveTo>
                    <a:pt x="16" y="86"/>
                  </a:moveTo>
                  <a:lnTo>
                    <a:pt x="15" y="86"/>
                  </a:lnTo>
                  <a:lnTo>
                    <a:pt x="16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3" y="86"/>
                  </a:moveTo>
                  <a:lnTo>
                    <a:pt x="2" y="86"/>
                  </a:lnTo>
                  <a:lnTo>
                    <a:pt x="3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3" y="86"/>
                  </a:moveTo>
                  <a:lnTo>
                    <a:pt x="12" y="86"/>
                  </a:lnTo>
                  <a:lnTo>
                    <a:pt x="13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4" y="86"/>
                  </a:lnTo>
                  <a:lnTo>
                    <a:pt x="23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6" y="86"/>
                  </a:moveTo>
                  <a:lnTo>
                    <a:pt x="25" y="86"/>
                  </a:lnTo>
                  <a:lnTo>
                    <a:pt x="26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5" y="86"/>
                  </a:moveTo>
                  <a:lnTo>
                    <a:pt x="14" y="86"/>
                  </a:lnTo>
                  <a:lnTo>
                    <a:pt x="1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7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5"/>
                  </a:lnTo>
                  <a:lnTo>
                    <a:pt x="10" y="86"/>
                  </a:lnTo>
                  <a:close/>
                  <a:moveTo>
                    <a:pt x="48" y="86"/>
                  </a:move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5" y="86"/>
                  </a:moveTo>
                  <a:lnTo>
                    <a:pt x="25" y="85"/>
                  </a:lnTo>
                  <a:lnTo>
                    <a:pt x="25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16" y="86"/>
                  </a:moveTo>
                  <a:lnTo>
                    <a:pt x="16" y="85"/>
                  </a:lnTo>
                  <a:lnTo>
                    <a:pt x="16" y="86"/>
                  </a:lnTo>
                  <a:close/>
                  <a:moveTo>
                    <a:pt x="47" y="86"/>
                  </a:moveTo>
                  <a:lnTo>
                    <a:pt x="47" y="85"/>
                  </a:lnTo>
                  <a:lnTo>
                    <a:pt x="47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48" y="85"/>
                  </a:moveTo>
                  <a:lnTo>
                    <a:pt x="48" y="86"/>
                  </a:lnTo>
                  <a:lnTo>
                    <a:pt x="48" y="85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22" y="85"/>
                  </a:moveTo>
                  <a:lnTo>
                    <a:pt x="22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2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23" y="85"/>
                  </a:moveTo>
                  <a:lnTo>
                    <a:pt x="23" y="86"/>
                  </a:lnTo>
                  <a:lnTo>
                    <a:pt x="23" y="85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48" y="86"/>
                  </a:moveTo>
                  <a:lnTo>
                    <a:pt x="47" y="86"/>
                  </a:lnTo>
                  <a:lnTo>
                    <a:pt x="47" y="85"/>
                  </a:ln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51" y="85"/>
                  </a:moveTo>
                  <a:lnTo>
                    <a:pt x="50" y="85"/>
                  </a:lnTo>
                  <a:lnTo>
                    <a:pt x="51" y="85"/>
                  </a:lnTo>
                  <a:close/>
                  <a:moveTo>
                    <a:pt x="11" y="85"/>
                  </a:moveTo>
                  <a:lnTo>
                    <a:pt x="11" y="86"/>
                  </a:lnTo>
                  <a:lnTo>
                    <a:pt x="11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close/>
                  <a:moveTo>
                    <a:pt x="50" y="85"/>
                  </a:moveTo>
                  <a:lnTo>
                    <a:pt x="49" y="85"/>
                  </a:lnTo>
                  <a:lnTo>
                    <a:pt x="50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46" y="85"/>
                  </a:moveTo>
                  <a:lnTo>
                    <a:pt x="45" y="85"/>
                  </a:lnTo>
                  <a:lnTo>
                    <a:pt x="4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" y="85"/>
                  </a:moveTo>
                  <a:lnTo>
                    <a:pt x="1" y="85"/>
                  </a:lnTo>
                  <a:lnTo>
                    <a:pt x="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53" y="85"/>
                  </a:move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19" y="85"/>
                  </a:moveTo>
                  <a:lnTo>
                    <a:pt x="18" y="85"/>
                  </a:lnTo>
                  <a:lnTo>
                    <a:pt x="1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3" y="85"/>
                  </a:moveTo>
                  <a:lnTo>
                    <a:pt x="12" y="85"/>
                  </a:lnTo>
                  <a:lnTo>
                    <a:pt x="13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3" y="85"/>
                  </a:moveTo>
                  <a:lnTo>
                    <a:pt x="23" y="85"/>
                  </a:lnTo>
                  <a:lnTo>
                    <a:pt x="23" y="85"/>
                  </a:lnTo>
                  <a:close/>
                  <a:moveTo>
                    <a:pt x="14" y="85"/>
                  </a:moveTo>
                  <a:lnTo>
                    <a:pt x="14" y="85"/>
                  </a:lnTo>
                  <a:lnTo>
                    <a:pt x="14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15" y="85"/>
                  </a:moveTo>
                  <a:lnTo>
                    <a:pt x="15" y="85"/>
                  </a:lnTo>
                  <a:lnTo>
                    <a:pt x="15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22" y="85"/>
                  </a:moveTo>
                  <a:lnTo>
                    <a:pt x="22" y="85"/>
                  </a:lnTo>
                  <a:lnTo>
                    <a:pt x="22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2" y="85"/>
                  </a:moveTo>
                  <a:lnTo>
                    <a:pt x="13" y="85"/>
                  </a:lnTo>
                  <a:lnTo>
                    <a:pt x="12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52" y="85"/>
                  </a:moveTo>
                  <a:lnTo>
                    <a:pt x="52" y="85"/>
                  </a:lnTo>
                  <a:lnTo>
                    <a:pt x="52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54" y="85"/>
                  </a:moveTo>
                  <a:lnTo>
                    <a:pt x="53" y="85"/>
                  </a:lnTo>
                  <a:lnTo>
                    <a:pt x="5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3" y="85"/>
                  </a:moveTo>
                  <a:lnTo>
                    <a:pt x="13" y="85"/>
                  </a:lnTo>
                  <a:lnTo>
                    <a:pt x="13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0" y="85"/>
                  </a:move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8" y="85"/>
                  </a:moveTo>
                  <a:lnTo>
                    <a:pt x="7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8" y="85"/>
                  </a:moveTo>
                  <a:lnTo>
                    <a:pt x="28" y="85"/>
                  </a:lnTo>
                  <a:lnTo>
                    <a:pt x="28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5" y="84"/>
                  </a:lnTo>
                  <a:lnTo>
                    <a:pt x="16" y="85"/>
                  </a:lnTo>
                  <a:close/>
                  <a:moveTo>
                    <a:pt x="21" y="85"/>
                  </a:moveTo>
                  <a:lnTo>
                    <a:pt x="21" y="84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10" y="85"/>
                  </a:moveTo>
                  <a:lnTo>
                    <a:pt x="10" y="84"/>
                  </a:lnTo>
                  <a:lnTo>
                    <a:pt x="10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6" y="85"/>
                  </a:moveTo>
                  <a:lnTo>
                    <a:pt x="26" y="84"/>
                  </a:lnTo>
                  <a:lnTo>
                    <a:pt x="26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62" y="85"/>
                  </a:moveTo>
                  <a:lnTo>
                    <a:pt x="62" y="84"/>
                  </a:lnTo>
                  <a:lnTo>
                    <a:pt x="62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28" y="85"/>
                  </a:moveTo>
                  <a:lnTo>
                    <a:pt x="28" y="84"/>
                  </a:lnTo>
                  <a:lnTo>
                    <a:pt x="28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4" y="84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4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21" y="84"/>
                  </a:moveTo>
                  <a:lnTo>
                    <a:pt x="21" y="85"/>
                  </a:lnTo>
                  <a:lnTo>
                    <a:pt x="21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12" y="85"/>
                  </a:move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0" y="84"/>
                  </a:moveTo>
                  <a:lnTo>
                    <a:pt x="19" y="84"/>
                  </a:lnTo>
                  <a:lnTo>
                    <a:pt x="20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9" y="85"/>
                  </a:move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49" y="85"/>
                  </a:moveTo>
                  <a:lnTo>
                    <a:pt x="49" y="84"/>
                  </a:lnTo>
                  <a:lnTo>
                    <a:pt x="49" y="85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58" y="84"/>
                  </a:moveTo>
                  <a:lnTo>
                    <a:pt x="58" y="84"/>
                  </a:lnTo>
                  <a:lnTo>
                    <a:pt x="58" y="84"/>
                  </a:lnTo>
                  <a:close/>
                  <a:moveTo>
                    <a:pt x="57" y="84"/>
                  </a:moveTo>
                  <a:lnTo>
                    <a:pt x="57" y="84"/>
                  </a:lnTo>
                  <a:lnTo>
                    <a:pt x="57" y="84"/>
                  </a:lnTo>
                  <a:close/>
                  <a:moveTo>
                    <a:pt x="10" y="84"/>
                  </a:moveTo>
                  <a:lnTo>
                    <a:pt x="10" y="84"/>
                  </a:lnTo>
                  <a:lnTo>
                    <a:pt x="10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9" y="84"/>
                  </a:moveTo>
                  <a:lnTo>
                    <a:pt x="19" y="84"/>
                  </a:lnTo>
                  <a:lnTo>
                    <a:pt x="19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54" y="84"/>
                  </a:moveTo>
                  <a:lnTo>
                    <a:pt x="54" y="84"/>
                  </a:lnTo>
                  <a:lnTo>
                    <a:pt x="54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4" y="84"/>
                  </a:lnTo>
                  <a:lnTo>
                    <a:pt x="13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23" y="84"/>
                  </a:moveTo>
                  <a:lnTo>
                    <a:pt x="22" y="84"/>
                  </a:lnTo>
                  <a:lnTo>
                    <a:pt x="23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2" y="84"/>
                  </a:moveTo>
                  <a:lnTo>
                    <a:pt x="1" y="84"/>
                  </a:lnTo>
                  <a:lnTo>
                    <a:pt x="2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15" y="84"/>
                  </a:moveTo>
                  <a:lnTo>
                    <a:pt x="15" y="84"/>
                  </a:lnTo>
                  <a:lnTo>
                    <a:pt x="15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8" y="84"/>
                  </a:moveTo>
                  <a:lnTo>
                    <a:pt x="17" y="84"/>
                  </a:lnTo>
                  <a:lnTo>
                    <a:pt x="18" y="84"/>
                  </a:lnTo>
                  <a:close/>
                  <a:moveTo>
                    <a:pt x="28" y="84"/>
                  </a:moveTo>
                  <a:lnTo>
                    <a:pt x="29" y="84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55" y="84"/>
                  </a:moveTo>
                  <a:lnTo>
                    <a:pt x="54" y="84"/>
                  </a:lnTo>
                  <a:lnTo>
                    <a:pt x="55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3"/>
                  </a:moveTo>
                  <a:lnTo>
                    <a:pt x="8" y="84"/>
                  </a:lnTo>
                  <a:lnTo>
                    <a:pt x="8" y="83"/>
                  </a:lnTo>
                  <a:close/>
                  <a:moveTo>
                    <a:pt x="16" y="83"/>
                  </a:moveTo>
                  <a:lnTo>
                    <a:pt x="16" y="84"/>
                  </a:lnTo>
                  <a:lnTo>
                    <a:pt x="16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9" y="84"/>
                  </a:moveTo>
                  <a:lnTo>
                    <a:pt x="19" y="83"/>
                  </a:lnTo>
                  <a:lnTo>
                    <a:pt x="19" y="84"/>
                  </a:lnTo>
                  <a:close/>
                  <a:moveTo>
                    <a:pt x="4" y="83"/>
                  </a:moveTo>
                  <a:lnTo>
                    <a:pt x="4" y="84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15" y="84"/>
                  </a:moveTo>
                  <a:lnTo>
                    <a:pt x="15" y="83"/>
                  </a:lnTo>
                  <a:lnTo>
                    <a:pt x="15" y="84"/>
                  </a:lnTo>
                  <a:close/>
                  <a:moveTo>
                    <a:pt x="62" y="83"/>
                  </a:moveTo>
                  <a:lnTo>
                    <a:pt x="62" y="84"/>
                  </a:lnTo>
                  <a:lnTo>
                    <a:pt x="62" y="83"/>
                  </a:lnTo>
                  <a:close/>
                  <a:moveTo>
                    <a:pt x="54" y="84"/>
                  </a:moveTo>
                  <a:lnTo>
                    <a:pt x="54" y="83"/>
                  </a:lnTo>
                  <a:lnTo>
                    <a:pt x="54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62" y="84"/>
                  </a:moveTo>
                  <a:lnTo>
                    <a:pt x="62" y="83"/>
                  </a:lnTo>
                  <a:lnTo>
                    <a:pt x="62" y="84"/>
                  </a:lnTo>
                  <a:close/>
                  <a:moveTo>
                    <a:pt x="2" y="84"/>
                  </a:moveTo>
                  <a:lnTo>
                    <a:pt x="2" y="83"/>
                  </a:lnTo>
                  <a:lnTo>
                    <a:pt x="2" y="84"/>
                  </a:lnTo>
                  <a:close/>
                  <a:moveTo>
                    <a:pt x="13" y="83"/>
                  </a:moveTo>
                  <a:lnTo>
                    <a:pt x="13" y="84"/>
                  </a:lnTo>
                  <a:lnTo>
                    <a:pt x="13" y="83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21" y="84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9" y="84"/>
                  </a:moveTo>
                  <a:lnTo>
                    <a:pt x="8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4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11" y="83"/>
                  </a:moveTo>
                  <a:lnTo>
                    <a:pt x="10" y="83"/>
                  </a:lnTo>
                  <a:lnTo>
                    <a:pt x="11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51" y="83"/>
                  </a:moveTo>
                  <a:lnTo>
                    <a:pt x="50" y="83"/>
                  </a:lnTo>
                  <a:lnTo>
                    <a:pt x="51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4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close/>
                  <a:moveTo>
                    <a:pt x="18" y="83"/>
                  </a:moveTo>
                  <a:lnTo>
                    <a:pt x="19" y="83"/>
                  </a:lnTo>
                  <a:lnTo>
                    <a:pt x="18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65" y="83"/>
                  </a:moveTo>
                  <a:lnTo>
                    <a:pt x="64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22" y="83"/>
                  </a:moveTo>
                  <a:lnTo>
                    <a:pt x="21" y="83"/>
                  </a:lnTo>
                  <a:lnTo>
                    <a:pt x="22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1" y="83"/>
                  </a:moveTo>
                  <a:lnTo>
                    <a:pt x="11" y="83"/>
                  </a:lnTo>
                  <a:lnTo>
                    <a:pt x="11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58" y="83"/>
                  </a:moveTo>
                  <a:lnTo>
                    <a:pt x="58" y="83"/>
                  </a:lnTo>
                  <a:lnTo>
                    <a:pt x="5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5" y="83"/>
                  </a:move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64" y="83"/>
                  </a:moveTo>
                  <a:lnTo>
                    <a:pt x="64" y="83"/>
                  </a:lnTo>
                  <a:lnTo>
                    <a:pt x="64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4" y="83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7" y="83"/>
                  </a:moveTo>
                  <a:lnTo>
                    <a:pt x="18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27" y="83"/>
                  </a:moveTo>
                  <a:lnTo>
                    <a:pt x="26" y="83"/>
                  </a:lnTo>
                  <a:lnTo>
                    <a:pt x="2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7" y="83"/>
                  </a:moveTo>
                  <a:lnTo>
                    <a:pt x="8" y="83"/>
                  </a:lnTo>
                  <a:lnTo>
                    <a:pt x="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2" y="83"/>
                  </a:moveTo>
                  <a:lnTo>
                    <a:pt x="11" y="83"/>
                  </a:lnTo>
                  <a:lnTo>
                    <a:pt x="12" y="83"/>
                  </a:lnTo>
                  <a:close/>
                  <a:moveTo>
                    <a:pt x="10" y="83"/>
                  </a:moveTo>
                  <a:lnTo>
                    <a:pt x="9" y="83"/>
                  </a:lnTo>
                  <a:lnTo>
                    <a:pt x="10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21" y="82"/>
                  </a:moveTo>
                  <a:lnTo>
                    <a:pt x="21" y="83"/>
                  </a:lnTo>
                  <a:lnTo>
                    <a:pt x="21" y="82"/>
                  </a:lnTo>
                  <a:close/>
                  <a:moveTo>
                    <a:pt x="66" y="83"/>
                  </a:moveTo>
                  <a:lnTo>
                    <a:pt x="66" y="82"/>
                  </a:lnTo>
                  <a:lnTo>
                    <a:pt x="66" y="83"/>
                  </a:lnTo>
                  <a:close/>
                  <a:moveTo>
                    <a:pt x="15" y="83"/>
                  </a:move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8" y="82"/>
                  </a:lnTo>
                  <a:lnTo>
                    <a:pt x="9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close/>
                  <a:moveTo>
                    <a:pt x="12" y="83"/>
                  </a:moveTo>
                  <a:lnTo>
                    <a:pt x="12" y="82"/>
                  </a:lnTo>
                  <a:lnTo>
                    <a:pt x="12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54" y="83"/>
                  </a:moveTo>
                  <a:lnTo>
                    <a:pt x="54" y="82"/>
                  </a:lnTo>
                  <a:lnTo>
                    <a:pt x="54" y="83"/>
                  </a:lnTo>
                  <a:close/>
                  <a:moveTo>
                    <a:pt x="11" y="83"/>
                  </a:moveTo>
                  <a:lnTo>
                    <a:pt x="11" y="82"/>
                  </a:lnTo>
                  <a:lnTo>
                    <a:pt x="11" y="83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6" y="83"/>
                  </a:moveTo>
                  <a:lnTo>
                    <a:pt x="56" y="82"/>
                  </a:lnTo>
                  <a:lnTo>
                    <a:pt x="56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9" y="83"/>
                  </a:moveTo>
                  <a:lnTo>
                    <a:pt x="19" y="82"/>
                  </a:lnTo>
                  <a:lnTo>
                    <a:pt x="19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3" y="83"/>
                  </a:moveTo>
                  <a:lnTo>
                    <a:pt x="3" y="82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7" y="82"/>
                  </a:moveTo>
                  <a:lnTo>
                    <a:pt x="7" y="83"/>
                  </a:lnTo>
                  <a:lnTo>
                    <a:pt x="7" y="82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59" y="82"/>
                  </a:moveTo>
                  <a:lnTo>
                    <a:pt x="59" y="83"/>
                  </a:lnTo>
                  <a:lnTo>
                    <a:pt x="59" y="82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20" y="83"/>
                  </a:moveTo>
                  <a:lnTo>
                    <a:pt x="20" y="82"/>
                  </a:lnTo>
                  <a:lnTo>
                    <a:pt x="20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2"/>
                  </a:lnTo>
                  <a:close/>
                  <a:moveTo>
                    <a:pt x="16" y="83"/>
                  </a:moveTo>
                  <a:lnTo>
                    <a:pt x="16" y="82"/>
                  </a:lnTo>
                  <a:lnTo>
                    <a:pt x="16" y="83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10" y="82"/>
                  </a:moveTo>
                  <a:lnTo>
                    <a:pt x="10" y="83"/>
                  </a:lnTo>
                  <a:lnTo>
                    <a:pt x="10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5" y="82"/>
                  </a:moveTo>
                  <a:lnTo>
                    <a:pt x="55" y="83"/>
                  </a:lnTo>
                  <a:lnTo>
                    <a:pt x="55" y="82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7" y="82"/>
                  </a:lnTo>
                  <a:close/>
                  <a:moveTo>
                    <a:pt x="15" y="83"/>
                  </a:moveTo>
                  <a:lnTo>
                    <a:pt x="14" y="82"/>
                  </a:ln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12" y="82"/>
                  </a:moveTo>
                  <a:lnTo>
                    <a:pt x="12" y="82"/>
                  </a:lnTo>
                  <a:lnTo>
                    <a:pt x="12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8" y="82"/>
                  </a:moveTo>
                  <a:lnTo>
                    <a:pt x="9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19" y="82"/>
                  </a:moveTo>
                  <a:lnTo>
                    <a:pt x="18" y="82"/>
                  </a:lnTo>
                  <a:lnTo>
                    <a:pt x="1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13" y="82"/>
                  </a:moveTo>
                  <a:lnTo>
                    <a:pt x="14" y="82"/>
                  </a:lnTo>
                  <a:lnTo>
                    <a:pt x="13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58" y="82"/>
                  </a:move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5" y="82"/>
                  </a:lnTo>
                  <a:lnTo>
                    <a:pt x="64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60" y="82"/>
                  </a:moveTo>
                  <a:lnTo>
                    <a:pt x="59" y="82"/>
                  </a:lnTo>
                  <a:lnTo>
                    <a:pt x="60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56" y="82"/>
                  </a:moveTo>
                  <a:lnTo>
                    <a:pt x="56" y="82"/>
                  </a:lnTo>
                  <a:lnTo>
                    <a:pt x="5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2"/>
                  </a:lnTo>
                  <a:lnTo>
                    <a:pt x="67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4" y="82"/>
                  </a:lnTo>
                  <a:close/>
                  <a:moveTo>
                    <a:pt x="21" y="82"/>
                  </a:moveTo>
                  <a:lnTo>
                    <a:pt x="21" y="82"/>
                  </a:lnTo>
                  <a:lnTo>
                    <a:pt x="21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1" y="82"/>
                  </a:moveTo>
                  <a:lnTo>
                    <a:pt x="11" y="82"/>
                  </a:lnTo>
                  <a:lnTo>
                    <a:pt x="11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5" y="82"/>
                  </a:moveTo>
                  <a:lnTo>
                    <a:pt x="6" y="82"/>
                  </a:lnTo>
                  <a:lnTo>
                    <a:pt x="5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7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10" y="82"/>
                  </a:moveTo>
                  <a:lnTo>
                    <a:pt x="9" y="82"/>
                  </a:lnTo>
                  <a:lnTo>
                    <a:pt x="10" y="82"/>
                  </a:lnTo>
                  <a:close/>
                  <a:moveTo>
                    <a:pt x="8" y="81"/>
                  </a:moveTo>
                  <a:lnTo>
                    <a:pt x="8" y="82"/>
                  </a:lnTo>
                  <a:lnTo>
                    <a:pt x="8" y="81"/>
                  </a:lnTo>
                  <a:close/>
                  <a:moveTo>
                    <a:pt x="60" y="82"/>
                  </a:moveTo>
                  <a:lnTo>
                    <a:pt x="60" y="81"/>
                  </a:lnTo>
                  <a:lnTo>
                    <a:pt x="60" y="82"/>
                  </a:lnTo>
                  <a:close/>
                  <a:moveTo>
                    <a:pt x="8" y="82"/>
                  </a:moveTo>
                  <a:lnTo>
                    <a:pt x="8" y="81"/>
                  </a:lnTo>
                  <a:lnTo>
                    <a:pt x="8" y="82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17" y="81"/>
                  </a:moveTo>
                  <a:lnTo>
                    <a:pt x="17" y="82"/>
                  </a:lnTo>
                  <a:lnTo>
                    <a:pt x="17" y="81"/>
                  </a:lnTo>
                  <a:close/>
                  <a:moveTo>
                    <a:pt x="63" y="82"/>
                  </a:moveTo>
                  <a:lnTo>
                    <a:pt x="63" y="81"/>
                  </a:lnTo>
                  <a:lnTo>
                    <a:pt x="63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6" y="81"/>
                  </a:lnTo>
                  <a:lnTo>
                    <a:pt x="67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8" y="82"/>
                  </a:moveTo>
                  <a:lnTo>
                    <a:pt x="18" y="81"/>
                  </a:lnTo>
                  <a:lnTo>
                    <a:pt x="18" y="82"/>
                  </a:lnTo>
                  <a:close/>
                  <a:moveTo>
                    <a:pt x="64" y="81"/>
                  </a:move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1" y="81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4" y="81"/>
                  </a:move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4" y="81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16" y="81"/>
                  </a:moveTo>
                  <a:lnTo>
                    <a:pt x="16" y="81"/>
                  </a:lnTo>
                  <a:lnTo>
                    <a:pt x="16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2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61" y="81"/>
                  </a:moveTo>
                  <a:lnTo>
                    <a:pt x="62" y="81"/>
                  </a:lnTo>
                  <a:lnTo>
                    <a:pt x="61" y="81"/>
                  </a:lnTo>
                  <a:close/>
                  <a:moveTo>
                    <a:pt x="8" y="81"/>
                  </a:moveTo>
                  <a:lnTo>
                    <a:pt x="8" y="81"/>
                  </a:lnTo>
                  <a:lnTo>
                    <a:pt x="8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0" y="81"/>
                  </a:moveTo>
                  <a:lnTo>
                    <a:pt x="9" y="81"/>
                  </a:lnTo>
                  <a:lnTo>
                    <a:pt x="10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2" y="81"/>
                  </a:moveTo>
                  <a:lnTo>
                    <a:pt x="12" y="81"/>
                  </a:lnTo>
                  <a:lnTo>
                    <a:pt x="12" y="81"/>
                  </a:lnTo>
                  <a:close/>
                  <a:moveTo>
                    <a:pt x="66" y="81"/>
                  </a:move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64" y="81"/>
                  </a:moveTo>
                  <a:lnTo>
                    <a:pt x="64" y="81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0" y="81"/>
                  </a:moveTo>
                  <a:lnTo>
                    <a:pt x="10" y="81"/>
                  </a:lnTo>
                  <a:lnTo>
                    <a:pt x="1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3" y="81"/>
                  </a:moveTo>
                  <a:lnTo>
                    <a:pt x="13" y="80"/>
                  </a:lnTo>
                  <a:lnTo>
                    <a:pt x="13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68" y="81"/>
                  </a:moveTo>
                  <a:lnTo>
                    <a:pt x="68" y="80"/>
                  </a:lnTo>
                  <a:lnTo>
                    <a:pt x="68" y="81"/>
                  </a:lnTo>
                  <a:close/>
                  <a:moveTo>
                    <a:pt x="20" y="81"/>
                  </a:moveTo>
                  <a:lnTo>
                    <a:pt x="20" y="80"/>
                  </a:lnTo>
                  <a:lnTo>
                    <a:pt x="20" y="81"/>
                  </a:lnTo>
                  <a:close/>
                  <a:moveTo>
                    <a:pt x="13" y="80"/>
                  </a:moveTo>
                  <a:lnTo>
                    <a:pt x="13" y="81"/>
                  </a:lnTo>
                  <a:lnTo>
                    <a:pt x="13" y="80"/>
                  </a:lnTo>
                  <a:close/>
                  <a:moveTo>
                    <a:pt x="15" y="81"/>
                  </a:moveTo>
                  <a:lnTo>
                    <a:pt x="15" y="80"/>
                  </a:lnTo>
                  <a:lnTo>
                    <a:pt x="15" y="81"/>
                  </a:lnTo>
                  <a:close/>
                  <a:moveTo>
                    <a:pt x="14" y="81"/>
                  </a:moveTo>
                  <a:lnTo>
                    <a:pt x="14" y="80"/>
                  </a:lnTo>
                  <a:lnTo>
                    <a:pt x="14" y="81"/>
                  </a:lnTo>
                  <a:close/>
                  <a:moveTo>
                    <a:pt x="12" y="80"/>
                  </a:moveTo>
                  <a:lnTo>
                    <a:pt x="12" y="81"/>
                  </a:lnTo>
                  <a:lnTo>
                    <a:pt x="12" y="80"/>
                  </a:lnTo>
                  <a:close/>
                  <a:moveTo>
                    <a:pt x="16" y="81"/>
                  </a:moveTo>
                  <a:lnTo>
                    <a:pt x="16" y="80"/>
                  </a:lnTo>
                  <a:lnTo>
                    <a:pt x="16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9" y="81"/>
                  </a:moveTo>
                  <a:lnTo>
                    <a:pt x="19" y="80"/>
                  </a:lnTo>
                  <a:lnTo>
                    <a:pt x="19" y="81"/>
                  </a:lnTo>
                  <a:close/>
                  <a:moveTo>
                    <a:pt x="17" y="80"/>
                  </a:moveTo>
                  <a:lnTo>
                    <a:pt x="17" y="80"/>
                  </a:lnTo>
                  <a:lnTo>
                    <a:pt x="17" y="80"/>
                  </a:lnTo>
                  <a:close/>
                  <a:moveTo>
                    <a:pt x="15" y="80"/>
                  </a:moveTo>
                  <a:lnTo>
                    <a:pt x="14" y="80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5" y="80"/>
                  </a:lnTo>
                  <a:lnTo>
                    <a:pt x="16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3" y="80"/>
                  </a:moveTo>
                  <a:lnTo>
                    <a:pt x="13" y="79"/>
                  </a:lnTo>
                  <a:lnTo>
                    <a:pt x="13" y="80"/>
                  </a:lnTo>
                  <a:close/>
                  <a:moveTo>
                    <a:pt x="15" y="80"/>
                  </a:moveTo>
                  <a:lnTo>
                    <a:pt x="15" y="79"/>
                  </a:lnTo>
                  <a:lnTo>
                    <a:pt x="15" y="80"/>
                  </a:lnTo>
                  <a:close/>
                  <a:moveTo>
                    <a:pt x="20" y="79"/>
                  </a:moveTo>
                  <a:lnTo>
                    <a:pt x="20" y="80"/>
                  </a:lnTo>
                  <a:lnTo>
                    <a:pt x="20" y="79"/>
                  </a:lnTo>
                  <a:close/>
                  <a:moveTo>
                    <a:pt x="13" y="79"/>
                  </a:moveTo>
                  <a:lnTo>
                    <a:pt x="12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5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7" y="79"/>
                  </a:lnTo>
                  <a:lnTo>
                    <a:pt x="17" y="79"/>
                  </a:lnTo>
                  <a:close/>
                  <a:moveTo>
                    <a:pt x="16" y="79"/>
                  </a:moveTo>
                  <a:lnTo>
                    <a:pt x="15" y="79"/>
                  </a:lnTo>
                  <a:lnTo>
                    <a:pt x="16" y="79"/>
                  </a:lnTo>
                  <a:close/>
                  <a:moveTo>
                    <a:pt x="15" y="79"/>
                  </a:moveTo>
                  <a:lnTo>
                    <a:pt x="15" y="79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5" y="78"/>
                  </a:lnTo>
                  <a:lnTo>
                    <a:pt x="15" y="79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5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6" y="77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7"/>
                  </a:lnTo>
                  <a:lnTo>
                    <a:pt x="17" y="78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5" y="77"/>
                  </a:lnTo>
                  <a:lnTo>
                    <a:pt x="16" y="77"/>
                  </a:lnTo>
                  <a:close/>
                  <a:moveTo>
                    <a:pt x="17" y="77"/>
                  </a:moveTo>
                  <a:lnTo>
                    <a:pt x="16" y="77"/>
                  </a:lnTo>
                  <a:lnTo>
                    <a:pt x="17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6"/>
                  </a:lnTo>
                  <a:lnTo>
                    <a:pt x="16" y="77"/>
                  </a:lnTo>
                  <a:close/>
                  <a:moveTo>
                    <a:pt x="16" y="76"/>
                  </a:moveTo>
                  <a:lnTo>
                    <a:pt x="16" y="77"/>
                  </a:lnTo>
                  <a:lnTo>
                    <a:pt x="16" y="76"/>
                  </a:lnTo>
                  <a:close/>
                  <a:moveTo>
                    <a:pt x="17" y="76"/>
                  </a:moveTo>
                  <a:lnTo>
                    <a:pt x="17" y="75"/>
                  </a:lnTo>
                  <a:lnTo>
                    <a:pt x="17" y="76"/>
                  </a:lnTo>
                  <a:close/>
                  <a:moveTo>
                    <a:pt x="15" y="75"/>
                  </a:moveTo>
                  <a:lnTo>
                    <a:pt x="16" y="75"/>
                  </a:lnTo>
                  <a:lnTo>
                    <a:pt x="15" y="75"/>
                  </a:lnTo>
                  <a:close/>
                  <a:moveTo>
                    <a:pt x="15" y="76"/>
                  </a:moveTo>
                  <a:lnTo>
                    <a:pt x="15" y="75"/>
                  </a:lnTo>
                  <a:lnTo>
                    <a:pt x="15" y="76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5" y="75"/>
                  </a:lnTo>
                  <a:lnTo>
                    <a:pt x="16" y="75"/>
                  </a:lnTo>
                  <a:close/>
                  <a:moveTo>
                    <a:pt x="15" y="74"/>
                  </a:moveTo>
                  <a:lnTo>
                    <a:pt x="15" y="75"/>
                  </a:lnTo>
                  <a:lnTo>
                    <a:pt x="15" y="74"/>
                  </a:lnTo>
                  <a:close/>
                  <a:moveTo>
                    <a:pt x="16" y="74"/>
                  </a:moveTo>
                  <a:lnTo>
                    <a:pt x="15" y="74"/>
                  </a:lnTo>
                  <a:lnTo>
                    <a:pt x="16" y="74"/>
                  </a:lnTo>
                  <a:close/>
                  <a:moveTo>
                    <a:pt x="16" y="73"/>
                  </a:moveTo>
                  <a:lnTo>
                    <a:pt x="16" y="73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6" y="73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3"/>
                  </a:lnTo>
                  <a:lnTo>
                    <a:pt x="17" y="73"/>
                  </a:lnTo>
                  <a:close/>
                  <a:moveTo>
                    <a:pt x="16" y="73"/>
                  </a:moveTo>
                  <a:lnTo>
                    <a:pt x="16" y="72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2"/>
                  </a:moveTo>
                  <a:lnTo>
                    <a:pt x="17" y="73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1"/>
                  </a:lnTo>
                  <a:lnTo>
                    <a:pt x="17" y="72"/>
                  </a:lnTo>
                  <a:close/>
                  <a:moveTo>
                    <a:pt x="18" y="72"/>
                  </a:moveTo>
                  <a:lnTo>
                    <a:pt x="18" y="71"/>
                  </a:lnTo>
                  <a:lnTo>
                    <a:pt x="18" y="72"/>
                  </a:lnTo>
                  <a:close/>
                  <a:moveTo>
                    <a:pt x="17" y="71"/>
                  </a:moveTo>
                  <a:lnTo>
                    <a:pt x="17" y="71"/>
                  </a:lnTo>
                  <a:lnTo>
                    <a:pt x="17" y="71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6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70"/>
                  </a:moveTo>
                  <a:lnTo>
                    <a:pt x="16" y="69"/>
                  </a:lnTo>
                  <a:lnTo>
                    <a:pt x="16" y="70"/>
                  </a:lnTo>
                  <a:close/>
                  <a:moveTo>
                    <a:pt x="17" y="69"/>
                  </a:moveTo>
                  <a:lnTo>
                    <a:pt x="18" y="69"/>
                  </a:lnTo>
                  <a:lnTo>
                    <a:pt x="17" y="69"/>
                  </a:lnTo>
                  <a:close/>
                  <a:moveTo>
                    <a:pt x="16" y="69"/>
                  </a:moveTo>
                  <a:lnTo>
                    <a:pt x="16" y="69"/>
                  </a:lnTo>
                  <a:lnTo>
                    <a:pt x="16" y="69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6" y="69"/>
                  </a:lnTo>
                  <a:close/>
                  <a:moveTo>
                    <a:pt x="17" y="68"/>
                  </a:moveTo>
                  <a:lnTo>
                    <a:pt x="17" y="68"/>
                  </a:lnTo>
                  <a:lnTo>
                    <a:pt x="17" y="68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7"/>
                  </a:lnTo>
                  <a:close/>
                  <a:moveTo>
                    <a:pt x="16" y="67"/>
                  </a:moveTo>
                  <a:lnTo>
                    <a:pt x="17" y="67"/>
                  </a:lnTo>
                  <a:lnTo>
                    <a:pt x="16" y="67"/>
                  </a:lnTo>
                  <a:close/>
                  <a:moveTo>
                    <a:pt x="19" y="67"/>
                  </a:moveTo>
                  <a:lnTo>
                    <a:pt x="19" y="66"/>
                  </a:lnTo>
                  <a:lnTo>
                    <a:pt x="19" y="67"/>
                  </a:lnTo>
                  <a:close/>
                  <a:moveTo>
                    <a:pt x="17" y="66"/>
                  </a:moveTo>
                  <a:lnTo>
                    <a:pt x="16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6" y="66"/>
                  </a:lnTo>
                  <a:lnTo>
                    <a:pt x="16" y="66"/>
                  </a:lnTo>
                  <a:close/>
                  <a:moveTo>
                    <a:pt x="17" y="66"/>
                  </a:moveTo>
                  <a:lnTo>
                    <a:pt x="18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5"/>
                  </a:lnTo>
                  <a:lnTo>
                    <a:pt x="17" y="66"/>
                  </a:lnTo>
                  <a:close/>
                  <a:moveTo>
                    <a:pt x="18" y="65"/>
                  </a:moveTo>
                  <a:lnTo>
                    <a:pt x="17" y="65"/>
                  </a:lnTo>
                  <a:lnTo>
                    <a:pt x="18" y="65"/>
                  </a:lnTo>
                  <a:close/>
                  <a:moveTo>
                    <a:pt x="17" y="64"/>
                  </a:moveTo>
                  <a:lnTo>
                    <a:pt x="17" y="65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7" y="63"/>
                  </a:moveTo>
                  <a:lnTo>
                    <a:pt x="17" y="64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7" y="62"/>
                  </a:lnTo>
                  <a:lnTo>
                    <a:pt x="17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1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8"/>
                  </a:lnTo>
                  <a:lnTo>
                    <a:pt x="17" y="59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5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6"/>
                  </a:lnTo>
                  <a:lnTo>
                    <a:pt x="16" y="57"/>
                  </a:lnTo>
                  <a:close/>
                  <a:moveTo>
                    <a:pt x="15" y="57"/>
                  </a:moveTo>
                  <a:lnTo>
                    <a:pt x="15" y="56"/>
                  </a:lnTo>
                  <a:lnTo>
                    <a:pt x="15" y="57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5" y="52"/>
                  </a:moveTo>
                  <a:lnTo>
                    <a:pt x="14" y="52"/>
                  </a:lnTo>
                  <a:lnTo>
                    <a:pt x="15" y="52"/>
                  </a:lnTo>
                  <a:close/>
                  <a:moveTo>
                    <a:pt x="15" y="52"/>
                  </a:moveTo>
                  <a:lnTo>
                    <a:pt x="15" y="52"/>
                  </a:lnTo>
                  <a:lnTo>
                    <a:pt x="15" y="52"/>
                  </a:lnTo>
                  <a:close/>
                  <a:moveTo>
                    <a:pt x="15" y="50"/>
                  </a:moveTo>
                  <a:lnTo>
                    <a:pt x="15" y="51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0"/>
                  </a:lnTo>
                  <a:close/>
                  <a:moveTo>
                    <a:pt x="16" y="50"/>
                  </a:moveTo>
                  <a:lnTo>
                    <a:pt x="16" y="49"/>
                  </a:lnTo>
                  <a:lnTo>
                    <a:pt x="16" y="50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6" y="49"/>
                  </a:moveTo>
                  <a:lnTo>
                    <a:pt x="16" y="49"/>
                  </a:lnTo>
                  <a:lnTo>
                    <a:pt x="16" y="49"/>
                  </a:lnTo>
                  <a:close/>
                  <a:moveTo>
                    <a:pt x="13" y="49"/>
                  </a:moveTo>
                  <a:lnTo>
                    <a:pt x="12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3" y="49"/>
                  </a:lnTo>
                  <a:lnTo>
                    <a:pt x="13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7" y="48"/>
                  </a:lnTo>
                  <a:lnTo>
                    <a:pt x="17" y="49"/>
                  </a:lnTo>
                  <a:close/>
                  <a:moveTo>
                    <a:pt x="12" y="49"/>
                  </a:moveTo>
                  <a:lnTo>
                    <a:pt x="12" y="48"/>
                  </a:lnTo>
                  <a:lnTo>
                    <a:pt x="12" y="49"/>
                  </a:lnTo>
                  <a:close/>
                  <a:moveTo>
                    <a:pt x="13" y="49"/>
                  </a:moveTo>
                  <a:lnTo>
                    <a:pt x="13" y="48"/>
                  </a:lnTo>
                  <a:lnTo>
                    <a:pt x="13" y="49"/>
                  </a:lnTo>
                  <a:close/>
                  <a:moveTo>
                    <a:pt x="16" y="48"/>
                  </a:moveTo>
                  <a:lnTo>
                    <a:pt x="16" y="49"/>
                  </a:lnTo>
                  <a:lnTo>
                    <a:pt x="16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7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8"/>
                  </a:moveTo>
                  <a:lnTo>
                    <a:pt x="14" y="48"/>
                  </a:lnTo>
                  <a:lnTo>
                    <a:pt x="15" y="48"/>
                  </a:lnTo>
                  <a:close/>
                  <a:moveTo>
                    <a:pt x="12" y="47"/>
                  </a:moveTo>
                  <a:lnTo>
                    <a:pt x="12" y="48"/>
                  </a:lnTo>
                  <a:lnTo>
                    <a:pt x="12" y="47"/>
                  </a:lnTo>
                  <a:close/>
                  <a:moveTo>
                    <a:pt x="16" y="47"/>
                  </a:moveTo>
                  <a:lnTo>
                    <a:pt x="15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6" y="47"/>
                  </a:moveTo>
                  <a:lnTo>
                    <a:pt x="16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6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6" y="46"/>
                  </a:move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6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6" y="46"/>
                  </a:moveTo>
                  <a:lnTo>
                    <a:pt x="17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5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6"/>
                  </a:lnTo>
                  <a:lnTo>
                    <a:pt x="15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21" y="45"/>
                  </a:moveTo>
                  <a:lnTo>
                    <a:pt x="21" y="46"/>
                  </a:lnTo>
                  <a:lnTo>
                    <a:pt x="21" y="45"/>
                  </a:lnTo>
                  <a:close/>
                  <a:moveTo>
                    <a:pt x="18" y="46"/>
                  </a:moveTo>
                  <a:lnTo>
                    <a:pt x="18" y="45"/>
                  </a:lnTo>
                  <a:lnTo>
                    <a:pt x="18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5" y="45"/>
                  </a:lnTo>
                  <a:lnTo>
                    <a:pt x="15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9" y="45"/>
                  </a:moveTo>
                  <a:lnTo>
                    <a:pt x="18" y="45"/>
                  </a:lnTo>
                  <a:lnTo>
                    <a:pt x="19" y="45"/>
                  </a:lnTo>
                  <a:close/>
                  <a:moveTo>
                    <a:pt x="20" y="45"/>
                  </a:moveTo>
                  <a:lnTo>
                    <a:pt x="21" y="45"/>
                  </a:lnTo>
                  <a:lnTo>
                    <a:pt x="20" y="45"/>
                  </a:lnTo>
                  <a:close/>
                  <a:moveTo>
                    <a:pt x="21" y="45"/>
                  </a:moveTo>
                  <a:lnTo>
                    <a:pt x="20" y="45"/>
                  </a:lnTo>
                  <a:lnTo>
                    <a:pt x="21" y="45"/>
                  </a:lnTo>
                  <a:close/>
                  <a:moveTo>
                    <a:pt x="16" y="45"/>
                  </a:moveTo>
                  <a:lnTo>
                    <a:pt x="16" y="44"/>
                  </a:lnTo>
                  <a:lnTo>
                    <a:pt x="16" y="45"/>
                  </a:lnTo>
                  <a:close/>
                  <a:moveTo>
                    <a:pt x="23" y="44"/>
                  </a:moveTo>
                  <a:lnTo>
                    <a:pt x="23" y="45"/>
                  </a:lnTo>
                  <a:lnTo>
                    <a:pt x="23" y="44"/>
                  </a:lnTo>
                  <a:close/>
                  <a:moveTo>
                    <a:pt x="20" y="44"/>
                  </a:moveTo>
                  <a:lnTo>
                    <a:pt x="20" y="45"/>
                  </a:lnTo>
                  <a:lnTo>
                    <a:pt x="20" y="44"/>
                  </a:lnTo>
                  <a:close/>
                  <a:moveTo>
                    <a:pt x="24" y="45"/>
                  </a:moveTo>
                  <a:lnTo>
                    <a:pt x="24" y="44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4" y="45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23" y="44"/>
                  </a:moveTo>
                  <a:lnTo>
                    <a:pt x="24" y="44"/>
                  </a:lnTo>
                  <a:lnTo>
                    <a:pt x="23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8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14" y="43"/>
                  </a:moveTo>
                  <a:lnTo>
                    <a:pt x="14" y="44"/>
                  </a:lnTo>
                  <a:lnTo>
                    <a:pt x="14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4" y="44"/>
                  </a:moveTo>
                  <a:lnTo>
                    <a:pt x="14" y="43"/>
                  </a:lnTo>
                  <a:lnTo>
                    <a:pt x="14" y="44"/>
                  </a:lnTo>
                  <a:close/>
                  <a:moveTo>
                    <a:pt x="18" y="44"/>
                  </a:moveTo>
                  <a:lnTo>
                    <a:pt x="18" y="43"/>
                  </a:lnTo>
                  <a:lnTo>
                    <a:pt x="18" y="44"/>
                  </a:lnTo>
                  <a:close/>
                  <a:moveTo>
                    <a:pt x="23" y="43"/>
                  </a:moveTo>
                  <a:lnTo>
                    <a:pt x="23" y="44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4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3"/>
                  </a:lnTo>
                  <a:lnTo>
                    <a:pt x="15" y="43"/>
                  </a:lnTo>
                  <a:close/>
                  <a:moveTo>
                    <a:pt x="18" y="43"/>
                  </a:moveTo>
                  <a:lnTo>
                    <a:pt x="18" y="44"/>
                  </a:lnTo>
                  <a:lnTo>
                    <a:pt x="18" y="43"/>
                  </a:lnTo>
                  <a:close/>
                  <a:moveTo>
                    <a:pt x="16" y="44"/>
                  </a:moveTo>
                  <a:lnTo>
                    <a:pt x="16" y="43"/>
                  </a:lnTo>
                  <a:lnTo>
                    <a:pt x="16" y="44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2"/>
                  </a:lnTo>
                  <a:lnTo>
                    <a:pt x="15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0" y="42"/>
                  </a:move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2" y="42"/>
                  </a:moveTo>
                  <a:lnTo>
                    <a:pt x="21" y="42"/>
                  </a:lnTo>
                  <a:lnTo>
                    <a:pt x="22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5" y="42"/>
                  </a:moveTo>
                  <a:lnTo>
                    <a:pt x="25" y="41"/>
                  </a:lnTo>
                  <a:lnTo>
                    <a:pt x="25" y="42"/>
                  </a:lnTo>
                  <a:close/>
                  <a:moveTo>
                    <a:pt x="23" y="41"/>
                  </a:moveTo>
                  <a:lnTo>
                    <a:pt x="23" y="41"/>
                  </a:lnTo>
                  <a:lnTo>
                    <a:pt x="23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4" y="41"/>
                  </a:lnTo>
                  <a:lnTo>
                    <a:pt x="25" y="41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5" y="39"/>
                  </a:moveTo>
                  <a:lnTo>
                    <a:pt x="24" y="39"/>
                  </a:lnTo>
                  <a:lnTo>
                    <a:pt x="25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9" y="39"/>
                  </a:moveTo>
                  <a:lnTo>
                    <a:pt x="28" y="39"/>
                  </a:lnTo>
                  <a:lnTo>
                    <a:pt x="29" y="39"/>
                  </a:lnTo>
                  <a:close/>
                  <a:moveTo>
                    <a:pt x="28" y="39"/>
                  </a:moveTo>
                  <a:lnTo>
                    <a:pt x="27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6" y="39"/>
                  </a:moveTo>
                  <a:lnTo>
                    <a:pt x="26" y="38"/>
                  </a:lnTo>
                  <a:lnTo>
                    <a:pt x="26" y="39"/>
                  </a:lnTo>
                  <a:close/>
                  <a:moveTo>
                    <a:pt x="26" y="38"/>
                  </a:moveTo>
                  <a:lnTo>
                    <a:pt x="26" y="39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7" y="39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30" y="37"/>
                  </a:moveTo>
                  <a:lnTo>
                    <a:pt x="30" y="37"/>
                  </a:lnTo>
                  <a:lnTo>
                    <a:pt x="30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9" y="37"/>
                  </a:moveTo>
                  <a:lnTo>
                    <a:pt x="30" y="37"/>
                  </a:lnTo>
                  <a:lnTo>
                    <a:pt x="29" y="37"/>
                  </a:lnTo>
                  <a:close/>
                  <a:moveTo>
                    <a:pt x="28" y="37"/>
                  </a:moveTo>
                  <a:lnTo>
                    <a:pt x="28" y="36"/>
                  </a:lnTo>
                  <a:lnTo>
                    <a:pt x="28" y="37"/>
                  </a:lnTo>
                  <a:close/>
                  <a:moveTo>
                    <a:pt x="29" y="36"/>
                  </a:moveTo>
                  <a:lnTo>
                    <a:pt x="29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9" y="36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6"/>
                  </a:moveTo>
                  <a:lnTo>
                    <a:pt x="27" y="37"/>
                  </a:lnTo>
                  <a:lnTo>
                    <a:pt x="27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0" y="36"/>
                  </a:moveTo>
                  <a:lnTo>
                    <a:pt x="30" y="36"/>
                  </a:lnTo>
                  <a:lnTo>
                    <a:pt x="30" y="36"/>
                  </a:lnTo>
                  <a:close/>
                  <a:moveTo>
                    <a:pt x="29" y="36"/>
                  </a:moveTo>
                  <a:lnTo>
                    <a:pt x="28" y="36"/>
                  </a:lnTo>
                  <a:lnTo>
                    <a:pt x="29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27" y="35"/>
                  </a:moveTo>
                  <a:lnTo>
                    <a:pt x="27" y="36"/>
                  </a:lnTo>
                  <a:lnTo>
                    <a:pt x="27" y="35"/>
                  </a:lnTo>
                  <a:close/>
                  <a:moveTo>
                    <a:pt x="27" y="35"/>
                  </a:moveTo>
                  <a:lnTo>
                    <a:pt x="28" y="35"/>
                  </a:lnTo>
                  <a:lnTo>
                    <a:pt x="27" y="35"/>
                  </a:lnTo>
                  <a:close/>
                  <a:moveTo>
                    <a:pt x="28" y="35"/>
                  </a:moveTo>
                  <a:lnTo>
                    <a:pt x="27" y="35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2"/>
                  </a:moveTo>
                  <a:lnTo>
                    <a:pt x="35" y="33"/>
                  </a:lnTo>
                  <a:lnTo>
                    <a:pt x="35" y="32"/>
                  </a:lnTo>
                  <a:close/>
                  <a:moveTo>
                    <a:pt x="35" y="31"/>
                  </a:moveTo>
                  <a:lnTo>
                    <a:pt x="35" y="32"/>
                  </a:lnTo>
                  <a:lnTo>
                    <a:pt x="35" y="31"/>
                  </a:lnTo>
                  <a:close/>
                  <a:moveTo>
                    <a:pt x="35" y="32"/>
                  </a:moveTo>
                  <a:lnTo>
                    <a:pt x="35" y="31"/>
                  </a:lnTo>
                  <a:lnTo>
                    <a:pt x="35" y="32"/>
                  </a:lnTo>
                  <a:close/>
                  <a:moveTo>
                    <a:pt x="34" y="31"/>
                  </a:moveTo>
                  <a:lnTo>
                    <a:pt x="34" y="30"/>
                  </a:lnTo>
                  <a:lnTo>
                    <a:pt x="34" y="31"/>
                  </a:lnTo>
                  <a:close/>
                  <a:moveTo>
                    <a:pt x="41" y="26"/>
                  </a:moveTo>
                  <a:lnTo>
                    <a:pt x="41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5"/>
                  </a:moveTo>
                  <a:lnTo>
                    <a:pt x="40" y="25"/>
                  </a:lnTo>
                  <a:lnTo>
                    <a:pt x="41" y="25"/>
                  </a:lnTo>
                  <a:close/>
                  <a:moveTo>
                    <a:pt x="53" y="24"/>
                  </a:moveTo>
                  <a:lnTo>
                    <a:pt x="54" y="24"/>
                  </a:lnTo>
                  <a:lnTo>
                    <a:pt x="53" y="24"/>
                  </a:lnTo>
                  <a:close/>
                  <a:moveTo>
                    <a:pt x="53" y="23"/>
                  </a:moveTo>
                  <a:lnTo>
                    <a:pt x="53" y="23"/>
                  </a:lnTo>
                  <a:lnTo>
                    <a:pt x="53" y="23"/>
                  </a:lnTo>
                  <a:close/>
                  <a:moveTo>
                    <a:pt x="52" y="22"/>
                  </a:move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51" y="22"/>
                  </a:moveTo>
                  <a:lnTo>
                    <a:pt x="51" y="22"/>
                  </a:lnTo>
                  <a:lnTo>
                    <a:pt x="51" y="22"/>
                  </a:lnTo>
                  <a:close/>
                  <a:moveTo>
                    <a:pt x="48" y="21"/>
                  </a:moveTo>
                  <a:lnTo>
                    <a:pt x="47" y="21"/>
                  </a:lnTo>
                  <a:lnTo>
                    <a:pt x="48" y="21"/>
                  </a:lnTo>
                  <a:close/>
                  <a:moveTo>
                    <a:pt x="49" y="20"/>
                  </a:move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8" y="20"/>
                  </a:moveTo>
                  <a:lnTo>
                    <a:pt x="47" y="20"/>
                  </a:lnTo>
                  <a:lnTo>
                    <a:pt x="48" y="20"/>
                  </a:lnTo>
                  <a:close/>
                  <a:moveTo>
                    <a:pt x="46" y="19"/>
                  </a:moveTo>
                  <a:lnTo>
                    <a:pt x="46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5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6" y="18"/>
                  </a:lnTo>
                  <a:lnTo>
                    <a:pt x="46" y="19"/>
                  </a:lnTo>
                  <a:close/>
                  <a:moveTo>
                    <a:pt x="49" y="18"/>
                  </a:moveTo>
                  <a:lnTo>
                    <a:pt x="48" y="18"/>
                  </a:lnTo>
                  <a:lnTo>
                    <a:pt x="49" y="18"/>
                  </a:lnTo>
                  <a:close/>
                  <a:moveTo>
                    <a:pt x="47" y="18"/>
                  </a:moveTo>
                  <a:lnTo>
                    <a:pt x="47" y="18"/>
                  </a:lnTo>
                  <a:lnTo>
                    <a:pt x="47" y="18"/>
                  </a:lnTo>
                  <a:close/>
                  <a:moveTo>
                    <a:pt x="48" y="18"/>
                  </a:moveTo>
                  <a:lnTo>
                    <a:pt x="48" y="17"/>
                  </a:lnTo>
                  <a:lnTo>
                    <a:pt x="48" y="18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6" y="16"/>
                  </a:moveTo>
                  <a:lnTo>
                    <a:pt x="45" y="16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8" y="16"/>
                  </a:ln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6" y="16"/>
                  </a:moveTo>
                  <a:lnTo>
                    <a:pt x="46" y="15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8" y="15"/>
                  </a:lnTo>
                  <a:lnTo>
                    <a:pt x="48" y="16"/>
                  </a:lnTo>
                  <a:close/>
                  <a:moveTo>
                    <a:pt x="47" y="15"/>
                  </a:moveTo>
                  <a:lnTo>
                    <a:pt x="47" y="15"/>
                  </a:lnTo>
                  <a:lnTo>
                    <a:pt x="47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5" y="15"/>
                  </a:moveTo>
                  <a:lnTo>
                    <a:pt x="45" y="14"/>
                  </a:lnTo>
                  <a:lnTo>
                    <a:pt x="45" y="15"/>
                  </a:lnTo>
                  <a:close/>
                  <a:moveTo>
                    <a:pt x="48" y="14"/>
                  </a:moveTo>
                  <a:lnTo>
                    <a:pt x="48" y="15"/>
                  </a:lnTo>
                  <a:lnTo>
                    <a:pt x="48" y="14"/>
                  </a:lnTo>
                  <a:close/>
                  <a:moveTo>
                    <a:pt x="45" y="13"/>
                  </a:moveTo>
                  <a:lnTo>
                    <a:pt x="45" y="14"/>
                  </a:lnTo>
                  <a:lnTo>
                    <a:pt x="45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42" y="12"/>
                  </a:move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4" y="12"/>
                  </a:moveTo>
                  <a:lnTo>
                    <a:pt x="43" y="12"/>
                  </a:lnTo>
                  <a:lnTo>
                    <a:pt x="44" y="12"/>
                  </a:lnTo>
                  <a:close/>
                  <a:moveTo>
                    <a:pt x="43" y="12"/>
                  </a:moveTo>
                  <a:lnTo>
                    <a:pt x="43" y="12"/>
                  </a:lnTo>
                  <a:lnTo>
                    <a:pt x="43" y="12"/>
                  </a:lnTo>
                  <a:close/>
                  <a:moveTo>
                    <a:pt x="40" y="12"/>
                  </a:moveTo>
                  <a:lnTo>
                    <a:pt x="39" y="12"/>
                  </a:lnTo>
                  <a:lnTo>
                    <a:pt x="40" y="12"/>
                  </a:lnTo>
                  <a:close/>
                  <a:moveTo>
                    <a:pt x="40" y="12"/>
                  </a:move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39" y="12"/>
                  </a:moveTo>
                  <a:lnTo>
                    <a:pt x="39" y="12"/>
                  </a:lnTo>
                  <a:lnTo>
                    <a:pt x="39" y="12"/>
                  </a:lnTo>
                  <a:close/>
                  <a:moveTo>
                    <a:pt x="40" y="12"/>
                  </a:moveTo>
                  <a:lnTo>
                    <a:pt x="40" y="11"/>
                  </a:lnTo>
                  <a:lnTo>
                    <a:pt x="40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39" y="11"/>
                  </a:moveTo>
                  <a:lnTo>
                    <a:pt x="39" y="11"/>
                  </a:lnTo>
                  <a:lnTo>
                    <a:pt x="39" y="11"/>
                  </a:lnTo>
                  <a:close/>
                  <a:moveTo>
                    <a:pt x="40" y="11"/>
                  </a:moveTo>
                  <a:lnTo>
                    <a:pt x="40" y="11"/>
                  </a:lnTo>
                  <a:lnTo>
                    <a:pt x="40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41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0"/>
                  </a:moveTo>
                  <a:lnTo>
                    <a:pt x="39" y="10"/>
                  </a:lnTo>
                  <a:lnTo>
                    <a:pt x="40" y="10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39" y="9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2"/>
                  </a:moveTo>
                  <a:lnTo>
                    <a:pt x="35" y="3"/>
                  </a:lnTo>
                  <a:lnTo>
                    <a:pt x="35" y="2"/>
                  </a:lnTo>
                  <a:close/>
                  <a:moveTo>
                    <a:pt x="35" y="1"/>
                  </a:moveTo>
                  <a:lnTo>
                    <a:pt x="35" y="0"/>
                  </a:ln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9" name="Freeform 35"/>
            <p:cNvSpPr>
              <a:spLocks/>
            </p:cNvSpPr>
            <p:nvPr/>
          </p:nvSpPr>
          <p:spPr bwMode="auto">
            <a:xfrm>
              <a:off x="5896226" y="3581222"/>
              <a:ext cx="7832" cy="6890"/>
            </a:xfrm>
            <a:custGeom>
              <a:avLst/>
              <a:gdLst>
                <a:gd name="T0" fmla="*/ 3 w 6"/>
                <a:gd name="T1" fmla="*/ 0 h 5"/>
                <a:gd name="T2" fmla="*/ 2 w 6"/>
                <a:gd name="T3" fmla="*/ 1 h 5"/>
                <a:gd name="T4" fmla="*/ 3 w 6"/>
                <a:gd name="T5" fmla="*/ 1 h 5"/>
                <a:gd name="T6" fmla="*/ 3 w 6"/>
                <a:gd name="T7" fmla="*/ 1 h 5"/>
                <a:gd name="T8" fmla="*/ 4 w 6"/>
                <a:gd name="T9" fmla="*/ 1 h 5"/>
                <a:gd name="T10" fmla="*/ 4 w 6"/>
                <a:gd name="T11" fmla="*/ 1 h 5"/>
                <a:gd name="T12" fmla="*/ 4 w 6"/>
                <a:gd name="T13" fmla="*/ 2 h 5"/>
                <a:gd name="T14" fmla="*/ 4 w 6"/>
                <a:gd name="T15" fmla="*/ 3 h 5"/>
                <a:gd name="T16" fmla="*/ 5 w 6"/>
                <a:gd name="T17" fmla="*/ 3 h 5"/>
                <a:gd name="T18" fmla="*/ 6 w 6"/>
                <a:gd name="T19" fmla="*/ 4 h 5"/>
                <a:gd name="T20" fmla="*/ 5 w 6"/>
                <a:gd name="T21" fmla="*/ 4 h 5"/>
                <a:gd name="T22" fmla="*/ 5 w 6"/>
                <a:gd name="T23" fmla="*/ 4 h 5"/>
                <a:gd name="T24" fmla="*/ 5 w 6"/>
                <a:gd name="T25" fmla="*/ 4 h 5"/>
                <a:gd name="T26" fmla="*/ 5 w 6"/>
                <a:gd name="T27" fmla="*/ 4 h 5"/>
                <a:gd name="T28" fmla="*/ 4 w 6"/>
                <a:gd name="T29" fmla="*/ 4 h 5"/>
                <a:gd name="T30" fmla="*/ 4 w 6"/>
                <a:gd name="T31" fmla="*/ 4 h 5"/>
                <a:gd name="T32" fmla="*/ 3 w 6"/>
                <a:gd name="T33" fmla="*/ 4 h 5"/>
                <a:gd name="T34" fmla="*/ 3 w 6"/>
                <a:gd name="T35" fmla="*/ 4 h 5"/>
                <a:gd name="T36" fmla="*/ 3 w 6"/>
                <a:gd name="T37" fmla="*/ 4 h 5"/>
                <a:gd name="T38" fmla="*/ 2 w 6"/>
                <a:gd name="T39" fmla="*/ 5 h 5"/>
                <a:gd name="T40" fmla="*/ 2 w 6"/>
                <a:gd name="T41" fmla="*/ 5 h 5"/>
                <a:gd name="T42" fmla="*/ 3 w 6"/>
                <a:gd name="T43" fmla="*/ 5 h 5"/>
                <a:gd name="T44" fmla="*/ 2 w 6"/>
                <a:gd name="T45" fmla="*/ 5 h 5"/>
                <a:gd name="T46" fmla="*/ 2 w 6"/>
                <a:gd name="T47" fmla="*/ 5 h 5"/>
                <a:gd name="T48" fmla="*/ 2 w 6"/>
                <a:gd name="T49" fmla="*/ 5 h 5"/>
                <a:gd name="T50" fmla="*/ 1 w 6"/>
                <a:gd name="T51" fmla="*/ 5 h 5"/>
                <a:gd name="T52" fmla="*/ 0 w 6"/>
                <a:gd name="T53" fmla="*/ 4 h 5"/>
                <a:gd name="T54" fmla="*/ 0 w 6"/>
                <a:gd name="T55" fmla="*/ 4 h 5"/>
                <a:gd name="T56" fmla="*/ 0 w 6"/>
                <a:gd name="T57" fmla="*/ 4 h 5"/>
                <a:gd name="T58" fmla="*/ 1 w 6"/>
                <a:gd name="T59" fmla="*/ 4 h 5"/>
                <a:gd name="T60" fmla="*/ 2 w 6"/>
                <a:gd name="T61" fmla="*/ 3 h 5"/>
                <a:gd name="T62" fmla="*/ 1 w 6"/>
                <a:gd name="T63" fmla="*/ 3 h 5"/>
                <a:gd name="T64" fmla="*/ 0 w 6"/>
                <a:gd name="T65" fmla="*/ 3 h 5"/>
                <a:gd name="T66" fmla="*/ 1 w 6"/>
                <a:gd name="T67" fmla="*/ 3 h 5"/>
                <a:gd name="T68" fmla="*/ 2 w 6"/>
                <a:gd name="T69" fmla="*/ 2 h 5"/>
                <a:gd name="T70" fmla="*/ 0 w 6"/>
                <a:gd name="T71" fmla="*/ 2 h 5"/>
                <a:gd name="T72" fmla="*/ 1 w 6"/>
                <a:gd name="T73" fmla="*/ 1 h 5"/>
                <a:gd name="T74" fmla="*/ 2 w 6"/>
                <a:gd name="T75" fmla="*/ 2 h 5"/>
                <a:gd name="T76" fmla="*/ 2 w 6"/>
                <a:gd name="T77" fmla="*/ 1 h 5"/>
                <a:gd name="T78" fmla="*/ 2 w 6"/>
                <a:gd name="T79" fmla="*/ 1 h 5"/>
                <a:gd name="T80" fmla="*/ 3 w 6"/>
                <a:gd name="T81" fmla="*/ 2 h 5"/>
                <a:gd name="T82" fmla="*/ 3 w 6"/>
                <a:gd name="T83" fmla="*/ 2 h 5"/>
                <a:gd name="T84" fmla="*/ 3 w 6"/>
                <a:gd name="T85" fmla="*/ 1 h 5"/>
                <a:gd name="T86" fmla="*/ 3 w 6"/>
                <a:gd name="T87" fmla="*/ 1 h 5"/>
                <a:gd name="T88" fmla="*/ 2 w 6"/>
                <a:gd name="T89" fmla="*/ 1 h 5"/>
                <a:gd name="T90" fmla="*/ 1 w 6"/>
                <a:gd name="T91" fmla="*/ 1 h 5"/>
                <a:gd name="T92" fmla="*/ 2 w 6"/>
                <a:gd name="T93" fmla="*/ 1 h 5"/>
                <a:gd name="T94" fmla="*/ 1 w 6"/>
                <a:gd name="T95" fmla="*/ 0 h 5"/>
                <a:gd name="T96" fmla="*/ 1 w 6"/>
                <a:gd name="T97" fmla="*/ 1 h 5"/>
                <a:gd name="T98" fmla="*/ 0 w 6"/>
                <a:gd name="T99" fmla="*/ 1 h 5"/>
                <a:gd name="T100" fmla="*/ 1 w 6"/>
                <a:gd name="T101" fmla="*/ 0 h 5"/>
                <a:gd name="T102" fmla="*/ 2 w 6"/>
                <a:gd name="T103" fmla="*/ 0 h 5"/>
                <a:gd name="T104" fmla="*/ 3 w 6"/>
                <a:gd name="T10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0" name="Freeform 36"/>
            <p:cNvSpPr>
              <a:spLocks noEditPoints="1"/>
            </p:cNvSpPr>
            <p:nvPr/>
          </p:nvSpPr>
          <p:spPr bwMode="auto">
            <a:xfrm>
              <a:off x="5820517" y="3574332"/>
              <a:ext cx="96594" cy="128139"/>
            </a:xfrm>
            <a:custGeom>
              <a:avLst/>
              <a:gdLst>
                <a:gd name="T0" fmla="*/ 54 w 74"/>
                <a:gd name="T1" fmla="*/ 8 h 93"/>
                <a:gd name="T2" fmla="*/ 55 w 74"/>
                <a:gd name="T3" fmla="*/ 8 h 93"/>
                <a:gd name="T4" fmla="*/ 58 w 74"/>
                <a:gd name="T5" fmla="*/ 9 h 93"/>
                <a:gd name="T6" fmla="*/ 64 w 74"/>
                <a:gd name="T7" fmla="*/ 12 h 93"/>
                <a:gd name="T8" fmla="*/ 64 w 74"/>
                <a:gd name="T9" fmla="*/ 13 h 93"/>
                <a:gd name="T10" fmla="*/ 64 w 74"/>
                <a:gd name="T11" fmla="*/ 16 h 93"/>
                <a:gd name="T12" fmla="*/ 68 w 74"/>
                <a:gd name="T13" fmla="*/ 24 h 93"/>
                <a:gd name="T14" fmla="*/ 70 w 74"/>
                <a:gd name="T15" fmla="*/ 32 h 93"/>
                <a:gd name="T16" fmla="*/ 70 w 74"/>
                <a:gd name="T17" fmla="*/ 40 h 93"/>
                <a:gd name="T18" fmla="*/ 73 w 74"/>
                <a:gd name="T19" fmla="*/ 45 h 93"/>
                <a:gd name="T20" fmla="*/ 70 w 74"/>
                <a:gd name="T21" fmla="*/ 50 h 93"/>
                <a:gd name="T22" fmla="*/ 66 w 74"/>
                <a:gd name="T23" fmla="*/ 51 h 93"/>
                <a:gd name="T24" fmla="*/ 58 w 74"/>
                <a:gd name="T25" fmla="*/ 56 h 93"/>
                <a:gd name="T26" fmla="*/ 51 w 74"/>
                <a:gd name="T27" fmla="*/ 57 h 93"/>
                <a:gd name="T28" fmla="*/ 54 w 74"/>
                <a:gd name="T29" fmla="*/ 65 h 93"/>
                <a:gd name="T30" fmla="*/ 59 w 74"/>
                <a:gd name="T31" fmla="*/ 71 h 93"/>
                <a:gd name="T32" fmla="*/ 64 w 74"/>
                <a:gd name="T33" fmla="*/ 77 h 93"/>
                <a:gd name="T34" fmla="*/ 57 w 74"/>
                <a:gd name="T35" fmla="*/ 82 h 93"/>
                <a:gd name="T36" fmla="*/ 56 w 74"/>
                <a:gd name="T37" fmla="*/ 90 h 93"/>
                <a:gd name="T38" fmla="*/ 49 w 74"/>
                <a:gd name="T39" fmla="*/ 89 h 93"/>
                <a:gd name="T40" fmla="*/ 40 w 74"/>
                <a:gd name="T41" fmla="*/ 91 h 93"/>
                <a:gd name="T42" fmla="*/ 35 w 74"/>
                <a:gd name="T43" fmla="*/ 93 h 93"/>
                <a:gd name="T44" fmla="*/ 32 w 74"/>
                <a:gd name="T45" fmla="*/ 89 h 93"/>
                <a:gd name="T46" fmla="*/ 22 w 74"/>
                <a:gd name="T47" fmla="*/ 87 h 93"/>
                <a:gd name="T48" fmla="*/ 19 w 74"/>
                <a:gd name="T49" fmla="*/ 90 h 93"/>
                <a:gd name="T50" fmla="*/ 14 w 74"/>
                <a:gd name="T51" fmla="*/ 84 h 93"/>
                <a:gd name="T52" fmla="*/ 19 w 74"/>
                <a:gd name="T53" fmla="*/ 73 h 93"/>
                <a:gd name="T54" fmla="*/ 10 w 74"/>
                <a:gd name="T55" fmla="*/ 72 h 93"/>
                <a:gd name="T56" fmla="*/ 5 w 74"/>
                <a:gd name="T57" fmla="*/ 68 h 93"/>
                <a:gd name="T58" fmla="*/ 2 w 74"/>
                <a:gd name="T59" fmla="*/ 61 h 93"/>
                <a:gd name="T60" fmla="*/ 3 w 74"/>
                <a:gd name="T61" fmla="*/ 56 h 93"/>
                <a:gd name="T62" fmla="*/ 0 w 74"/>
                <a:gd name="T63" fmla="*/ 49 h 93"/>
                <a:gd name="T64" fmla="*/ 1 w 74"/>
                <a:gd name="T65" fmla="*/ 40 h 93"/>
                <a:gd name="T66" fmla="*/ 8 w 74"/>
                <a:gd name="T67" fmla="*/ 38 h 93"/>
                <a:gd name="T68" fmla="*/ 7 w 74"/>
                <a:gd name="T69" fmla="*/ 31 h 93"/>
                <a:gd name="T70" fmla="*/ 12 w 74"/>
                <a:gd name="T71" fmla="*/ 23 h 93"/>
                <a:gd name="T72" fmla="*/ 12 w 74"/>
                <a:gd name="T73" fmla="*/ 17 h 93"/>
                <a:gd name="T74" fmla="*/ 19 w 74"/>
                <a:gd name="T75" fmla="*/ 20 h 93"/>
                <a:gd name="T76" fmla="*/ 23 w 74"/>
                <a:gd name="T77" fmla="*/ 24 h 93"/>
                <a:gd name="T78" fmla="*/ 21 w 74"/>
                <a:gd name="T79" fmla="*/ 17 h 93"/>
                <a:gd name="T80" fmla="*/ 28 w 74"/>
                <a:gd name="T81" fmla="*/ 16 h 93"/>
                <a:gd name="T82" fmla="*/ 35 w 74"/>
                <a:gd name="T83" fmla="*/ 20 h 93"/>
                <a:gd name="T84" fmla="*/ 45 w 74"/>
                <a:gd name="T85" fmla="*/ 24 h 93"/>
                <a:gd name="T86" fmla="*/ 49 w 74"/>
                <a:gd name="T87" fmla="*/ 30 h 93"/>
                <a:gd name="T88" fmla="*/ 44 w 74"/>
                <a:gd name="T89" fmla="*/ 24 h 93"/>
                <a:gd name="T90" fmla="*/ 34 w 74"/>
                <a:gd name="T91" fmla="*/ 20 h 93"/>
                <a:gd name="T92" fmla="*/ 27 w 74"/>
                <a:gd name="T93" fmla="*/ 14 h 93"/>
                <a:gd name="T94" fmla="*/ 35 w 74"/>
                <a:gd name="T95" fmla="*/ 9 h 93"/>
                <a:gd name="T96" fmla="*/ 42 w 74"/>
                <a:gd name="T97" fmla="*/ 8 h 93"/>
                <a:gd name="T98" fmla="*/ 40 w 74"/>
                <a:gd name="T99" fmla="*/ 14 h 93"/>
                <a:gd name="T100" fmla="*/ 45 w 74"/>
                <a:gd name="T101" fmla="*/ 14 h 93"/>
                <a:gd name="T102" fmla="*/ 47 w 74"/>
                <a:gd name="T103" fmla="*/ 11 h 93"/>
                <a:gd name="T104" fmla="*/ 53 w 74"/>
                <a:gd name="T105" fmla="*/ 8 h 93"/>
                <a:gd name="T106" fmla="*/ 24 w 74"/>
                <a:gd name="T107" fmla="*/ 2 h 93"/>
                <a:gd name="T108" fmla="*/ 32 w 74"/>
                <a:gd name="T109" fmla="*/ 4 h 93"/>
                <a:gd name="T110" fmla="*/ 30 w 74"/>
                <a:gd name="T111" fmla="*/ 7 h 93"/>
                <a:gd name="T112" fmla="*/ 32 w 74"/>
                <a:gd name="T113" fmla="*/ 7 h 93"/>
                <a:gd name="T114" fmla="*/ 28 w 74"/>
                <a:gd name="T115" fmla="*/ 12 h 93"/>
                <a:gd name="T116" fmla="*/ 25 w 74"/>
                <a:gd name="T117" fmla="*/ 9 h 93"/>
                <a:gd name="T118" fmla="*/ 23 w 74"/>
                <a:gd name="T119" fmla="*/ 9 h 93"/>
                <a:gd name="T120" fmla="*/ 24 w 74"/>
                <a:gd name="T121" fmla="*/ 6 h 93"/>
                <a:gd name="T122" fmla="*/ 21 w 74"/>
                <a:gd name="T1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" h="93"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3" y="88"/>
                  </a:lnTo>
                  <a:close/>
                  <a:moveTo>
                    <a:pt x="54" y="8"/>
                  </a:move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1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1"/>
                  </a:lnTo>
                  <a:lnTo>
                    <a:pt x="63" y="11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6" y="14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1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5" y="14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8" y="16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8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69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6" y="26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7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0" y="29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9" y="32"/>
                  </a:lnTo>
                  <a:lnTo>
                    <a:pt x="70" y="33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7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1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1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3" y="43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3" y="48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2"/>
                  </a:lnTo>
                  <a:lnTo>
                    <a:pt x="65" y="53"/>
                  </a:lnTo>
                  <a:lnTo>
                    <a:pt x="64" y="53"/>
                  </a:lnTo>
                  <a:lnTo>
                    <a:pt x="64" y="52"/>
                  </a:lnTo>
                  <a:lnTo>
                    <a:pt x="64" y="53"/>
                  </a:lnTo>
                  <a:lnTo>
                    <a:pt x="64" y="53"/>
                  </a:lnTo>
                  <a:lnTo>
                    <a:pt x="63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5" y="56"/>
                  </a:lnTo>
                  <a:lnTo>
                    <a:pt x="55" y="56"/>
                  </a:lnTo>
                  <a:lnTo>
                    <a:pt x="55" y="57"/>
                  </a:lnTo>
                  <a:lnTo>
                    <a:pt x="55" y="56"/>
                  </a:lnTo>
                  <a:lnTo>
                    <a:pt x="54" y="56"/>
                  </a:lnTo>
                  <a:lnTo>
                    <a:pt x="54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9"/>
                  </a:lnTo>
                  <a:lnTo>
                    <a:pt x="51" y="59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0" y="57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2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3" y="63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7" y="69"/>
                  </a:lnTo>
                  <a:lnTo>
                    <a:pt x="58" y="70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9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3" y="79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6" y="82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5" y="84"/>
                  </a:lnTo>
                  <a:lnTo>
                    <a:pt x="56" y="84"/>
                  </a:lnTo>
                  <a:lnTo>
                    <a:pt x="56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8" y="88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1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7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8"/>
                  </a:lnTo>
                  <a:lnTo>
                    <a:pt x="52" y="89"/>
                  </a:lnTo>
                  <a:lnTo>
                    <a:pt x="52" y="88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8"/>
                  </a:lnTo>
                  <a:lnTo>
                    <a:pt x="51" y="87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8" y="89"/>
                  </a:lnTo>
                  <a:lnTo>
                    <a:pt x="48" y="90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6" y="90"/>
                  </a:lnTo>
                  <a:lnTo>
                    <a:pt x="46" y="89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1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2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0"/>
                  </a:lnTo>
                  <a:lnTo>
                    <a:pt x="34" y="91"/>
                  </a:lnTo>
                  <a:lnTo>
                    <a:pt x="33" y="91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89"/>
                  </a:lnTo>
                  <a:lnTo>
                    <a:pt x="31" y="89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0" y="90"/>
                  </a:lnTo>
                  <a:lnTo>
                    <a:pt x="29" y="90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3" y="89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8"/>
                  </a:lnTo>
                  <a:lnTo>
                    <a:pt x="20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5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4" y="86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9" y="74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8" y="73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0" y="72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2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6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5" y="69"/>
                  </a:lnTo>
                  <a:lnTo>
                    <a:pt x="6" y="69"/>
                  </a:lnTo>
                  <a:lnTo>
                    <a:pt x="6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7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59"/>
                  </a:lnTo>
                  <a:lnTo>
                    <a:pt x="2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49"/>
                  </a:lnTo>
                  <a:lnTo>
                    <a:pt x="1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2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3" y="23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4" y="25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30"/>
                  </a:lnTo>
                  <a:lnTo>
                    <a:pt x="49" y="31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8" y="27"/>
                  </a:lnTo>
                  <a:lnTo>
                    <a:pt x="48" y="26"/>
                  </a:lnTo>
                  <a:lnTo>
                    <a:pt x="48" y="25"/>
                  </a:lnTo>
                  <a:lnTo>
                    <a:pt x="48" y="26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9" y="12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close/>
                  <a:moveTo>
                    <a:pt x="24" y="24"/>
                  </a:move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4" y="24"/>
                  </a:lnTo>
                  <a:close/>
                  <a:moveTo>
                    <a:pt x="21" y="0"/>
                  </a:moveTo>
                  <a:lnTo>
                    <a:pt x="20" y="0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1" name="Freeform 37"/>
            <p:cNvSpPr>
              <a:spLocks noEditPoints="1"/>
            </p:cNvSpPr>
            <p:nvPr/>
          </p:nvSpPr>
          <p:spPr bwMode="auto">
            <a:xfrm>
              <a:off x="5828349" y="3579843"/>
              <a:ext cx="80930" cy="22045"/>
            </a:xfrm>
            <a:custGeom>
              <a:avLst/>
              <a:gdLst>
                <a:gd name="T0" fmla="*/ 28 w 62"/>
                <a:gd name="T1" fmla="*/ 16 h 16"/>
                <a:gd name="T2" fmla="*/ 27 w 62"/>
                <a:gd name="T3" fmla="*/ 15 h 16"/>
                <a:gd name="T4" fmla="*/ 25 w 62"/>
                <a:gd name="T5" fmla="*/ 15 h 16"/>
                <a:gd name="T6" fmla="*/ 2 w 62"/>
                <a:gd name="T7" fmla="*/ 14 h 16"/>
                <a:gd name="T8" fmla="*/ 0 w 62"/>
                <a:gd name="T9" fmla="*/ 14 h 16"/>
                <a:gd name="T10" fmla="*/ 2 w 62"/>
                <a:gd name="T11" fmla="*/ 13 h 16"/>
                <a:gd name="T12" fmla="*/ 4 w 62"/>
                <a:gd name="T13" fmla="*/ 13 h 16"/>
                <a:gd name="T14" fmla="*/ 3 w 62"/>
                <a:gd name="T15" fmla="*/ 13 h 16"/>
                <a:gd name="T16" fmla="*/ 4 w 62"/>
                <a:gd name="T17" fmla="*/ 13 h 16"/>
                <a:gd name="T18" fmla="*/ 24 w 62"/>
                <a:gd name="T19" fmla="*/ 13 h 16"/>
                <a:gd name="T20" fmla="*/ 24 w 62"/>
                <a:gd name="T21" fmla="*/ 13 h 16"/>
                <a:gd name="T22" fmla="*/ 6 w 62"/>
                <a:gd name="T23" fmla="*/ 12 h 16"/>
                <a:gd name="T24" fmla="*/ 4 w 62"/>
                <a:gd name="T25" fmla="*/ 12 h 16"/>
                <a:gd name="T26" fmla="*/ 6 w 62"/>
                <a:gd name="T27" fmla="*/ 12 h 16"/>
                <a:gd name="T28" fmla="*/ 12 w 62"/>
                <a:gd name="T29" fmla="*/ 12 h 16"/>
                <a:gd name="T30" fmla="*/ 7 w 62"/>
                <a:gd name="T31" fmla="*/ 12 h 16"/>
                <a:gd name="T32" fmla="*/ 7 w 62"/>
                <a:gd name="T33" fmla="*/ 12 h 16"/>
                <a:gd name="T34" fmla="*/ 10 w 62"/>
                <a:gd name="T35" fmla="*/ 12 h 16"/>
                <a:gd name="T36" fmla="*/ 9 w 62"/>
                <a:gd name="T37" fmla="*/ 12 h 16"/>
                <a:gd name="T38" fmla="*/ 11 w 62"/>
                <a:gd name="T39" fmla="*/ 12 h 16"/>
                <a:gd name="T40" fmla="*/ 10 w 62"/>
                <a:gd name="T41" fmla="*/ 12 h 16"/>
                <a:gd name="T42" fmla="*/ 22 w 62"/>
                <a:gd name="T43" fmla="*/ 12 h 16"/>
                <a:gd name="T44" fmla="*/ 17 w 62"/>
                <a:gd name="T45" fmla="*/ 9 h 16"/>
                <a:gd name="T46" fmla="*/ 39 w 62"/>
                <a:gd name="T47" fmla="*/ 8 h 16"/>
                <a:gd name="T48" fmla="*/ 39 w 62"/>
                <a:gd name="T49" fmla="*/ 9 h 16"/>
                <a:gd name="T50" fmla="*/ 10 w 62"/>
                <a:gd name="T51" fmla="*/ 7 h 16"/>
                <a:gd name="T52" fmla="*/ 56 w 62"/>
                <a:gd name="T53" fmla="*/ 5 h 16"/>
                <a:gd name="T54" fmla="*/ 25 w 62"/>
                <a:gd name="T55" fmla="*/ 5 h 16"/>
                <a:gd name="T56" fmla="*/ 52 w 62"/>
                <a:gd name="T57" fmla="*/ 4 h 16"/>
                <a:gd name="T58" fmla="*/ 15 w 62"/>
                <a:gd name="T59" fmla="*/ 4 h 16"/>
                <a:gd name="T60" fmla="*/ 15 w 62"/>
                <a:gd name="T61" fmla="*/ 4 h 16"/>
                <a:gd name="T62" fmla="*/ 52 w 62"/>
                <a:gd name="T63" fmla="*/ 4 h 16"/>
                <a:gd name="T64" fmla="*/ 37 w 62"/>
                <a:gd name="T65" fmla="*/ 3 h 16"/>
                <a:gd name="T66" fmla="*/ 37 w 62"/>
                <a:gd name="T67" fmla="*/ 4 h 16"/>
                <a:gd name="T68" fmla="*/ 36 w 62"/>
                <a:gd name="T69" fmla="*/ 4 h 16"/>
                <a:gd name="T70" fmla="*/ 36 w 62"/>
                <a:gd name="T71" fmla="*/ 2 h 16"/>
                <a:gd name="T72" fmla="*/ 15 w 62"/>
                <a:gd name="T73" fmla="*/ 2 h 16"/>
                <a:gd name="T74" fmla="*/ 15 w 62"/>
                <a:gd name="T75" fmla="*/ 3 h 16"/>
                <a:gd name="T76" fmla="*/ 16 w 62"/>
                <a:gd name="T77" fmla="*/ 3 h 16"/>
                <a:gd name="T78" fmla="*/ 15 w 62"/>
                <a:gd name="T79" fmla="*/ 2 h 16"/>
                <a:gd name="T80" fmla="*/ 15 w 62"/>
                <a:gd name="T81" fmla="*/ 2 h 16"/>
                <a:gd name="T82" fmla="*/ 52 w 62"/>
                <a:gd name="T83" fmla="*/ 2 h 16"/>
                <a:gd name="T84" fmla="*/ 52 w 62"/>
                <a:gd name="T85" fmla="*/ 4 h 16"/>
                <a:gd name="T86" fmla="*/ 52 w 62"/>
                <a:gd name="T87" fmla="*/ 2 h 16"/>
                <a:gd name="T88" fmla="*/ 17 w 62"/>
                <a:gd name="T89" fmla="*/ 1 h 16"/>
                <a:gd name="T90" fmla="*/ 15 w 62"/>
                <a:gd name="T91" fmla="*/ 2 h 16"/>
                <a:gd name="T92" fmla="*/ 17 w 62"/>
                <a:gd name="T93" fmla="*/ 1 h 16"/>
                <a:gd name="T94" fmla="*/ 14 w 62"/>
                <a:gd name="T95" fmla="*/ 2 h 16"/>
                <a:gd name="T96" fmla="*/ 14 w 62"/>
                <a:gd name="T97" fmla="*/ 1 h 16"/>
                <a:gd name="T98" fmla="*/ 14 w 62"/>
                <a:gd name="T99" fmla="*/ 1 h 16"/>
                <a:gd name="T100" fmla="*/ 15 w 62"/>
                <a:gd name="T101" fmla="*/ 1 h 16"/>
                <a:gd name="T102" fmla="*/ 15 w 62"/>
                <a:gd name="T10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" h="16">
                  <a:moveTo>
                    <a:pt x="27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close/>
                  <a:moveTo>
                    <a:pt x="25" y="15"/>
                  </a:moveTo>
                  <a:lnTo>
                    <a:pt x="25" y="15"/>
                  </a:lnTo>
                  <a:lnTo>
                    <a:pt x="25" y="15"/>
                  </a:lnTo>
                  <a:close/>
                  <a:moveTo>
                    <a:pt x="24" y="14"/>
                  </a:moveTo>
                  <a:lnTo>
                    <a:pt x="24" y="14"/>
                  </a:lnTo>
                  <a:lnTo>
                    <a:pt x="24" y="14"/>
                  </a:lnTo>
                  <a:close/>
                  <a:moveTo>
                    <a:pt x="2" y="14"/>
                  </a:moveTo>
                  <a:lnTo>
                    <a:pt x="1" y="14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4" y="13"/>
                  </a:move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close/>
                  <a:moveTo>
                    <a:pt x="62" y="13"/>
                  </a:moveTo>
                  <a:lnTo>
                    <a:pt x="61" y="13"/>
                  </a:lnTo>
                  <a:lnTo>
                    <a:pt x="62" y="13"/>
                  </a:lnTo>
                  <a:close/>
                  <a:moveTo>
                    <a:pt x="24" y="13"/>
                  </a:moveTo>
                  <a:lnTo>
                    <a:pt x="24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close/>
                  <a:moveTo>
                    <a:pt x="23" y="13"/>
                  </a:moveTo>
                  <a:lnTo>
                    <a:pt x="23" y="12"/>
                  </a:lnTo>
                  <a:lnTo>
                    <a:pt x="23" y="13"/>
                  </a:lnTo>
                  <a:close/>
                  <a:moveTo>
                    <a:pt x="6" y="12"/>
                  </a:moveTo>
                  <a:lnTo>
                    <a:pt x="6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close/>
                  <a:moveTo>
                    <a:pt x="13" y="12"/>
                  </a:moveTo>
                  <a:lnTo>
                    <a:pt x="13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3" y="12"/>
                  </a:lnTo>
                  <a:close/>
                  <a:moveTo>
                    <a:pt x="7" y="12"/>
                  </a:moveTo>
                  <a:lnTo>
                    <a:pt x="6" y="12"/>
                  </a:lnTo>
                  <a:lnTo>
                    <a:pt x="7" y="12"/>
                  </a:lnTo>
                  <a:close/>
                  <a:moveTo>
                    <a:pt x="8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close/>
                  <a:moveTo>
                    <a:pt x="9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close/>
                  <a:moveTo>
                    <a:pt x="11" y="12"/>
                  </a:move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close/>
                  <a:moveTo>
                    <a:pt x="11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17" y="9"/>
                  </a:moveTo>
                  <a:lnTo>
                    <a:pt x="17" y="8"/>
                  </a:lnTo>
                  <a:lnTo>
                    <a:pt x="17" y="9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40" y="8"/>
                  </a:lnTo>
                  <a:lnTo>
                    <a:pt x="39" y="8"/>
                  </a:lnTo>
                  <a:lnTo>
                    <a:pt x="40" y="9"/>
                  </a:lnTo>
                  <a:lnTo>
                    <a:pt x="39" y="9"/>
                  </a:lnTo>
                  <a:close/>
                  <a:moveTo>
                    <a:pt x="10" y="7"/>
                  </a:moveTo>
                  <a:lnTo>
                    <a:pt x="11" y="7"/>
                  </a:lnTo>
                  <a:lnTo>
                    <a:pt x="10" y="7"/>
                  </a:lnTo>
                  <a:close/>
                  <a:moveTo>
                    <a:pt x="10" y="7"/>
                  </a:moveTo>
                  <a:lnTo>
                    <a:pt x="10" y="6"/>
                  </a:lnTo>
                  <a:lnTo>
                    <a:pt x="10" y="7"/>
                  </a:lnTo>
                  <a:close/>
                  <a:moveTo>
                    <a:pt x="55" y="5"/>
                  </a:move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close/>
                  <a:moveTo>
                    <a:pt x="25" y="5"/>
                  </a:move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close/>
                  <a:moveTo>
                    <a:pt x="52" y="4"/>
                  </a:moveTo>
                  <a:lnTo>
                    <a:pt x="51" y="4"/>
                  </a:lnTo>
                  <a:lnTo>
                    <a:pt x="52" y="4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53" y="3"/>
                  </a:moveTo>
                  <a:lnTo>
                    <a:pt x="53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close/>
                  <a:moveTo>
                    <a:pt x="37" y="3"/>
                  </a:move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3"/>
                  </a:lnTo>
                  <a:close/>
                  <a:moveTo>
                    <a:pt x="15" y="3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close/>
                  <a:moveTo>
                    <a:pt x="17" y="2"/>
                  </a:move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7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52" y="2"/>
                  </a:moveTo>
                  <a:lnTo>
                    <a:pt x="52" y="2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close/>
                  <a:moveTo>
                    <a:pt x="16" y="0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2" name="Freeform 38"/>
            <p:cNvSpPr>
              <a:spLocks noEditPoints="1"/>
            </p:cNvSpPr>
            <p:nvPr/>
          </p:nvSpPr>
          <p:spPr bwMode="auto">
            <a:xfrm>
              <a:off x="5830960" y="3575710"/>
              <a:ext cx="75709" cy="31691"/>
            </a:xfrm>
            <a:custGeom>
              <a:avLst/>
              <a:gdLst>
                <a:gd name="T0" fmla="*/ 15 w 58"/>
                <a:gd name="T1" fmla="*/ 23 h 23"/>
                <a:gd name="T2" fmla="*/ 4 w 58"/>
                <a:gd name="T3" fmla="*/ 20 h 23"/>
                <a:gd name="T4" fmla="*/ 4 w 58"/>
                <a:gd name="T5" fmla="*/ 20 h 23"/>
                <a:gd name="T6" fmla="*/ 25 w 58"/>
                <a:gd name="T7" fmla="*/ 18 h 23"/>
                <a:gd name="T8" fmla="*/ 25 w 58"/>
                <a:gd name="T9" fmla="*/ 18 h 23"/>
                <a:gd name="T10" fmla="*/ 23 w 58"/>
                <a:gd name="T11" fmla="*/ 18 h 23"/>
                <a:gd name="T12" fmla="*/ 23 w 58"/>
                <a:gd name="T13" fmla="*/ 18 h 23"/>
                <a:gd name="T14" fmla="*/ 23 w 58"/>
                <a:gd name="T15" fmla="*/ 18 h 23"/>
                <a:gd name="T16" fmla="*/ 22 w 58"/>
                <a:gd name="T17" fmla="*/ 17 h 23"/>
                <a:gd name="T18" fmla="*/ 0 w 58"/>
                <a:gd name="T19" fmla="*/ 17 h 23"/>
                <a:gd name="T20" fmla="*/ 22 w 58"/>
                <a:gd name="T21" fmla="*/ 16 h 23"/>
                <a:gd name="T22" fmla="*/ 22 w 58"/>
                <a:gd name="T23" fmla="*/ 16 h 23"/>
                <a:gd name="T24" fmla="*/ 32 w 58"/>
                <a:gd name="T25" fmla="*/ 13 h 23"/>
                <a:gd name="T26" fmla="*/ 37 w 58"/>
                <a:gd name="T27" fmla="*/ 13 h 23"/>
                <a:gd name="T28" fmla="*/ 57 w 58"/>
                <a:gd name="T29" fmla="*/ 13 h 23"/>
                <a:gd name="T30" fmla="*/ 57 w 58"/>
                <a:gd name="T31" fmla="*/ 13 h 23"/>
                <a:gd name="T32" fmla="*/ 58 w 58"/>
                <a:gd name="T33" fmla="*/ 13 h 23"/>
                <a:gd name="T34" fmla="*/ 13 w 58"/>
                <a:gd name="T35" fmla="*/ 13 h 23"/>
                <a:gd name="T36" fmla="*/ 57 w 58"/>
                <a:gd name="T37" fmla="*/ 13 h 23"/>
                <a:gd name="T38" fmla="*/ 13 w 58"/>
                <a:gd name="T39" fmla="*/ 12 h 23"/>
                <a:gd name="T40" fmla="*/ 13 w 58"/>
                <a:gd name="T41" fmla="*/ 12 h 23"/>
                <a:gd name="T42" fmla="*/ 13 w 58"/>
                <a:gd name="T43" fmla="*/ 12 h 23"/>
                <a:gd name="T44" fmla="*/ 37 w 58"/>
                <a:gd name="T45" fmla="*/ 12 h 23"/>
                <a:gd name="T46" fmla="*/ 37 w 58"/>
                <a:gd name="T47" fmla="*/ 12 h 23"/>
                <a:gd name="T48" fmla="*/ 56 w 58"/>
                <a:gd name="T49" fmla="*/ 11 h 23"/>
                <a:gd name="T50" fmla="*/ 52 w 58"/>
                <a:gd name="T51" fmla="*/ 10 h 23"/>
                <a:gd name="T52" fmla="*/ 56 w 58"/>
                <a:gd name="T53" fmla="*/ 9 h 23"/>
                <a:gd name="T54" fmla="*/ 56 w 58"/>
                <a:gd name="T55" fmla="*/ 9 h 23"/>
                <a:gd name="T56" fmla="*/ 52 w 58"/>
                <a:gd name="T57" fmla="*/ 9 h 23"/>
                <a:gd name="T58" fmla="*/ 52 w 58"/>
                <a:gd name="T59" fmla="*/ 9 h 23"/>
                <a:gd name="T60" fmla="*/ 26 w 58"/>
                <a:gd name="T61" fmla="*/ 8 h 23"/>
                <a:gd name="T62" fmla="*/ 46 w 58"/>
                <a:gd name="T63" fmla="*/ 8 h 23"/>
                <a:gd name="T64" fmla="*/ 45 w 58"/>
                <a:gd name="T65" fmla="*/ 8 h 23"/>
                <a:gd name="T66" fmla="*/ 46 w 58"/>
                <a:gd name="T67" fmla="*/ 8 h 23"/>
                <a:gd name="T68" fmla="*/ 46 w 58"/>
                <a:gd name="T69" fmla="*/ 8 h 23"/>
                <a:gd name="T70" fmla="*/ 46 w 58"/>
                <a:gd name="T71" fmla="*/ 8 h 23"/>
                <a:gd name="T72" fmla="*/ 14 w 58"/>
                <a:gd name="T73" fmla="*/ 7 h 23"/>
                <a:gd name="T74" fmla="*/ 14 w 58"/>
                <a:gd name="T75" fmla="*/ 7 h 23"/>
                <a:gd name="T76" fmla="*/ 50 w 58"/>
                <a:gd name="T77" fmla="*/ 7 h 23"/>
                <a:gd name="T78" fmla="*/ 34 w 58"/>
                <a:gd name="T79" fmla="*/ 7 h 23"/>
                <a:gd name="T80" fmla="*/ 50 w 58"/>
                <a:gd name="T81" fmla="*/ 7 h 23"/>
                <a:gd name="T82" fmla="*/ 50 w 58"/>
                <a:gd name="T83" fmla="*/ 6 h 23"/>
                <a:gd name="T84" fmla="*/ 23 w 58"/>
                <a:gd name="T85" fmla="*/ 6 h 23"/>
                <a:gd name="T86" fmla="*/ 23 w 58"/>
                <a:gd name="T87" fmla="*/ 6 h 23"/>
                <a:gd name="T88" fmla="*/ 13 w 58"/>
                <a:gd name="T89" fmla="*/ 5 h 23"/>
                <a:gd name="T90" fmla="*/ 52 w 58"/>
                <a:gd name="T91" fmla="*/ 5 h 23"/>
                <a:gd name="T92" fmla="*/ 52 w 58"/>
                <a:gd name="T93" fmla="*/ 5 h 23"/>
                <a:gd name="T94" fmla="*/ 15 w 58"/>
                <a:gd name="T95" fmla="*/ 4 h 23"/>
                <a:gd name="T96" fmla="*/ 15 w 58"/>
                <a:gd name="T97" fmla="*/ 4 h 23"/>
                <a:gd name="T98" fmla="*/ 13 w 58"/>
                <a:gd name="T9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" h="23">
                  <a:moveTo>
                    <a:pt x="15" y="23"/>
                  </a:move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25" y="18"/>
                  </a:move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close/>
                  <a:moveTo>
                    <a:pt x="23" y="18"/>
                  </a:move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close/>
                  <a:moveTo>
                    <a:pt x="22" y="17"/>
                  </a:move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22" y="16"/>
                  </a:move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close/>
                  <a:moveTo>
                    <a:pt x="32" y="13"/>
                  </a:move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close/>
                  <a:moveTo>
                    <a:pt x="37" y="13"/>
                  </a:move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58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56" y="11"/>
                  </a:move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close/>
                  <a:moveTo>
                    <a:pt x="52" y="10"/>
                  </a:move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close/>
                  <a:moveTo>
                    <a:pt x="56" y="9"/>
                  </a:move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close/>
                  <a:moveTo>
                    <a:pt x="52" y="9"/>
                  </a:move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close/>
                  <a:moveTo>
                    <a:pt x="26" y="8"/>
                  </a:move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14" y="7"/>
                  </a:move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34" y="7"/>
                  </a:move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23" y="6"/>
                  </a:move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close/>
                  <a:moveTo>
                    <a:pt x="13" y="5"/>
                  </a:move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close/>
                  <a:moveTo>
                    <a:pt x="52" y="5"/>
                  </a:move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3" name="Freeform 39"/>
            <p:cNvSpPr>
              <a:spLocks/>
            </p:cNvSpPr>
            <p:nvPr/>
          </p:nvSpPr>
          <p:spPr bwMode="auto">
            <a:xfrm>
              <a:off x="5703037" y="3873322"/>
              <a:ext cx="0" cy="1378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h 1"/>
                <a:gd name="T6" fmla="*/ 0 h 1"/>
                <a:gd name="T7" fmla="*/ 0 h 1"/>
                <a:gd name="T8" fmla="*/ 0 h 1"/>
                <a:gd name="T9" fmla="*/ 0 h 1"/>
                <a:gd name="T10" fmla="*/ 1 h 1"/>
                <a:gd name="T11" fmla="*/ 1 h 1"/>
                <a:gd name="T12" fmla="*/ 0 h 1"/>
                <a:gd name="T13" fmla="*/ 0 h 1"/>
                <a:gd name="T14" fmla="*/ 0 h 1"/>
                <a:gd name="T15" fmla="*/ 0 h 1"/>
                <a:gd name="T16" fmla="*/ 0 h 1"/>
                <a:gd name="T17" fmla="*/ 0 h 1"/>
                <a:gd name="T18" fmla="*/ 0 h 1"/>
                <a:gd name="T19" fmla="*/ 0 h 1"/>
                <a:gd name="T20" fmla="*/ 0 h 1"/>
                <a:gd name="T21" fmla="*/ 0 h 1"/>
                <a:gd name="T22" fmla="*/ 0 h 1"/>
                <a:gd name="T23" fmla="*/ 0 h 1"/>
                <a:gd name="T24" fmla="*/ 0 h 1"/>
                <a:gd name="T25" fmla="*/ 0 h 1"/>
                <a:gd name="T26" fmla="*/ 0 h 1"/>
                <a:gd name="T27" fmla="*/ 0 h 1"/>
                <a:gd name="T28" fmla="*/ 0 h 1"/>
                <a:gd name="T29" fmla="*/ 0 h 1"/>
                <a:gd name="T30" fmla="*/ 0 h 1"/>
                <a:gd name="T31" fmla="*/ 0 h 1"/>
                <a:gd name="T32" fmla="*/ 0 h 1"/>
                <a:gd name="T33" fmla="*/ 0 h 1"/>
                <a:gd name="T34" fmla="*/ 0 h 1"/>
                <a:gd name="T35" fmla="*/ 0 h 1"/>
                <a:gd name="T36" fmla="*/ 0 h 1"/>
                <a:gd name="T37" fmla="*/ 0 h 1"/>
                <a:gd name="T38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  <a:cxn ang="0">
                  <a:pos x="0" y="T26"/>
                </a:cxn>
                <a:cxn ang="0">
                  <a:pos x="0" y="T27"/>
                </a:cxn>
                <a:cxn ang="0">
                  <a:pos x="0" y="T28"/>
                </a:cxn>
                <a:cxn ang="0">
                  <a:pos x="0" y="T29"/>
                </a:cxn>
                <a:cxn ang="0">
                  <a:pos x="0" y="T30"/>
                </a:cxn>
                <a:cxn ang="0">
                  <a:pos x="0" y="T31"/>
                </a:cxn>
                <a:cxn ang="0">
                  <a:pos x="0" y="T32"/>
                </a:cxn>
                <a:cxn ang="0">
                  <a:pos x="0" y="T33"/>
                </a:cxn>
                <a:cxn ang="0">
                  <a:pos x="0" y="T34"/>
                </a:cxn>
                <a:cxn ang="0">
                  <a:pos x="0" y="T35"/>
                </a:cxn>
                <a:cxn ang="0">
                  <a:pos x="0" y="T36"/>
                </a:cxn>
                <a:cxn ang="0">
                  <a:pos x="0" y="T37"/>
                </a:cxn>
                <a:cxn ang="0">
                  <a:pos x="0" y="T38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4" name="Freeform 40"/>
            <p:cNvSpPr>
              <a:spLocks noEditPoints="1"/>
            </p:cNvSpPr>
            <p:nvPr/>
          </p:nvSpPr>
          <p:spPr bwMode="auto">
            <a:xfrm>
              <a:off x="5703037" y="387332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5" name="Freeform 41"/>
            <p:cNvSpPr>
              <a:spLocks/>
            </p:cNvSpPr>
            <p:nvPr/>
          </p:nvSpPr>
          <p:spPr bwMode="auto">
            <a:xfrm>
              <a:off x="6005874" y="3880210"/>
              <a:ext cx="28717" cy="11023"/>
            </a:xfrm>
            <a:custGeom>
              <a:avLst/>
              <a:gdLst>
                <a:gd name="T0" fmla="*/ 2 w 22"/>
                <a:gd name="T1" fmla="*/ 0 h 8"/>
                <a:gd name="T2" fmla="*/ 3 w 22"/>
                <a:gd name="T3" fmla="*/ 1 h 8"/>
                <a:gd name="T4" fmla="*/ 4 w 22"/>
                <a:gd name="T5" fmla="*/ 2 h 8"/>
                <a:gd name="T6" fmla="*/ 4 w 22"/>
                <a:gd name="T7" fmla="*/ 2 h 8"/>
                <a:gd name="T8" fmla="*/ 5 w 22"/>
                <a:gd name="T9" fmla="*/ 1 h 8"/>
                <a:gd name="T10" fmla="*/ 4 w 22"/>
                <a:gd name="T11" fmla="*/ 2 h 8"/>
                <a:gd name="T12" fmla="*/ 5 w 22"/>
                <a:gd name="T13" fmla="*/ 2 h 8"/>
                <a:gd name="T14" fmla="*/ 6 w 22"/>
                <a:gd name="T15" fmla="*/ 2 h 8"/>
                <a:gd name="T16" fmla="*/ 6 w 22"/>
                <a:gd name="T17" fmla="*/ 3 h 8"/>
                <a:gd name="T18" fmla="*/ 9 w 22"/>
                <a:gd name="T19" fmla="*/ 3 h 8"/>
                <a:gd name="T20" fmla="*/ 10 w 22"/>
                <a:gd name="T21" fmla="*/ 3 h 8"/>
                <a:gd name="T22" fmla="*/ 11 w 22"/>
                <a:gd name="T23" fmla="*/ 2 h 8"/>
                <a:gd name="T24" fmla="*/ 11 w 22"/>
                <a:gd name="T25" fmla="*/ 2 h 8"/>
                <a:gd name="T26" fmla="*/ 11 w 22"/>
                <a:gd name="T27" fmla="*/ 3 h 8"/>
                <a:gd name="T28" fmla="*/ 12 w 22"/>
                <a:gd name="T29" fmla="*/ 2 h 8"/>
                <a:gd name="T30" fmla="*/ 12 w 22"/>
                <a:gd name="T31" fmla="*/ 3 h 8"/>
                <a:gd name="T32" fmla="*/ 14 w 22"/>
                <a:gd name="T33" fmla="*/ 4 h 8"/>
                <a:gd name="T34" fmla="*/ 16 w 22"/>
                <a:gd name="T35" fmla="*/ 4 h 8"/>
                <a:gd name="T36" fmla="*/ 17 w 22"/>
                <a:gd name="T37" fmla="*/ 4 h 8"/>
                <a:gd name="T38" fmla="*/ 17 w 22"/>
                <a:gd name="T39" fmla="*/ 5 h 8"/>
                <a:gd name="T40" fmla="*/ 19 w 22"/>
                <a:gd name="T41" fmla="*/ 6 h 8"/>
                <a:gd name="T42" fmla="*/ 20 w 22"/>
                <a:gd name="T43" fmla="*/ 5 h 8"/>
                <a:gd name="T44" fmla="*/ 22 w 22"/>
                <a:gd name="T45" fmla="*/ 4 h 8"/>
                <a:gd name="T46" fmla="*/ 22 w 22"/>
                <a:gd name="T47" fmla="*/ 4 h 8"/>
                <a:gd name="T48" fmla="*/ 22 w 22"/>
                <a:gd name="T49" fmla="*/ 5 h 8"/>
                <a:gd name="T50" fmla="*/ 22 w 22"/>
                <a:gd name="T51" fmla="*/ 6 h 8"/>
                <a:gd name="T52" fmla="*/ 22 w 22"/>
                <a:gd name="T53" fmla="*/ 7 h 8"/>
                <a:gd name="T54" fmla="*/ 20 w 22"/>
                <a:gd name="T55" fmla="*/ 7 h 8"/>
                <a:gd name="T56" fmla="*/ 18 w 22"/>
                <a:gd name="T57" fmla="*/ 7 h 8"/>
                <a:gd name="T58" fmla="*/ 16 w 22"/>
                <a:gd name="T59" fmla="*/ 7 h 8"/>
                <a:gd name="T60" fmla="*/ 14 w 22"/>
                <a:gd name="T61" fmla="*/ 8 h 8"/>
                <a:gd name="T62" fmla="*/ 12 w 22"/>
                <a:gd name="T63" fmla="*/ 8 h 8"/>
                <a:gd name="T64" fmla="*/ 10 w 22"/>
                <a:gd name="T65" fmla="*/ 8 h 8"/>
                <a:gd name="T66" fmla="*/ 9 w 22"/>
                <a:gd name="T67" fmla="*/ 8 h 8"/>
                <a:gd name="T68" fmla="*/ 9 w 22"/>
                <a:gd name="T69" fmla="*/ 7 h 8"/>
                <a:gd name="T70" fmla="*/ 8 w 22"/>
                <a:gd name="T71" fmla="*/ 6 h 8"/>
                <a:gd name="T72" fmla="*/ 7 w 22"/>
                <a:gd name="T73" fmla="*/ 5 h 8"/>
                <a:gd name="T74" fmla="*/ 5 w 22"/>
                <a:gd name="T75" fmla="*/ 5 h 8"/>
                <a:gd name="T76" fmla="*/ 5 w 22"/>
                <a:gd name="T77" fmla="*/ 5 h 8"/>
                <a:gd name="T78" fmla="*/ 4 w 22"/>
                <a:gd name="T79" fmla="*/ 5 h 8"/>
                <a:gd name="T80" fmla="*/ 2 w 22"/>
                <a:gd name="T81" fmla="*/ 5 h 8"/>
                <a:gd name="T82" fmla="*/ 1 w 22"/>
                <a:gd name="T83" fmla="*/ 5 h 8"/>
                <a:gd name="T84" fmla="*/ 0 w 22"/>
                <a:gd name="T85" fmla="*/ 5 h 8"/>
                <a:gd name="T86" fmla="*/ 0 w 22"/>
                <a:gd name="T87" fmla="*/ 4 h 8"/>
                <a:gd name="T88" fmla="*/ 0 w 22"/>
                <a:gd name="T89" fmla="*/ 4 h 8"/>
                <a:gd name="T90" fmla="*/ 0 w 22"/>
                <a:gd name="T91" fmla="*/ 3 h 8"/>
                <a:gd name="T92" fmla="*/ 0 w 22"/>
                <a:gd name="T93" fmla="*/ 2 h 8"/>
                <a:gd name="T94" fmla="*/ 1 w 22"/>
                <a:gd name="T95" fmla="*/ 1 h 8"/>
                <a:gd name="T96" fmla="*/ 1 w 22"/>
                <a:gd name="T97" fmla="*/ 2 h 8"/>
                <a:gd name="T98" fmla="*/ 1 w 22"/>
                <a:gd name="T9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8">
                  <a:moveTo>
                    <a:pt x="1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6" name="Freeform 42"/>
            <p:cNvSpPr>
              <a:spLocks noEditPoints="1"/>
            </p:cNvSpPr>
            <p:nvPr/>
          </p:nvSpPr>
          <p:spPr bwMode="auto">
            <a:xfrm>
              <a:off x="5964103" y="3815453"/>
              <a:ext cx="91373" cy="62003"/>
            </a:xfrm>
            <a:custGeom>
              <a:avLst/>
              <a:gdLst>
                <a:gd name="T0" fmla="*/ 69 w 70"/>
                <a:gd name="T1" fmla="*/ 40 h 45"/>
                <a:gd name="T2" fmla="*/ 69 w 70"/>
                <a:gd name="T3" fmla="*/ 43 h 45"/>
                <a:gd name="T4" fmla="*/ 66 w 70"/>
                <a:gd name="T5" fmla="*/ 44 h 45"/>
                <a:gd name="T6" fmla="*/ 66 w 70"/>
                <a:gd name="T7" fmla="*/ 42 h 45"/>
                <a:gd name="T8" fmla="*/ 66 w 70"/>
                <a:gd name="T9" fmla="*/ 40 h 45"/>
                <a:gd name="T10" fmla="*/ 69 w 70"/>
                <a:gd name="T11" fmla="*/ 39 h 45"/>
                <a:gd name="T12" fmla="*/ 8 w 70"/>
                <a:gd name="T13" fmla="*/ 17 h 45"/>
                <a:gd name="T14" fmla="*/ 9 w 70"/>
                <a:gd name="T15" fmla="*/ 19 h 45"/>
                <a:gd name="T16" fmla="*/ 9 w 70"/>
                <a:gd name="T17" fmla="*/ 21 h 45"/>
                <a:gd name="T18" fmla="*/ 7 w 70"/>
                <a:gd name="T19" fmla="*/ 20 h 45"/>
                <a:gd name="T20" fmla="*/ 7 w 70"/>
                <a:gd name="T21" fmla="*/ 19 h 45"/>
                <a:gd name="T22" fmla="*/ 7 w 70"/>
                <a:gd name="T23" fmla="*/ 18 h 45"/>
                <a:gd name="T24" fmla="*/ 52 w 70"/>
                <a:gd name="T25" fmla="*/ 15 h 45"/>
                <a:gd name="T26" fmla="*/ 53 w 70"/>
                <a:gd name="T27" fmla="*/ 16 h 45"/>
                <a:gd name="T28" fmla="*/ 52 w 70"/>
                <a:gd name="T29" fmla="*/ 19 h 45"/>
                <a:gd name="T30" fmla="*/ 51 w 70"/>
                <a:gd name="T31" fmla="*/ 18 h 45"/>
                <a:gd name="T32" fmla="*/ 51 w 70"/>
                <a:gd name="T33" fmla="*/ 16 h 45"/>
                <a:gd name="T34" fmla="*/ 30 w 70"/>
                <a:gd name="T35" fmla="*/ 11 h 45"/>
                <a:gd name="T36" fmla="*/ 32 w 70"/>
                <a:gd name="T37" fmla="*/ 13 h 45"/>
                <a:gd name="T38" fmla="*/ 34 w 70"/>
                <a:gd name="T39" fmla="*/ 14 h 45"/>
                <a:gd name="T40" fmla="*/ 36 w 70"/>
                <a:gd name="T41" fmla="*/ 14 h 45"/>
                <a:gd name="T42" fmla="*/ 37 w 70"/>
                <a:gd name="T43" fmla="*/ 15 h 45"/>
                <a:gd name="T44" fmla="*/ 37 w 70"/>
                <a:gd name="T45" fmla="*/ 18 h 45"/>
                <a:gd name="T46" fmla="*/ 38 w 70"/>
                <a:gd name="T47" fmla="*/ 19 h 45"/>
                <a:gd name="T48" fmla="*/ 40 w 70"/>
                <a:gd name="T49" fmla="*/ 21 h 45"/>
                <a:gd name="T50" fmla="*/ 40 w 70"/>
                <a:gd name="T51" fmla="*/ 22 h 45"/>
                <a:gd name="T52" fmla="*/ 38 w 70"/>
                <a:gd name="T53" fmla="*/ 22 h 45"/>
                <a:gd name="T54" fmla="*/ 38 w 70"/>
                <a:gd name="T55" fmla="*/ 22 h 45"/>
                <a:gd name="T56" fmla="*/ 37 w 70"/>
                <a:gd name="T57" fmla="*/ 20 h 45"/>
                <a:gd name="T58" fmla="*/ 37 w 70"/>
                <a:gd name="T59" fmla="*/ 19 h 45"/>
                <a:gd name="T60" fmla="*/ 36 w 70"/>
                <a:gd name="T61" fmla="*/ 18 h 45"/>
                <a:gd name="T62" fmla="*/ 33 w 70"/>
                <a:gd name="T63" fmla="*/ 18 h 45"/>
                <a:gd name="T64" fmla="*/ 32 w 70"/>
                <a:gd name="T65" fmla="*/ 17 h 45"/>
                <a:gd name="T66" fmla="*/ 31 w 70"/>
                <a:gd name="T67" fmla="*/ 15 h 45"/>
                <a:gd name="T68" fmla="*/ 29 w 70"/>
                <a:gd name="T69" fmla="*/ 12 h 45"/>
                <a:gd name="T70" fmla="*/ 28 w 70"/>
                <a:gd name="T71" fmla="*/ 12 h 45"/>
                <a:gd name="T72" fmla="*/ 26 w 70"/>
                <a:gd name="T73" fmla="*/ 13 h 45"/>
                <a:gd name="T74" fmla="*/ 28 w 70"/>
                <a:gd name="T75" fmla="*/ 12 h 45"/>
                <a:gd name="T76" fmla="*/ 55 w 70"/>
                <a:gd name="T77" fmla="*/ 7 h 45"/>
                <a:gd name="T78" fmla="*/ 56 w 70"/>
                <a:gd name="T79" fmla="*/ 10 h 45"/>
                <a:gd name="T80" fmla="*/ 55 w 70"/>
                <a:gd name="T81" fmla="*/ 10 h 45"/>
                <a:gd name="T82" fmla="*/ 54 w 70"/>
                <a:gd name="T83" fmla="*/ 11 h 45"/>
                <a:gd name="T84" fmla="*/ 53 w 70"/>
                <a:gd name="T85" fmla="*/ 10 h 45"/>
                <a:gd name="T86" fmla="*/ 54 w 70"/>
                <a:gd name="T87" fmla="*/ 8 h 45"/>
                <a:gd name="T88" fmla="*/ 52 w 70"/>
                <a:gd name="T89" fmla="*/ 10 h 45"/>
                <a:gd name="T90" fmla="*/ 51 w 70"/>
                <a:gd name="T91" fmla="*/ 8 h 45"/>
                <a:gd name="T92" fmla="*/ 51 w 70"/>
                <a:gd name="T93" fmla="*/ 8 h 45"/>
                <a:gd name="T94" fmla="*/ 53 w 70"/>
                <a:gd name="T95" fmla="*/ 8 h 45"/>
                <a:gd name="T96" fmla="*/ 3 w 70"/>
                <a:gd name="T97" fmla="*/ 2 h 45"/>
                <a:gd name="T98" fmla="*/ 2 w 70"/>
                <a:gd name="T99" fmla="*/ 3 h 45"/>
                <a:gd name="T100" fmla="*/ 3 w 70"/>
                <a:gd name="T101" fmla="*/ 4 h 45"/>
                <a:gd name="T102" fmla="*/ 4 w 70"/>
                <a:gd name="T103" fmla="*/ 6 h 45"/>
                <a:gd name="T104" fmla="*/ 4 w 70"/>
                <a:gd name="T105" fmla="*/ 7 h 45"/>
                <a:gd name="T106" fmla="*/ 2 w 70"/>
                <a:gd name="T107" fmla="*/ 4 h 45"/>
                <a:gd name="T108" fmla="*/ 1 w 70"/>
                <a:gd name="T109" fmla="*/ 2 h 45"/>
                <a:gd name="T110" fmla="*/ 47 w 70"/>
                <a:gd name="T111" fmla="*/ 1 h 45"/>
                <a:gd name="T112" fmla="*/ 46 w 70"/>
                <a:gd name="T113" fmla="*/ 1 h 45"/>
                <a:gd name="T114" fmla="*/ 45 w 70"/>
                <a:gd name="T115" fmla="*/ 2 h 45"/>
                <a:gd name="T116" fmla="*/ 44 w 70"/>
                <a:gd name="T117" fmla="*/ 1 h 45"/>
                <a:gd name="T118" fmla="*/ 44 w 70"/>
                <a:gd name="T119" fmla="*/ 1 h 45"/>
                <a:gd name="T120" fmla="*/ 45 w 70"/>
                <a:gd name="T121" fmla="*/ 0 h 45"/>
                <a:gd name="T122" fmla="*/ 46 w 70"/>
                <a:gd name="T123" fmla="*/ 1 h 45"/>
                <a:gd name="T124" fmla="*/ 47 w 70"/>
                <a:gd name="T12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" h="45">
                  <a:moveTo>
                    <a:pt x="70" y="38"/>
                  </a:moveTo>
                  <a:lnTo>
                    <a:pt x="70" y="39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8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6" y="44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8" y="40"/>
                  </a:lnTo>
                  <a:lnTo>
                    <a:pt x="68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70" y="38"/>
                  </a:lnTo>
                  <a:close/>
                  <a:moveTo>
                    <a:pt x="8" y="16"/>
                  </a:move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6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0"/>
                  </a:lnTo>
                  <a:lnTo>
                    <a:pt x="51" y="20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1" y="18"/>
                  </a:lnTo>
                  <a:lnTo>
                    <a:pt x="51" y="17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2" y="15"/>
                  </a:lnTo>
                  <a:close/>
                  <a:moveTo>
                    <a:pt x="30" y="11"/>
                  </a:move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close/>
                  <a:moveTo>
                    <a:pt x="55" y="7"/>
                  </a:move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5" y="7"/>
                  </a:lnTo>
                  <a:close/>
                  <a:moveTo>
                    <a:pt x="2" y="2"/>
                  </a:move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47" y="0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7" name="Freeform 43"/>
            <p:cNvSpPr>
              <a:spLocks noEditPoints="1"/>
            </p:cNvSpPr>
            <p:nvPr/>
          </p:nvSpPr>
          <p:spPr bwMode="auto">
            <a:xfrm>
              <a:off x="5969324" y="3789273"/>
              <a:ext cx="69182" cy="79914"/>
            </a:xfrm>
            <a:custGeom>
              <a:avLst/>
              <a:gdLst>
                <a:gd name="T0" fmla="*/ 17 w 53"/>
                <a:gd name="T1" fmla="*/ 38 h 58"/>
                <a:gd name="T2" fmla="*/ 24 w 53"/>
                <a:gd name="T3" fmla="*/ 42 h 58"/>
                <a:gd name="T4" fmla="*/ 26 w 53"/>
                <a:gd name="T5" fmla="*/ 45 h 58"/>
                <a:gd name="T6" fmla="*/ 25 w 53"/>
                <a:gd name="T7" fmla="*/ 48 h 58"/>
                <a:gd name="T8" fmla="*/ 25 w 53"/>
                <a:gd name="T9" fmla="*/ 48 h 58"/>
                <a:gd name="T10" fmla="*/ 22 w 53"/>
                <a:gd name="T11" fmla="*/ 48 h 58"/>
                <a:gd name="T12" fmla="*/ 25 w 53"/>
                <a:gd name="T13" fmla="*/ 54 h 58"/>
                <a:gd name="T14" fmla="*/ 24 w 53"/>
                <a:gd name="T15" fmla="*/ 57 h 58"/>
                <a:gd name="T16" fmla="*/ 20 w 53"/>
                <a:gd name="T17" fmla="*/ 55 h 58"/>
                <a:gd name="T18" fmla="*/ 18 w 53"/>
                <a:gd name="T19" fmla="*/ 56 h 58"/>
                <a:gd name="T20" fmla="*/ 17 w 53"/>
                <a:gd name="T21" fmla="*/ 53 h 58"/>
                <a:gd name="T22" fmla="*/ 14 w 53"/>
                <a:gd name="T23" fmla="*/ 55 h 58"/>
                <a:gd name="T24" fmla="*/ 13 w 53"/>
                <a:gd name="T25" fmla="*/ 49 h 58"/>
                <a:gd name="T26" fmla="*/ 9 w 53"/>
                <a:gd name="T27" fmla="*/ 42 h 58"/>
                <a:gd name="T28" fmla="*/ 29 w 53"/>
                <a:gd name="T29" fmla="*/ 42 h 58"/>
                <a:gd name="T30" fmla="*/ 27 w 53"/>
                <a:gd name="T31" fmla="*/ 41 h 58"/>
                <a:gd name="T32" fmla="*/ 25 w 53"/>
                <a:gd name="T33" fmla="*/ 40 h 58"/>
                <a:gd name="T34" fmla="*/ 22 w 53"/>
                <a:gd name="T35" fmla="*/ 38 h 58"/>
                <a:gd name="T36" fmla="*/ 19 w 53"/>
                <a:gd name="T37" fmla="*/ 36 h 58"/>
                <a:gd name="T38" fmla="*/ 13 w 53"/>
                <a:gd name="T39" fmla="*/ 37 h 58"/>
                <a:gd name="T40" fmla="*/ 10 w 53"/>
                <a:gd name="T41" fmla="*/ 37 h 58"/>
                <a:gd name="T42" fmla="*/ 9 w 53"/>
                <a:gd name="T43" fmla="*/ 36 h 58"/>
                <a:gd name="T44" fmla="*/ 7 w 53"/>
                <a:gd name="T45" fmla="*/ 34 h 58"/>
                <a:gd name="T46" fmla="*/ 5 w 53"/>
                <a:gd name="T47" fmla="*/ 33 h 58"/>
                <a:gd name="T48" fmla="*/ 4 w 53"/>
                <a:gd name="T49" fmla="*/ 34 h 58"/>
                <a:gd name="T50" fmla="*/ 6 w 53"/>
                <a:gd name="T51" fmla="*/ 31 h 58"/>
                <a:gd name="T52" fmla="*/ 8 w 53"/>
                <a:gd name="T53" fmla="*/ 30 h 58"/>
                <a:gd name="T54" fmla="*/ 4 w 53"/>
                <a:gd name="T55" fmla="*/ 28 h 58"/>
                <a:gd name="T56" fmla="*/ 1 w 53"/>
                <a:gd name="T57" fmla="*/ 24 h 58"/>
                <a:gd name="T58" fmla="*/ 1 w 53"/>
                <a:gd name="T59" fmla="*/ 23 h 58"/>
                <a:gd name="T60" fmla="*/ 3 w 53"/>
                <a:gd name="T61" fmla="*/ 18 h 58"/>
                <a:gd name="T62" fmla="*/ 8 w 53"/>
                <a:gd name="T63" fmla="*/ 13 h 58"/>
                <a:gd name="T64" fmla="*/ 13 w 53"/>
                <a:gd name="T65" fmla="*/ 9 h 58"/>
                <a:gd name="T66" fmla="*/ 19 w 53"/>
                <a:gd name="T67" fmla="*/ 7 h 58"/>
                <a:gd name="T68" fmla="*/ 28 w 53"/>
                <a:gd name="T69" fmla="*/ 4 h 58"/>
                <a:gd name="T70" fmla="*/ 34 w 53"/>
                <a:gd name="T71" fmla="*/ 2 h 58"/>
                <a:gd name="T72" fmla="*/ 41 w 53"/>
                <a:gd name="T73" fmla="*/ 5 h 58"/>
                <a:gd name="T74" fmla="*/ 47 w 53"/>
                <a:gd name="T75" fmla="*/ 4 h 58"/>
                <a:gd name="T76" fmla="*/ 51 w 53"/>
                <a:gd name="T77" fmla="*/ 0 h 58"/>
                <a:gd name="T78" fmla="*/ 50 w 53"/>
                <a:gd name="T79" fmla="*/ 5 h 58"/>
                <a:gd name="T80" fmla="*/ 48 w 53"/>
                <a:gd name="T81" fmla="*/ 11 h 58"/>
                <a:gd name="T82" fmla="*/ 42 w 53"/>
                <a:gd name="T83" fmla="*/ 8 h 58"/>
                <a:gd name="T84" fmla="*/ 39 w 53"/>
                <a:gd name="T85" fmla="*/ 9 h 58"/>
                <a:gd name="T86" fmla="*/ 34 w 53"/>
                <a:gd name="T87" fmla="*/ 9 h 58"/>
                <a:gd name="T88" fmla="*/ 29 w 53"/>
                <a:gd name="T89" fmla="*/ 11 h 58"/>
                <a:gd name="T90" fmla="*/ 32 w 53"/>
                <a:gd name="T91" fmla="*/ 15 h 58"/>
                <a:gd name="T92" fmla="*/ 32 w 53"/>
                <a:gd name="T93" fmla="*/ 16 h 58"/>
                <a:gd name="T94" fmla="*/ 32 w 53"/>
                <a:gd name="T95" fmla="*/ 18 h 58"/>
                <a:gd name="T96" fmla="*/ 29 w 53"/>
                <a:gd name="T97" fmla="*/ 16 h 58"/>
                <a:gd name="T98" fmla="*/ 30 w 53"/>
                <a:gd name="T99" fmla="*/ 20 h 58"/>
                <a:gd name="T100" fmla="*/ 24 w 53"/>
                <a:gd name="T101" fmla="*/ 15 h 58"/>
                <a:gd name="T102" fmla="*/ 21 w 53"/>
                <a:gd name="T103" fmla="*/ 13 h 58"/>
                <a:gd name="T104" fmla="*/ 21 w 53"/>
                <a:gd name="T105" fmla="*/ 16 h 58"/>
                <a:gd name="T106" fmla="*/ 23 w 53"/>
                <a:gd name="T107" fmla="*/ 24 h 58"/>
                <a:gd name="T108" fmla="*/ 25 w 53"/>
                <a:gd name="T109" fmla="*/ 29 h 58"/>
                <a:gd name="T110" fmla="*/ 24 w 53"/>
                <a:gd name="T111" fmla="*/ 27 h 58"/>
                <a:gd name="T112" fmla="*/ 23 w 53"/>
                <a:gd name="T113" fmla="*/ 31 h 58"/>
                <a:gd name="T114" fmla="*/ 21 w 53"/>
                <a:gd name="T115" fmla="*/ 31 h 58"/>
                <a:gd name="T116" fmla="*/ 26 w 53"/>
                <a:gd name="T117" fmla="*/ 34 h 58"/>
                <a:gd name="T118" fmla="*/ 30 w 53"/>
                <a:gd name="T119" fmla="*/ 37 h 58"/>
                <a:gd name="T120" fmla="*/ 32 w 53"/>
                <a:gd name="T121" fmla="*/ 4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" h="58">
                  <a:moveTo>
                    <a:pt x="10" y="39"/>
                  </a:moveTo>
                  <a:lnTo>
                    <a:pt x="11" y="39"/>
                  </a:lnTo>
                  <a:lnTo>
                    <a:pt x="10" y="38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8" y="46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2" y="47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9"/>
                  </a:lnTo>
                  <a:lnTo>
                    <a:pt x="23" y="49"/>
                  </a:lnTo>
                  <a:lnTo>
                    <a:pt x="23" y="50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8"/>
                  </a:lnTo>
                  <a:lnTo>
                    <a:pt x="25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20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6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8" y="55"/>
                  </a:lnTo>
                  <a:lnTo>
                    <a:pt x="19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6" y="51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2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2" y="46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39"/>
                  </a:lnTo>
                  <a:close/>
                  <a:moveTo>
                    <a:pt x="30" y="43"/>
                  </a:moveTo>
                  <a:lnTo>
                    <a:pt x="30" y="42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2" y="41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3" y="38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3" y="39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1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6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8"/>
                  </a:lnTo>
                  <a:lnTo>
                    <a:pt x="43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8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8" y="20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8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8" name="Freeform 44"/>
            <p:cNvSpPr>
              <a:spLocks noEditPoints="1"/>
            </p:cNvSpPr>
            <p:nvPr/>
          </p:nvSpPr>
          <p:spPr bwMode="auto">
            <a:xfrm>
              <a:off x="5962798" y="3803052"/>
              <a:ext cx="107037" cy="89559"/>
            </a:xfrm>
            <a:custGeom>
              <a:avLst/>
              <a:gdLst>
                <a:gd name="T0" fmla="*/ 33 w 82"/>
                <a:gd name="T1" fmla="*/ 60 h 65"/>
                <a:gd name="T2" fmla="*/ 46 w 82"/>
                <a:gd name="T3" fmla="*/ 58 h 65"/>
                <a:gd name="T4" fmla="*/ 61 w 82"/>
                <a:gd name="T5" fmla="*/ 57 h 65"/>
                <a:gd name="T6" fmla="*/ 63 w 82"/>
                <a:gd name="T7" fmla="*/ 54 h 65"/>
                <a:gd name="T8" fmla="*/ 65 w 82"/>
                <a:gd name="T9" fmla="*/ 50 h 65"/>
                <a:gd name="T10" fmla="*/ 67 w 82"/>
                <a:gd name="T11" fmla="*/ 50 h 65"/>
                <a:gd name="T12" fmla="*/ 28 w 82"/>
                <a:gd name="T13" fmla="*/ 50 h 65"/>
                <a:gd name="T14" fmla="*/ 49 w 82"/>
                <a:gd name="T15" fmla="*/ 48 h 65"/>
                <a:gd name="T16" fmla="*/ 64 w 82"/>
                <a:gd name="T17" fmla="*/ 47 h 65"/>
                <a:gd name="T18" fmla="*/ 61 w 82"/>
                <a:gd name="T19" fmla="*/ 46 h 65"/>
                <a:gd name="T20" fmla="*/ 67 w 82"/>
                <a:gd name="T21" fmla="*/ 46 h 65"/>
                <a:gd name="T22" fmla="*/ 55 w 82"/>
                <a:gd name="T23" fmla="*/ 46 h 65"/>
                <a:gd name="T24" fmla="*/ 61 w 82"/>
                <a:gd name="T25" fmla="*/ 45 h 65"/>
                <a:gd name="T26" fmla="*/ 40 w 82"/>
                <a:gd name="T27" fmla="*/ 45 h 65"/>
                <a:gd name="T28" fmla="*/ 40 w 82"/>
                <a:gd name="T29" fmla="*/ 45 h 65"/>
                <a:gd name="T30" fmla="*/ 48 w 82"/>
                <a:gd name="T31" fmla="*/ 46 h 65"/>
                <a:gd name="T32" fmla="*/ 35 w 82"/>
                <a:gd name="T33" fmla="*/ 43 h 65"/>
                <a:gd name="T34" fmla="*/ 49 w 82"/>
                <a:gd name="T35" fmla="*/ 43 h 65"/>
                <a:gd name="T36" fmla="*/ 60 w 82"/>
                <a:gd name="T37" fmla="*/ 44 h 65"/>
                <a:gd name="T38" fmla="*/ 53 w 82"/>
                <a:gd name="T39" fmla="*/ 43 h 65"/>
                <a:gd name="T40" fmla="*/ 53 w 82"/>
                <a:gd name="T41" fmla="*/ 42 h 65"/>
                <a:gd name="T42" fmla="*/ 45 w 82"/>
                <a:gd name="T43" fmla="*/ 42 h 65"/>
                <a:gd name="T44" fmla="*/ 42 w 82"/>
                <a:gd name="T45" fmla="*/ 42 h 65"/>
                <a:gd name="T46" fmla="*/ 60 w 82"/>
                <a:gd name="T47" fmla="*/ 42 h 65"/>
                <a:gd name="T48" fmla="*/ 46 w 82"/>
                <a:gd name="T49" fmla="*/ 41 h 65"/>
                <a:gd name="T50" fmla="*/ 60 w 82"/>
                <a:gd name="T51" fmla="*/ 40 h 65"/>
                <a:gd name="T52" fmla="*/ 48 w 82"/>
                <a:gd name="T53" fmla="*/ 43 h 65"/>
                <a:gd name="T54" fmla="*/ 40 w 82"/>
                <a:gd name="T55" fmla="*/ 40 h 65"/>
                <a:gd name="T56" fmla="*/ 30 w 82"/>
                <a:gd name="T57" fmla="*/ 39 h 65"/>
                <a:gd name="T58" fmla="*/ 31 w 82"/>
                <a:gd name="T59" fmla="*/ 38 h 65"/>
                <a:gd name="T60" fmla="*/ 57 w 82"/>
                <a:gd name="T61" fmla="*/ 39 h 65"/>
                <a:gd name="T62" fmla="*/ 47 w 82"/>
                <a:gd name="T63" fmla="*/ 38 h 65"/>
                <a:gd name="T64" fmla="*/ 41 w 82"/>
                <a:gd name="T65" fmla="*/ 38 h 65"/>
                <a:gd name="T66" fmla="*/ 48 w 82"/>
                <a:gd name="T67" fmla="*/ 36 h 65"/>
                <a:gd name="T68" fmla="*/ 44 w 82"/>
                <a:gd name="T69" fmla="*/ 36 h 65"/>
                <a:gd name="T70" fmla="*/ 56 w 82"/>
                <a:gd name="T71" fmla="*/ 35 h 65"/>
                <a:gd name="T72" fmla="*/ 57 w 82"/>
                <a:gd name="T73" fmla="*/ 35 h 65"/>
                <a:gd name="T74" fmla="*/ 39 w 82"/>
                <a:gd name="T75" fmla="*/ 34 h 65"/>
                <a:gd name="T76" fmla="*/ 56 w 82"/>
                <a:gd name="T77" fmla="*/ 35 h 65"/>
                <a:gd name="T78" fmla="*/ 38 w 82"/>
                <a:gd name="T79" fmla="*/ 34 h 65"/>
                <a:gd name="T80" fmla="*/ 32 w 82"/>
                <a:gd name="T81" fmla="*/ 34 h 65"/>
                <a:gd name="T82" fmla="*/ 61 w 82"/>
                <a:gd name="T83" fmla="*/ 34 h 65"/>
                <a:gd name="T84" fmla="*/ 31 w 82"/>
                <a:gd name="T85" fmla="*/ 33 h 65"/>
                <a:gd name="T86" fmla="*/ 9 w 82"/>
                <a:gd name="T87" fmla="*/ 33 h 65"/>
                <a:gd name="T88" fmla="*/ 45 w 82"/>
                <a:gd name="T89" fmla="*/ 34 h 65"/>
                <a:gd name="T90" fmla="*/ 42 w 82"/>
                <a:gd name="T91" fmla="*/ 31 h 65"/>
                <a:gd name="T92" fmla="*/ 38 w 82"/>
                <a:gd name="T93" fmla="*/ 31 h 65"/>
                <a:gd name="T94" fmla="*/ 13 w 82"/>
                <a:gd name="T95" fmla="*/ 27 h 65"/>
                <a:gd name="T96" fmla="*/ 11 w 82"/>
                <a:gd name="T97" fmla="*/ 28 h 65"/>
                <a:gd name="T98" fmla="*/ 55 w 82"/>
                <a:gd name="T99" fmla="*/ 25 h 65"/>
                <a:gd name="T100" fmla="*/ 12 w 82"/>
                <a:gd name="T101" fmla="*/ 24 h 65"/>
                <a:gd name="T102" fmla="*/ 41 w 82"/>
                <a:gd name="T103" fmla="*/ 22 h 65"/>
                <a:gd name="T104" fmla="*/ 41 w 82"/>
                <a:gd name="T105" fmla="*/ 23 h 65"/>
                <a:gd name="T106" fmla="*/ 38 w 82"/>
                <a:gd name="T107" fmla="*/ 19 h 65"/>
                <a:gd name="T108" fmla="*/ 35 w 82"/>
                <a:gd name="T109" fmla="*/ 19 h 65"/>
                <a:gd name="T110" fmla="*/ 37 w 82"/>
                <a:gd name="T111" fmla="*/ 17 h 65"/>
                <a:gd name="T112" fmla="*/ 36 w 82"/>
                <a:gd name="T113" fmla="*/ 17 h 65"/>
                <a:gd name="T114" fmla="*/ 38 w 82"/>
                <a:gd name="T115" fmla="*/ 16 h 65"/>
                <a:gd name="T116" fmla="*/ 0 w 82"/>
                <a:gd name="T117" fmla="*/ 10 h 65"/>
                <a:gd name="T118" fmla="*/ 50 w 82"/>
                <a:gd name="T119" fmla="*/ 4 h 65"/>
                <a:gd name="T120" fmla="*/ 42 w 82"/>
                <a:gd name="T121" fmla="*/ 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65">
                  <a:moveTo>
                    <a:pt x="37" y="64"/>
                  </a:moveTo>
                  <a:lnTo>
                    <a:pt x="37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7" y="65"/>
                  </a:lnTo>
                  <a:lnTo>
                    <a:pt x="37" y="64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37" y="64"/>
                  </a:moveTo>
                  <a:lnTo>
                    <a:pt x="37" y="64"/>
                  </a:lnTo>
                  <a:lnTo>
                    <a:pt x="37" y="64"/>
                  </a:lnTo>
                  <a:close/>
                  <a:moveTo>
                    <a:pt x="54" y="64"/>
                  </a:moveTo>
                  <a:lnTo>
                    <a:pt x="54" y="64"/>
                  </a:lnTo>
                  <a:lnTo>
                    <a:pt x="54" y="64"/>
                  </a:lnTo>
                  <a:close/>
                  <a:moveTo>
                    <a:pt x="52" y="61"/>
                  </a:moveTo>
                  <a:lnTo>
                    <a:pt x="52" y="61"/>
                  </a:lnTo>
                  <a:lnTo>
                    <a:pt x="52" y="61"/>
                  </a:lnTo>
                  <a:close/>
                  <a:moveTo>
                    <a:pt x="33" y="60"/>
                  </a:moveTo>
                  <a:lnTo>
                    <a:pt x="33" y="60"/>
                  </a:lnTo>
                  <a:lnTo>
                    <a:pt x="33" y="60"/>
                  </a:lnTo>
                  <a:close/>
                  <a:moveTo>
                    <a:pt x="56" y="60"/>
                  </a:moveTo>
                  <a:lnTo>
                    <a:pt x="55" y="60"/>
                  </a:lnTo>
                  <a:lnTo>
                    <a:pt x="56" y="60"/>
                  </a:lnTo>
                  <a:close/>
                  <a:moveTo>
                    <a:pt x="54" y="59"/>
                  </a:moveTo>
                  <a:lnTo>
                    <a:pt x="54" y="60"/>
                  </a:lnTo>
                  <a:lnTo>
                    <a:pt x="54" y="59"/>
                  </a:lnTo>
                  <a:lnTo>
                    <a:pt x="54" y="60"/>
                  </a:lnTo>
                  <a:lnTo>
                    <a:pt x="54" y="59"/>
                  </a:lnTo>
                  <a:close/>
                  <a:moveTo>
                    <a:pt x="61" y="58"/>
                  </a:moveTo>
                  <a:lnTo>
                    <a:pt x="61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1" y="58"/>
                  </a:lnTo>
                  <a:close/>
                  <a:moveTo>
                    <a:pt x="46" y="58"/>
                  </a:move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close/>
                  <a:moveTo>
                    <a:pt x="63" y="54"/>
                  </a:moveTo>
                  <a:lnTo>
                    <a:pt x="63" y="55"/>
                  </a:lnTo>
                  <a:lnTo>
                    <a:pt x="63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2" y="54"/>
                  </a:lnTo>
                  <a:lnTo>
                    <a:pt x="63" y="54"/>
                  </a:lnTo>
                  <a:close/>
                  <a:moveTo>
                    <a:pt x="59" y="54"/>
                  </a:moveTo>
                  <a:lnTo>
                    <a:pt x="59" y="53"/>
                  </a:lnTo>
                  <a:lnTo>
                    <a:pt x="59" y="54"/>
                  </a:lnTo>
                  <a:close/>
                  <a:moveTo>
                    <a:pt x="31" y="53"/>
                  </a:moveTo>
                  <a:lnTo>
                    <a:pt x="31" y="54"/>
                  </a:lnTo>
                  <a:lnTo>
                    <a:pt x="31" y="53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3"/>
                  </a:lnTo>
                  <a:close/>
                  <a:moveTo>
                    <a:pt x="63" y="53"/>
                  </a:moveTo>
                  <a:lnTo>
                    <a:pt x="63" y="54"/>
                  </a:lnTo>
                  <a:lnTo>
                    <a:pt x="63" y="53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3"/>
                  </a:lnTo>
                  <a:close/>
                  <a:moveTo>
                    <a:pt x="56" y="52"/>
                  </a:moveTo>
                  <a:lnTo>
                    <a:pt x="56" y="52"/>
                  </a:lnTo>
                  <a:lnTo>
                    <a:pt x="56" y="52"/>
                  </a:lnTo>
                  <a:close/>
                  <a:moveTo>
                    <a:pt x="82" y="52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2"/>
                  </a:lnTo>
                  <a:close/>
                  <a:moveTo>
                    <a:pt x="81" y="51"/>
                  </a:moveTo>
                  <a:lnTo>
                    <a:pt x="81" y="51"/>
                  </a:lnTo>
                  <a:lnTo>
                    <a:pt x="81" y="51"/>
                  </a:lnTo>
                  <a:close/>
                  <a:moveTo>
                    <a:pt x="82" y="51"/>
                  </a:moveTo>
                  <a:lnTo>
                    <a:pt x="81" y="51"/>
                  </a:lnTo>
                  <a:lnTo>
                    <a:pt x="82" y="51"/>
                  </a:lnTo>
                  <a:lnTo>
                    <a:pt x="82" y="50"/>
                  </a:lnTo>
                  <a:lnTo>
                    <a:pt x="82" y="51"/>
                  </a:lnTo>
                  <a:close/>
                  <a:moveTo>
                    <a:pt x="65" y="50"/>
                  </a:move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close/>
                  <a:moveTo>
                    <a:pt x="29" y="49"/>
                  </a:moveTo>
                  <a:lnTo>
                    <a:pt x="29" y="50"/>
                  </a:lnTo>
                  <a:lnTo>
                    <a:pt x="29" y="49"/>
                  </a:lnTo>
                  <a:close/>
                  <a:moveTo>
                    <a:pt x="52" y="49"/>
                  </a:moveTo>
                  <a:lnTo>
                    <a:pt x="52" y="50"/>
                  </a:lnTo>
                  <a:lnTo>
                    <a:pt x="52" y="49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49"/>
                  </a:lnTo>
                  <a:close/>
                  <a:moveTo>
                    <a:pt x="67" y="49"/>
                  </a:moveTo>
                  <a:lnTo>
                    <a:pt x="67" y="50"/>
                  </a:lnTo>
                  <a:lnTo>
                    <a:pt x="66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49"/>
                  </a:lnTo>
                  <a:lnTo>
                    <a:pt x="67" y="49"/>
                  </a:lnTo>
                  <a:close/>
                  <a:moveTo>
                    <a:pt x="58" y="49"/>
                  </a:moveTo>
                  <a:lnTo>
                    <a:pt x="59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close/>
                  <a:moveTo>
                    <a:pt x="29" y="48"/>
                  </a:move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50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48"/>
                  </a:lnTo>
                  <a:lnTo>
                    <a:pt x="29" y="48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1" y="49"/>
                  </a:lnTo>
                  <a:lnTo>
                    <a:pt x="50" y="49"/>
                  </a:lnTo>
                  <a:lnTo>
                    <a:pt x="50" y="48"/>
                  </a:lnTo>
                  <a:lnTo>
                    <a:pt x="51" y="48"/>
                  </a:lnTo>
                  <a:lnTo>
                    <a:pt x="51" y="49"/>
                  </a:lnTo>
                  <a:close/>
                  <a:moveTo>
                    <a:pt x="48" y="48"/>
                  </a:moveTo>
                  <a:lnTo>
                    <a:pt x="48" y="48"/>
                  </a:lnTo>
                  <a:lnTo>
                    <a:pt x="48" y="48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7" y="48"/>
                  </a:lnTo>
                  <a:lnTo>
                    <a:pt x="48" y="47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9" y="48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7"/>
                  </a:lnTo>
                  <a:close/>
                  <a:moveTo>
                    <a:pt x="64" y="47"/>
                  </a:move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7"/>
                  </a:lnTo>
                  <a:lnTo>
                    <a:pt x="63" y="48"/>
                  </a:lnTo>
                  <a:lnTo>
                    <a:pt x="63" y="47"/>
                  </a:lnTo>
                  <a:lnTo>
                    <a:pt x="64" y="47"/>
                  </a:lnTo>
                  <a:close/>
                  <a:moveTo>
                    <a:pt x="29" y="47"/>
                  </a:moveTo>
                  <a:lnTo>
                    <a:pt x="29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9" y="47"/>
                  </a:lnTo>
                  <a:close/>
                  <a:moveTo>
                    <a:pt x="56" y="47"/>
                  </a:moveTo>
                  <a:lnTo>
                    <a:pt x="56" y="46"/>
                  </a:lnTo>
                  <a:lnTo>
                    <a:pt x="56" y="47"/>
                  </a:lnTo>
                  <a:close/>
                  <a:moveTo>
                    <a:pt x="54" y="46"/>
                  </a:moveTo>
                  <a:lnTo>
                    <a:pt x="54" y="47"/>
                  </a:lnTo>
                  <a:lnTo>
                    <a:pt x="54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62" y="46"/>
                  </a:moveTo>
                  <a:lnTo>
                    <a:pt x="63" y="46"/>
                  </a:lnTo>
                  <a:lnTo>
                    <a:pt x="63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close/>
                  <a:moveTo>
                    <a:pt x="50" y="46"/>
                  </a:moveTo>
                  <a:lnTo>
                    <a:pt x="50" y="46"/>
                  </a:lnTo>
                  <a:lnTo>
                    <a:pt x="50" y="46"/>
                  </a:lnTo>
                  <a:close/>
                  <a:moveTo>
                    <a:pt x="67" y="46"/>
                  </a:move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44" y="45"/>
                  </a:move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5"/>
                  </a:lnTo>
                  <a:close/>
                  <a:moveTo>
                    <a:pt x="68" y="45"/>
                  </a:moveTo>
                  <a:lnTo>
                    <a:pt x="68" y="46"/>
                  </a:lnTo>
                  <a:lnTo>
                    <a:pt x="67" y="46"/>
                  </a:lnTo>
                  <a:lnTo>
                    <a:pt x="67" y="45"/>
                  </a:lnTo>
                  <a:lnTo>
                    <a:pt x="68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1" y="46"/>
                  </a:ln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20" y="45"/>
                  </a:moveTo>
                  <a:lnTo>
                    <a:pt x="20" y="45"/>
                  </a:lnTo>
                  <a:lnTo>
                    <a:pt x="20" y="45"/>
                  </a:lnTo>
                  <a:close/>
                  <a:moveTo>
                    <a:pt x="46" y="45"/>
                  </a:moveTo>
                  <a:lnTo>
                    <a:pt x="46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5" y="45"/>
                  </a:lnTo>
                  <a:lnTo>
                    <a:pt x="46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40" y="44"/>
                  </a:moveTo>
                  <a:lnTo>
                    <a:pt x="40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40" y="44"/>
                  </a:lnTo>
                  <a:close/>
                  <a:moveTo>
                    <a:pt x="42" y="44"/>
                  </a:moveTo>
                  <a:lnTo>
                    <a:pt x="42" y="45"/>
                  </a:lnTo>
                  <a:lnTo>
                    <a:pt x="42" y="44"/>
                  </a:lnTo>
                  <a:lnTo>
                    <a:pt x="41" y="44"/>
                  </a:lnTo>
                  <a:lnTo>
                    <a:pt x="42" y="44"/>
                  </a:lnTo>
                  <a:close/>
                  <a:moveTo>
                    <a:pt x="47" y="44"/>
                  </a:moveTo>
                  <a:lnTo>
                    <a:pt x="48" y="44"/>
                  </a:lnTo>
                  <a:lnTo>
                    <a:pt x="47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7" y="44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38" y="44"/>
                  </a:moveTo>
                  <a:lnTo>
                    <a:pt x="39" y="44"/>
                  </a:lnTo>
                  <a:lnTo>
                    <a:pt x="38" y="44"/>
                  </a:lnTo>
                  <a:close/>
                  <a:moveTo>
                    <a:pt x="50" y="44"/>
                  </a:moveTo>
                  <a:lnTo>
                    <a:pt x="50" y="43"/>
                  </a:lnTo>
                  <a:lnTo>
                    <a:pt x="50" y="44"/>
                  </a:lnTo>
                  <a:close/>
                  <a:moveTo>
                    <a:pt x="35" y="43"/>
                  </a:moveTo>
                  <a:lnTo>
                    <a:pt x="36" y="43"/>
                  </a:lnTo>
                  <a:lnTo>
                    <a:pt x="35" y="43"/>
                  </a:lnTo>
                  <a:close/>
                  <a:moveTo>
                    <a:pt x="41" y="43"/>
                  </a:moveTo>
                  <a:lnTo>
                    <a:pt x="41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1" y="43"/>
                  </a:lnTo>
                  <a:close/>
                  <a:moveTo>
                    <a:pt x="50" y="43"/>
                  </a:moveTo>
                  <a:lnTo>
                    <a:pt x="50" y="43"/>
                  </a:lnTo>
                  <a:lnTo>
                    <a:pt x="50" y="43"/>
                  </a:lnTo>
                  <a:close/>
                  <a:moveTo>
                    <a:pt x="48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9" y="43"/>
                  </a:lnTo>
                  <a:lnTo>
                    <a:pt x="48" y="43"/>
                  </a:lnTo>
                  <a:close/>
                  <a:moveTo>
                    <a:pt x="52" y="43"/>
                  </a:moveTo>
                  <a:lnTo>
                    <a:pt x="52" y="43"/>
                  </a:lnTo>
                  <a:lnTo>
                    <a:pt x="52" y="43"/>
                  </a:lnTo>
                  <a:close/>
                  <a:moveTo>
                    <a:pt x="49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close/>
                  <a:moveTo>
                    <a:pt x="50" y="43"/>
                  </a:moveTo>
                  <a:lnTo>
                    <a:pt x="49" y="43"/>
                  </a:lnTo>
                  <a:lnTo>
                    <a:pt x="50" y="43"/>
                  </a:lnTo>
                  <a:close/>
                  <a:moveTo>
                    <a:pt x="63" y="43"/>
                  </a:moveTo>
                  <a:lnTo>
                    <a:pt x="64" y="43"/>
                  </a:lnTo>
                  <a:lnTo>
                    <a:pt x="64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4"/>
                  </a:lnTo>
                  <a:lnTo>
                    <a:pt x="61" y="44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2" y="43"/>
                  </a:lnTo>
                  <a:lnTo>
                    <a:pt x="63" y="43"/>
                  </a:lnTo>
                  <a:lnTo>
                    <a:pt x="63" y="43"/>
                  </a:lnTo>
                  <a:close/>
                  <a:moveTo>
                    <a:pt x="60" y="43"/>
                  </a:moveTo>
                  <a:lnTo>
                    <a:pt x="60" y="42"/>
                  </a:lnTo>
                  <a:lnTo>
                    <a:pt x="60" y="43"/>
                  </a:lnTo>
                  <a:close/>
                  <a:moveTo>
                    <a:pt x="49" y="43"/>
                  </a:moveTo>
                  <a:lnTo>
                    <a:pt x="49" y="42"/>
                  </a:lnTo>
                  <a:lnTo>
                    <a:pt x="49" y="43"/>
                  </a:lnTo>
                  <a:close/>
                  <a:moveTo>
                    <a:pt x="33" y="42"/>
                  </a:moveTo>
                  <a:lnTo>
                    <a:pt x="33" y="43"/>
                  </a:lnTo>
                  <a:lnTo>
                    <a:pt x="32" y="43"/>
                  </a:lnTo>
                  <a:lnTo>
                    <a:pt x="32" y="42"/>
                  </a:lnTo>
                  <a:lnTo>
                    <a:pt x="33" y="42"/>
                  </a:lnTo>
                  <a:close/>
                  <a:moveTo>
                    <a:pt x="53" y="42"/>
                  </a:move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0" y="44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2"/>
                  </a:lnTo>
                  <a:lnTo>
                    <a:pt x="53" y="42"/>
                  </a:lnTo>
                  <a:close/>
                  <a:moveTo>
                    <a:pt x="18" y="43"/>
                  </a:move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3"/>
                  </a:lnTo>
                  <a:close/>
                  <a:moveTo>
                    <a:pt x="49" y="42"/>
                  </a:moveTo>
                  <a:lnTo>
                    <a:pt x="50" y="42"/>
                  </a:lnTo>
                  <a:lnTo>
                    <a:pt x="49" y="42"/>
                  </a:lnTo>
                  <a:close/>
                  <a:moveTo>
                    <a:pt x="44" y="42"/>
                  </a:moveTo>
                  <a:lnTo>
                    <a:pt x="45" y="42"/>
                  </a:lnTo>
                  <a:lnTo>
                    <a:pt x="44" y="42"/>
                  </a:lnTo>
                  <a:close/>
                  <a:moveTo>
                    <a:pt x="62" y="42"/>
                  </a:moveTo>
                  <a:lnTo>
                    <a:pt x="61" y="42"/>
                  </a:lnTo>
                  <a:lnTo>
                    <a:pt x="62" y="42"/>
                  </a:lnTo>
                  <a:close/>
                  <a:moveTo>
                    <a:pt x="45" y="42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close/>
                  <a:moveTo>
                    <a:pt x="46" y="42"/>
                  </a:moveTo>
                  <a:lnTo>
                    <a:pt x="46" y="42"/>
                  </a:lnTo>
                  <a:lnTo>
                    <a:pt x="45" y="42"/>
                  </a:lnTo>
                  <a:lnTo>
                    <a:pt x="46" y="42"/>
                  </a:lnTo>
                  <a:close/>
                  <a:moveTo>
                    <a:pt x="55" y="42"/>
                  </a:moveTo>
                  <a:lnTo>
                    <a:pt x="55" y="42"/>
                  </a:lnTo>
                  <a:lnTo>
                    <a:pt x="55" y="42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6" y="42"/>
                  </a:moveTo>
                  <a:lnTo>
                    <a:pt x="57" y="42"/>
                  </a:lnTo>
                  <a:lnTo>
                    <a:pt x="56" y="42"/>
                  </a:lnTo>
                  <a:lnTo>
                    <a:pt x="56" y="41"/>
                  </a:lnTo>
                  <a:lnTo>
                    <a:pt x="56" y="42"/>
                  </a:lnTo>
                  <a:close/>
                  <a:moveTo>
                    <a:pt x="42" y="41"/>
                  </a:moveTo>
                  <a:lnTo>
                    <a:pt x="42" y="41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2" y="42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1"/>
                  </a:lnTo>
                  <a:close/>
                  <a:moveTo>
                    <a:pt x="45" y="41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1"/>
                  </a:lnTo>
                  <a:close/>
                  <a:moveTo>
                    <a:pt x="60" y="41"/>
                  </a:moveTo>
                  <a:lnTo>
                    <a:pt x="60" y="41"/>
                  </a:lnTo>
                  <a:lnTo>
                    <a:pt x="61" y="41"/>
                  </a:lnTo>
                  <a:lnTo>
                    <a:pt x="60" y="41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close/>
                  <a:moveTo>
                    <a:pt x="50" y="41"/>
                  </a:moveTo>
                  <a:lnTo>
                    <a:pt x="50" y="41"/>
                  </a:lnTo>
                  <a:lnTo>
                    <a:pt x="50" y="41"/>
                  </a:lnTo>
                  <a:close/>
                  <a:moveTo>
                    <a:pt x="52" y="40"/>
                  </a:moveTo>
                  <a:lnTo>
                    <a:pt x="51" y="41"/>
                  </a:lnTo>
                  <a:lnTo>
                    <a:pt x="52" y="41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2" y="40"/>
                  </a:lnTo>
                  <a:close/>
                  <a:moveTo>
                    <a:pt x="46" y="40"/>
                  </a:moveTo>
                  <a:lnTo>
                    <a:pt x="46" y="41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6" y="40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5" y="42"/>
                  </a:lnTo>
                  <a:lnTo>
                    <a:pt x="45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0"/>
                  </a:lnTo>
                  <a:close/>
                  <a:moveTo>
                    <a:pt x="59" y="39"/>
                  </a:moveTo>
                  <a:lnTo>
                    <a:pt x="60" y="39"/>
                  </a:lnTo>
                  <a:lnTo>
                    <a:pt x="60" y="40"/>
                  </a:lnTo>
                  <a:lnTo>
                    <a:pt x="59" y="40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39"/>
                  </a:lnTo>
                  <a:close/>
                  <a:moveTo>
                    <a:pt x="49" y="39"/>
                  </a:moveTo>
                  <a:lnTo>
                    <a:pt x="49" y="39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0"/>
                  </a:lnTo>
                  <a:lnTo>
                    <a:pt x="49" y="40"/>
                  </a:lnTo>
                  <a:lnTo>
                    <a:pt x="49" y="39"/>
                  </a:lnTo>
                  <a:close/>
                  <a:moveTo>
                    <a:pt x="41" y="39"/>
                  </a:moveTo>
                  <a:lnTo>
                    <a:pt x="41" y="40"/>
                  </a:lnTo>
                  <a:lnTo>
                    <a:pt x="41" y="39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1" y="39"/>
                  </a:lnTo>
                  <a:close/>
                  <a:moveTo>
                    <a:pt x="59" y="39"/>
                  </a:moveTo>
                  <a:lnTo>
                    <a:pt x="59" y="39"/>
                  </a:lnTo>
                  <a:lnTo>
                    <a:pt x="59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close/>
                  <a:moveTo>
                    <a:pt x="13" y="39"/>
                  </a:moveTo>
                  <a:lnTo>
                    <a:pt x="12" y="39"/>
                  </a:lnTo>
                  <a:lnTo>
                    <a:pt x="13" y="39"/>
                  </a:lnTo>
                  <a:close/>
                  <a:moveTo>
                    <a:pt x="42" y="39"/>
                  </a:moveTo>
                  <a:lnTo>
                    <a:pt x="41" y="39"/>
                  </a:lnTo>
                  <a:lnTo>
                    <a:pt x="42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30" y="39"/>
                  </a:lnTo>
                  <a:close/>
                  <a:moveTo>
                    <a:pt x="61" y="38"/>
                  </a:moveTo>
                  <a:lnTo>
                    <a:pt x="61" y="39"/>
                  </a:lnTo>
                  <a:lnTo>
                    <a:pt x="61" y="38"/>
                  </a:lnTo>
                  <a:close/>
                  <a:moveTo>
                    <a:pt x="59" y="38"/>
                  </a:moveTo>
                  <a:lnTo>
                    <a:pt x="59" y="38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close/>
                  <a:moveTo>
                    <a:pt x="31" y="38"/>
                  </a:move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close/>
                  <a:moveTo>
                    <a:pt x="33" y="38"/>
                  </a:moveTo>
                  <a:lnTo>
                    <a:pt x="33" y="38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close/>
                  <a:moveTo>
                    <a:pt x="57" y="38"/>
                  </a:move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close/>
                  <a:moveTo>
                    <a:pt x="59" y="37"/>
                  </a:moveTo>
                  <a:lnTo>
                    <a:pt x="59" y="38"/>
                  </a:lnTo>
                  <a:lnTo>
                    <a:pt x="59" y="37"/>
                  </a:lnTo>
                  <a:lnTo>
                    <a:pt x="59" y="38"/>
                  </a:lnTo>
                  <a:lnTo>
                    <a:pt x="59" y="37"/>
                  </a:lnTo>
                  <a:close/>
                  <a:moveTo>
                    <a:pt x="47" y="37"/>
                  </a:moveTo>
                  <a:lnTo>
                    <a:pt x="47" y="38"/>
                  </a:lnTo>
                  <a:lnTo>
                    <a:pt x="47" y="37"/>
                  </a:lnTo>
                  <a:close/>
                  <a:moveTo>
                    <a:pt x="45" y="37"/>
                  </a:moveTo>
                  <a:lnTo>
                    <a:pt x="44" y="37"/>
                  </a:lnTo>
                  <a:lnTo>
                    <a:pt x="45" y="37"/>
                  </a:lnTo>
                  <a:close/>
                  <a:moveTo>
                    <a:pt x="46" y="37"/>
                  </a:moveTo>
                  <a:lnTo>
                    <a:pt x="46" y="38"/>
                  </a:lnTo>
                  <a:lnTo>
                    <a:pt x="46" y="37"/>
                  </a:lnTo>
                  <a:lnTo>
                    <a:pt x="46" y="38"/>
                  </a:lnTo>
                  <a:lnTo>
                    <a:pt x="47" y="38"/>
                  </a:lnTo>
                  <a:lnTo>
                    <a:pt x="46" y="38"/>
                  </a:lnTo>
                  <a:lnTo>
                    <a:pt x="46" y="37"/>
                  </a:lnTo>
                  <a:close/>
                  <a:moveTo>
                    <a:pt x="49" y="36"/>
                  </a:moveTo>
                  <a:lnTo>
                    <a:pt x="49" y="37"/>
                  </a:lnTo>
                  <a:lnTo>
                    <a:pt x="49" y="36"/>
                  </a:lnTo>
                  <a:lnTo>
                    <a:pt x="49" y="37"/>
                  </a:lnTo>
                  <a:lnTo>
                    <a:pt x="49" y="36"/>
                  </a:lnTo>
                  <a:close/>
                  <a:moveTo>
                    <a:pt x="61" y="36"/>
                  </a:move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1" y="36"/>
                  </a:lnTo>
                  <a:close/>
                  <a:moveTo>
                    <a:pt x="40" y="36"/>
                  </a:moveTo>
                  <a:lnTo>
                    <a:pt x="40" y="37"/>
                  </a:lnTo>
                  <a:lnTo>
                    <a:pt x="41" y="37"/>
                  </a:lnTo>
                  <a:lnTo>
                    <a:pt x="41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40" y="36"/>
                  </a:lnTo>
                  <a:close/>
                  <a:moveTo>
                    <a:pt x="48" y="36"/>
                  </a:moveTo>
                  <a:lnTo>
                    <a:pt x="48" y="36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7" y="37"/>
                  </a:lnTo>
                  <a:lnTo>
                    <a:pt x="48" y="37"/>
                  </a:lnTo>
                  <a:lnTo>
                    <a:pt x="47" y="36"/>
                  </a:lnTo>
                  <a:lnTo>
                    <a:pt x="48" y="36"/>
                  </a:lnTo>
                  <a:close/>
                  <a:moveTo>
                    <a:pt x="44" y="36"/>
                  </a:moveTo>
                  <a:lnTo>
                    <a:pt x="44" y="36"/>
                  </a:lnTo>
                  <a:lnTo>
                    <a:pt x="44" y="36"/>
                  </a:lnTo>
                  <a:lnTo>
                    <a:pt x="44" y="37"/>
                  </a:lnTo>
                  <a:lnTo>
                    <a:pt x="45" y="37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close/>
                  <a:moveTo>
                    <a:pt x="27" y="36"/>
                  </a:move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close/>
                  <a:moveTo>
                    <a:pt x="57" y="36"/>
                  </a:moveTo>
                  <a:lnTo>
                    <a:pt x="57" y="36"/>
                  </a:lnTo>
                  <a:lnTo>
                    <a:pt x="57" y="36"/>
                  </a:lnTo>
                  <a:close/>
                  <a:moveTo>
                    <a:pt x="33" y="36"/>
                  </a:move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3" y="36"/>
                  </a:lnTo>
                  <a:lnTo>
                    <a:pt x="33" y="35"/>
                  </a:lnTo>
                  <a:lnTo>
                    <a:pt x="33" y="36"/>
                  </a:lnTo>
                  <a:close/>
                  <a:moveTo>
                    <a:pt x="56" y="35"/>
                  </a:moveTo>
                  <a:lnTo>
                    <a:pt x="56" y="35"/>
                  </a:lnTo>
                  <a:lnTo>
                    <a:pt x="56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42" y="35"/>
                  </a:move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6" y="36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36" y="35"/>
                  </a:moveTo>
                  <a:lnTo>
                    <a:pt x="37" y="35"/>
                  </a:lnTo>
                  <a:lnTo>
                    <a:pt x="36" y="35"/>
                  </a:lnTo>
                  <a:close/>
                  <a:moveTo>
                    <a:pt x="45" y="34"/>
                  </a:moveTo>
                  <a:lnTo>
                    <a:pt x="45" y="35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4"/>
                  </a:lnTo>
                  <a:close/>
                  <a:moveTo>
                    <a:pt x="39" y="34"/>
                  </a:moveTo>
                  <a:lnTo>
                    <a:pt x="40" y="34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close/>
                  <a:moveTo>
                    <a:pt x="56" y="34"/>
                  </a:moveTo>
                  <a:lnTo>
                    <a:pt x="56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4"/>
                  </a:lnTo>
                  <a:lnTo>
                    <a:pt x="56" y="34"/>
                  </a:lnTo>
                  <a:close/>
                  <a:moveTo>
                    <a:pt x="38" y="34"/>
                  </a:moveTo>
                  <a:lnTo>
                    <a:pt x="38" y="34"/>
                  </a:lnTo>
                  <a:lnTo>
                    <a:pt x="38" y="35"/>
                  </a:lnTo>
                  <a:lnTo>
                    <a:pt x="37" y="35"/>
                  </a:lnTo>
                  <a:lnTo>
                    <a:pt x="37" y="34"/>
                  </a:lnTo>
                  <a:lnTo>
                    <a:pt x="38" y="34"/>
                  </a:lnTo>
                  <a:lnTo>
                    <a:pt x="38" y="34"/>
                  </a:lnTo>
                  <a:close/>
                  <a:moveTo>
                    <a:pt x="33" y="33"/>
                  </a:move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4"/>
                  </a:lnTo>
                  <a:lnTo>
                    <a:pt x="33" y="33"/>
                  </a:lnTo>
                  <a:close/>
                  <a:moveTo>
                    <a:pt x="35" y="34"/>
                  </a:moveTo>
                  <a:lnTo>
                    <a:pt x="35" y="33"/>
                  </a:lnTo>
                  <a:lnTo>
                    <a:pt x="35" y="34"/>
                  </a:lnTo>
                  <a:close/>
                  <a:moveTo>
                    <a:pt x="59" y="33"/>
                  </a:moveTo>
                  <a:lnTo>
                    <a:pt x="59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5"/>
                  </a:lnTo>
                  <a:lnTo>
                    <a:pt x="59" y="35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8" y="33"/>
                  </a:lnTo>
                  <a:lnTo>
                    <a:pt x="59" y="33"/>
                  </a:lnTo>
                  <a:close/>
                  <a:moveTo>
                    <a:pt x="30" y="33"/>
                  </a:moveTo>
                  <a:lnTo>
                    <a:pt x="31" y="33"/>
                  </a:lnTo>
                  <a:lnTo>
                    <a:pt x="30" y="33"/>
                  </a:lnTo>
                  <a:lnTo>
                    <a:pt x="31" y="33"/>
                  </a:lnTo>
                  <a:lnTo>
                    <a:pt x="30" y="33"/>
                  </a:lnTo>
                  <a:close/>
                  <a:moveTo>
                    <a:pt x="31" y="33"/>
                  </a:moveTo>
                  <a:lnTo>
                    <a:pt x="31" y="32"/>
                  </a:lnTo>
                  <a:lnTo>
                    <a:pt x="31" y="33"/>
                  </a:lnTo>
                  <a:close/>
                  <a:moveTo>
                    <a:pt x="10" y="32"/>
                  </a:move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2"/>
                  </a:lnTo>
                  <a:close/>
                  <a:moveTo>
                    <a:pt x="41" y="31"/>
                  </a:moveTo>
                  <a:lnTo>
                    <a:pt x="41" y="32"/>
                  </a:lnTo>
                  <a:lnTo>
                    <a:pt x="41" y="31"/>
                  </a:lnTo>
                  <a:close/>
                  <a:moveTo>
                    <a:pt x="43" y="31"/>
                  </a:moveTo>
                  <a:lnTo>
                    <a:pt x="43" y="31"/>
                  </a:lnTo>
                  <a:lnTo>
                    <a:pt x="44" y="31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3" y="31"/>
                  </a:lnTo>
                  <a:close/>
                  <a:moveTo>
                    <a:pt x="33" y="31"/>
                  </a:move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1"/>
                  </a:lnTo>
                  <a:close/>
                  <a:moveTo>
                    <a:pt x="39" y="31"/>
                  </a:moveTo>
                  <a:lnTo>
                    <a:pt x="39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9" y="31"/>
                  </a:lnTo>
                  <a:close/>
                  <a:moveTo>
                    <a:pt x="29" y="29"/>
                  </a:moveTo>
                  <a:lnTo>
                    <a:pt x="28" y="29"/>
                  </a:lnTo>
                  <a:lnTo>
                    <a:pt x="29" y="29"/>
                  </a:lnTo>
                  <a:close/>
                  <a:moveTo>
                    <a:pt x="38" y="29"/>
                  </a:moveTo>
                  <a:lnTo>
                    <a:pt x="38" y="29"/>
                  </a:lnTo>
                  <a:lnTo>
                    <a:pt x="38" y="29"/>
                  </a:lnTo>
                  <a:close/>
                  <a:moveTo>
                    <a:pt x="37" y="28"/>
                  </a:moveTo>
                  <a:lnTo>
                    <a:pt x="38" y="28"/>
                  </a:lnTo>
                  <a:lnTo>
                    <a:pt x="37" y="28"/>
                  </a:lnTo>
                  <a:close/>
                  <a:moveTo>
                    <a:pt x="14" y="27"/>
                  </a:moveTo>
                  <a:lnTo>
                    <a:pt x="14" y="28"/>
                  </a:lnTo>
                  <a:lnTo>
                    <a:pt x="14" y="27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21" y="27"/>
                  </a:moveTo>
                  <a:lnTo>
                    <a:pt x="21" y="27"/>
                  </a:lnTo>
                  <a:lnTo>
                    <a:pt x="21" y="27"/>
                  </a:lnTo>
                  <a:close/>
                  <a:moveTo>
                    <a:pt x="14" y="26"/>
                  </a:move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close/>
                  <a:moveTo>
                    <a:pt x="13" y="26"/>
                  </a:moveTo>
                  <a:lnTo>
                    <a:pt x="13" y="25"/>
                  </a:lnTo>
                  <a:lnTo>
                    <a:pt x="13" y="26"/>
                  </a:lnTo>
                  <a:close/>
                  <a:moveTo>
                    <a:pt x="13" y="25"/>
                  </a:moveTo>
                  <a:lnTo>
                    <a:pt x="12" y="25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3" y="25"/>
                  </a:lnTo>
                  <a:close/>
                  <a:moveTo>
                    <a:pt x="11" y="25"/>
                  </a:moveTo>
                  <a:lnTo>
                    <a:pt x="11" y="25"/>
                  </a:lnTo>
                  <a:lnTo>
                    <a:pt x="11" y="25"/>
                  </a:lnTo>
                  <a:close/>
                  <a:moveTo>
                    <a:pt x="9" y="25"/>
                  </a:moveTo>
                  <a:lnTo>
                    <a:pt x="10" y="25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10" y="25"/>
                  </a:lnTo>
                  <a:lnTo>
                    <a:pt x="9" y="25"/>
                  </a:lnTo>
                  <a:close/>
                  <a:moveTo>
                    <a:pt x="55" y="25"/>
                  </a:moveTo>
                  <a:lnTo>
                    <a:pt x="55" y="25"/>
                  </a:lnTo>
                  <a:lnTo>
                    <a:pt x="55" y="25"/>
                  </a:lnTo>
                  <a:close/>
                  <a:moveTo>
                    <a:pt x="54" y="25"/>
                  </a:move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25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close/>
                  <a:moveTo>
                    <a:pt x="12" y="24"/>
                  </a:moveTo>
                  <a:lnTo>
                    <a:pt x="12" y="25"/>
                  </a:lnTo>
                  <a:lnTo>
                    <a:pt x="12" y="24"/>
                  </a:lnTo>
                  <a:close/>
                  <a:moveTo>
                    <a:pt x="49" y="24"/>
                  </a:moveTo>
                  <a:lnTo>
                    <a:pt x="50" y="24"/>
                  </a:lnTo>
                  <a:lnTo>
                    <a:pt x="49" y="25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1" y="24"/>
                  </a:lnTo>
                  <a:close/>
                  <a:moveTo>
                    <a:pt x="29" y="24"/>
                  </a:moveTo>
                  <a:lnTo>
                    <a:pt x="29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29" y="24"/>
                  </a:lnTo>
                  <a:close/>
                  <a:moveTo>
                    <a:pt x="42" y="23"/>
                  </a:moveTo>
                  <a:lnTo>
                    <a:pt x="41" y="23"/>
                  </a:lnTo>
                  <a:lnTo>
                    <a:pt x="42" y="23"/>
                  </a:lnTo>
                  <a:close/>
                  <a:moveTo>
                    <a:pt x="40" y="21"/>
                  </a:moveTo>
                  <a:lnTo>
                    <a:pt x="40" y="22"/>
                  </a:lnTo>
                  <a:lnTo>
                    <a:pt x="40" y="21"/>
                  </a:lnTo>
                  <a:close/>
                  <a:moveTo>
                    <a:pt x="41" y="22"/>
                  </a:moveTo>
                  <a:lnTo>
                    <a:pt x="41" y="21"/>
                  </a:lnTo>
                  <a:lnTo>
                    <a:pt x="41" y="22"/>
                  </a:lnTo>
                  <a:close/>
                  <a:moveTo>
                    <a:pt x="39" y="21"/>
                  </a:moveTo>
                  <a:lnTo>
                    <a:pt x="39" y="22"/>
                  </a:lnTo>
                  <a:lnTo>
                    <a:pt x="39" y="21"/>
                  </a:lnTo>
                  <a:close/>
                  <a:moveTo>
                    <a:pt x="41" y="20"/>
                  </a:move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1" y="20"/>
                  </a:lnTo>
                  <a:close/>
                  <a:moveTo>
                    <a:pt x="31" y="20"/>
                  </a:moveTo>
                  <a:lnTo>
                    <a:pt x="31" y="19"/>
                  </a:lnTo>
                  <a:lnTo>
                    <a:pt x="31" y="20"/>
                  </a:lnTo>
                  <a:close/>
                  <a:moveTo>
                    <a:pt x="38" y="19"/>
                  </a:move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close/>
                  <a:moveTo>
                    <a:pt x="33" y="19"/>
                  </a:moveTo>
                  <a:lnTo>
                    <a:pt x="33" y="18"/>
                  </a:lnTo>
                  <a:lnTo>
                    <a:pt x="33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29" y="18"/>
                  </a:moveTo>
                  <a:lnTo>
                    <a:pt x="29" y="19"/>
                  </a:lnTo>
                  <a:lnTo>
                    <a:pt x="29" y="18"/>
                  </a:lnTo>
                  <a:close/>
                  <a:moveTo>
                    <a:pt x="30" y="18"/>
                  </a:moveTo>
                  <a:lnTo>
                    <a:pt x="30" y="19"/>
                  </a:lnTo>
                  <a:lnTo>
                    <a:pt x="30" y="18"/>
                  </a:lnTo>
                  <a:close/>
                  <a:moveTo>
                    <a:pt x="34" y="17"/>
                  </a:moveTo>
                  <a:lnTo>
                    <a:pt x="34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4" y="17"/>
                  </a:lnTo>
                  <a:close/>
                  <a:moveTo>
                    <a:pt x="33" y="17"/>
                  </a:moveTo>
                  <a:lnTo>
                    <a:pt x="33" y="18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3" y="17"/>
                  </a:lnTo>
                  <a:close/>
                  <a:moveTo>
                    <a:pt x="52" y="17"/>
                  </a:moveTo>
                  <a:lnTo>
                    <a:pt x="52" y="18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2" y="17"/>
                  </a:lnTo>
                  <a:close/>
                  <a:moveTo>
                    <a:pt x="37" y="17"/>
                  </a:moveTo>
                  <a:lnTo>
                    <a:pt x="37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7" y="17"/>
                  </a:lnTo>
                  <a:close/>
                  <a:moveTo>
                    <a:pt x="5" y="17"/>
                  </a:move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close/>
                  <a:moveTo>
                    <a:pt x="36" y="17"/>
                  </a:move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9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56" y="17"/>
                  </a:moveTo>
                  <a:lnTo>
                    <a:pt x="56" y="16"/>
                  </a:lnTo>
                  <a:lnTo>
                    <a:pt x="56" y="17"/>
                  </a:lnTo>
                  <a:close/>
                  <a:moveTo>
                    <a:pt x="37" y="16"/>
                  </a:move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close/>
                  <a:moveTo>
                    <a:pt x="39" y="16"/>
                  </a:move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close/>
                  <a:moveTo>
                    <a:pt x="6" y="16"/>
                  </a:moveTo>
                  <a:lnTo>
                    <a:pt x="7" y="16"/>
                  </a:lnTo>
                  <a:lnTo>
                    <a:pt x="6" y="16"/>
                  </a:lnTo>
                  <a:close/>
                  <a:moveTo>
                    <a:pt x="38" y="15"/>
                  </a:move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8" y="15"/>
                  </a:lnTo>
                  <a:close/>
                  <a:moveTo>
                    <a:pt x="38" y="14"/>
                  </a:moveTo>
                  <a:lnTo>
                    <a:pt x="38" y="14"/>
                  </a:lnTo>
                  <a:lnTo>
                    <a:pt x="38" y="14"/>
                  </a:lnTo>
                  <a:close/>
                  <a:moveTo>
                    <a:pt x="45" y="14"/>
                  </a:move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4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35" y="9"/>
                  </a:moveTo>
                  <a:lnTo>
                    <a:pt x="35" y="9"/>
                  </a:lnTo>
                  <a:lnTo>
                    <a:pt x="35" y="9"/>
                  </a:lnTo>
                  <a:close/>
                  <a:moveTo>
                    <a:pt x="35" y="6"/>
                  </a:moveTo>
                  <a:lnTo>
                    <a:pt x="35" y="7"/>
                  </a:lnTo>
                  <a:lnTo>
                    <a:pt x="35" y="6"/>
                  </a:lnTo>
                  <a:close/>
                  <a:moveTo>
                    <a:pt x="36" y="5"/>
                  </a:moveTo>
                  <a:lnTo>
                    <a:pt x="36" y="6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36" y="5"/>
                  </a:lnTo>
                  <a:close/>
                  <a:moveTo>
                    <a:pt x="49" y="3"/>
                  </a:moveTo>
                  <a:lnTo>
                    <a:pt x="50" y="3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close/>
                  <a:moveTo>
                    <a:pt x="42" y="0"/>
                  </a:move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9" name="Freeform 45"/>
            <p:cNvSpPr>
              <a:spLocks noEditPoints="1"/>
            </p:cNvSpPr>
            <p:nvPr/>
          </p:nvSpPr>
          <p:spPr bwMode="auto">
            <a:xfrm>
              <a:off x="5968020" y="3803052"/>
              <a:ext cx="82235" cy="82670"/>
            </a:xfrm>
            <a:custGeom>
              <a:avLst/>
              <a:gdLst>
                <a:gd name="T0" fmla="*/ 56 w 63"/>
                <a:gd name="T1" fmla="*/ 59 h 60"/>
                <a:gd name="T2" fmla="*/ 56 w 63"/>
                <a:gd name="T3" fmla="*/ 58 h 60"/>
                <a:gd name="T4" fmla="*/ 34 w 63"/>
                <a:gd name="T5" fmla="*/ 58 h 60"/>
                <a:gd name="T6" fmla="*/ 63 w 63"/>
                <a:gd name="T7" fmla="*/ 53 h 60"/>
                <a:gd name="T8" fmla="*/ 26 w 63"/>
                <a:gd name="T9" fmla="*/ 53 h 60"/>
                <a:gd name="T10" fmla="*/ 63 w 63"/>
                <a:gd name="T11" fmla="*/ 53 h 60"/>
                <a:gd name="T12" fmla="*/ 61 w 63"/>
                <a:gd name="T13" fmla="*/ 50 h 60"/>
                <a:gd name="T14" fmla="*/ 63 w 63"/>
                <a:gd name="T15" fmla="*/ 50 h 60"/>
                <a:gd name="T16" fmla="*/ 63 w 63"/>
                <a:gd name="T17" fmla="*/ 50 h 60"/>
                <a:gd name="T18" fmla="*/ 55 w 63"/>
                <a:gd name="T19" fmla="*/ 49 h 60"/>
                <a:gd name="T20" fmla="*/ 52 w 63"/>
                <a:gd name="T21" fmla="*/ 47 h 60"/>
                <a:gd name="T22" fmla="*/ 52 w 63"/>
                <a:gd name="T23" fmla="*/ 46 h 60"/>
                <a:gd name="T24" fmla="*/ 14 w 63"/>
                <a:gd name="T25" fmla="*/ 44 h 60"/>
                <a:gd name="T26" fmla="*/ 38 w 63"/>
                <a:gd name="T27" fmla="*/ 44 h 60"/>
                <a:gd name="T28" fmla="*/ 29 w 63"/>
                <a:gd name="T29" fmla="*/ 44 h 60"/>
                <a:gd name="T30" fmla="*/ 35 w 63"/>
                <a:gd name="T31" fmla="*/ 44 h 60"/>
                <a:gd name="T32" fmla="*/ 46 w 63"/>
                <a:gd name="T33" fmla="*/ 43 h 60"/>
                <a:gd name="T34" fmla="*/ 46 w 63"/>
                <a:gd name="T35" fmla="*/ 43 h 60"/>
                <a:gd name="T36" fmla="*/ 45 w 63"/>
                <a:gd name="T37" fmla="*/ 43 h 60"/>
                <a:gd name="T38" fmla="*/ 56 w 63"/>
                <a:gd name="T39" fmla="*/ 42 h 60"/>
                <a:gd name="T40" fmla="*/ 42 w 63"/>
                <a:gd name="T41" fmla="*/ 42 h 60"/>
                <a:gd name="T42" fmla="*/ 43 w 63"/>
                <a:gd name="T43" fmla="*/ 42 h 60"/>
                <a:gd name="T44" fmla="*/ 46 w 63"/>
                <a:gd name="T45" fmla="*/ 41 h 60"/>
                <a:gd name="T46" fmla="*/ 47 w 63"/>
                <a:gd name="T47" fmla="*/ 41 h 60"/>
                <a:gd name="T48" fmla="*/ 48 w 63"/>
                <a:gd name="T49" fmla="*/ 39 h 60"/>
                <a:gd name="T50" fmla="*/ 28 w 63"/>
                <a:gd name="T51" fmla="*/ 38 h 60"/>
                <a:gd name="T52" fmla="*/ 53 w 63"/>
                <a:gd name="T53" fmla="*/ 39 h 60"/>
                <a:gd name="T54" fmla="*/ 55 w 63"/>
                <a:gd name="T55" fmla="*/ 38 h 60"/>
                <a:gd name="T56" fmla="*/ 29 w 63"/>
                <a:gd name="T57" fmla="*/ 37 h 60"/>
                <a:gd name="T58" fmla="*/ 29 w 63"/>
                <a:gd name="T59" fmla="*/ 36 h 60"/>
                <a:gd name="T60" fmla="*/ 39 w 63"/>
                <a:gd name="T61" fmla="*/ 35 h 60"/>
                <a:gd name="T62" fmla="*/ 27 w 63"/>
                <a:gd name="T63" fmla="*/ 34 h 60"/>
                <a:gd name="T64" fmla="*/ 7 w 63"/>
                <a:gd name="T65" fmla="*/ 34 h 60"/>
                <a:gd name="T66" fmla="*/ 28 w 63"/>
                <a:gd name="T67" fmla="*/ 34 h 60"/>
                <a:gd name="T68" fmla="*/ 31 w 63"/>
                <a:gd name="T69" fmla="*/ 32 h 60"/>
                <a:gd name="T70" fmla="*/ 23 w 63"/>
                <a:gd name="T71" fmla="*/ 29 h 60"/>
                <a:gd name="T72" fmla="*/ 34 w 63"/>
                <a:gd name="T73" fmla="*/ 28 h 60"/>
                <a:gd name="T74" fmla="*/ 11 w 63"/>
                <a:gd name="T75" fmla="*/ 27 h 60"/>
                <a:gd name="T76" fmla="*/ 12 w 63"/>
                <a:gd name="T77" fmla="*/ 27 h 60"/>
                <a:gd name="T78" fmla="*/ 18 w 63"/>
                <a:gd name="T79" fmla="*/ 27 h 60"/>
                <a:gd name="T80" fmla="*/ 9 w 63"/>
                <a:gd name="T81" fmla="*/ 26 h 60"/>
                <a:gd name="T82" fmla="*/ 9 w 63"/>
                <a:gd name="T83" fmla="*/ 26 h 60"/>
                <a:gd name="T84" fmla="*/ 51 w 63"/>
                <a:gd name="T85" fmla="*/ 25 h 60"/>
                <a:gd name="T86" fmla="*/ 28 w 63"/>
                <a:gd name="T87" fmla="*/ 25 h 60"/>
                <a:gd name="T88" fmla="*/ 50 w 63"/>
                <a:gd name="T89" fmla="*/ 25 h 60"/>
                <a:gd name="T90" fmla="*/ 8 w 63"/>
                <a:gd name="T91" fmla="*/ 24 h 60"/>
                <a:gd name="T92" fmla="*/ 32 w 63"/>
                <a:gd name="T93" fmla="*/ 24 h 60"/>
                <a:gd name="T94" fmla="*/ 6 w 63"/>
                <a:gd name="T95" fmla="*/ 23 h 60"/>
                <a:gd name="T96" fmla="*/ 10 w 63"/>
                <a:gd name="T97" fmla="*/ 19 h 60"/>
                <a:gd name="T98" fmla="*/ 33 w 63"/>
                <a:gd name="T99" fmla="*/ 19 h 60"/>
                <a:gd name="T100" fmla="*/ 29 w 63"/>
                <a:gd name="T101" fmla="*/ 19 h 60"/>
                <a:gd name="T102" fmla="*/ 33 w 63"/>
                <a:gd name="T103" fmla="*/ 16 h 60"/>
                <a:gd name="T104" fmla="*/ 52 w 63"/>
                <a:gd name="T105" fmla="*/ 16 h 60"/>
                <a:gd name="T106" fmla="*/ 41 w 63"/>
                <a:gd name="T107" fmla="*/ 10 h 60"/>
                <a:gd name="T108" fmla="*/ 32 w 63"/>
                <a:gd name="T109" fmla="*/ 6 h 60"/>
                <a:gd name="T110" fmla="*/ 49 w 63"/>
                <a:gd name="T111" fmla="*/ 0 h 60"/>
                <a:gd name="T112" fmla="*/ 49 w 63"/>
                <a:gd name="T1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" h="60">
                  <a:moveTo>
                    <a:pt x="47" y="60"/>
                  </a:moveTo>
                  <a:lnTo>
                    <a:pt x="46" y="60"/>
                  </a:lnTo>
                  <a:lnTo>
                    <a:pt x="47" y="60"/>
                  </a:lnTo>
                  <a:close/>
                  <a:moveTo>
                    <a:pt x="56" y="59"/>
                  </a:moveTo>
                  <a:lnTo>
                    <a:pt x="55" y="59"/>
                  </a:lnTo>
                  <a:lnTo>
                    <a:pt x="56" y="59"/>
                  </a:lnTo>
                  <a:close/>
                  <a:moveTo>
                    <a:pt x="56" y="58"/>
                  </a:moveTo>
                  <a:lnTo>
                    <a:pt x="56" y="58"/>
                  </a:lnTo>
                  <a:lnTo>
                    <a:pt x="56" y="58"/>
                  </a:lnTo>
                  <a:close/>
                  <a:moveTo>
                    <a:pt x="34" y="58"/>
                  </a:moveTo>
                  <a:lnTo>
                    <a:pt x="34" y="58"/>
                  </a:lnTo>
                  <a:lnTo>
                    <a:pt x="34" y="58"/>
                  </a:lnTo>
                  <a:close/>
                  <a:moveTo>
                    <a:pt x="57" y="57"/>
                  </a:moveTo>
                  <a:lnTo>
                    <a:pt x="57" y="57"/>
                  </a:lnTo>
                  <a:lnTo>
                    <a:pt x="57" y="57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27" y="53"/>
                  </a:moveTo>
                  <a:lnTo>
                    <a:pt x="26" y="53"/>
                  </a:lnTo>
                  <a:lnTo>
                    <a:pt x="27" y="53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63" y="51"/>
                  </a:moveTo>
                  <a:lnTo>
                    <a:pt x="62" y="51"/>
                  </a:lnTo>
                  <a:lnTo>
                    <a:pt x="63" y="51"/>
                  </a:lnTo>
                  <a:close/>
                  <a:moveTo>
                    <a:pt x="61" y="50"/>
                  </a:moveTo>
                  <a:lnTo>
                    <a:pt x="61" y="50"/>
                  </a:lnTo>
                  <a:lnTo>
                    <a:pt x="62" y="50"/>
                  </a:lnTo>
                  <a:lnTo>
                    <a:pt x="61" y="50"/>
                  </a:lnTo>
                  <a:close/>
                  <a:moveTo>
                    <a:pt x="63" y="50"/>
                  </a:moveTo>
                  <a:lnTo>
                    <a:pt x="62" y="50"/>
                  </a:lnTo>
                  <a:lnTo>
                    <a:pt x="63" y="50"/>
                  </a:lnTo>
                  <a:close/>
                  <a:moveTo>
                    <a:pt x="63" y="50"/>
                  </a:moveTo>
                  <a:lnTo>
                    <a:pt x="63" y="50"/>
                  </a:lnTo>
                  <a:lnTo>
                    <a:pt x="63" y="50"/>
                  </a:lnTo>
                  <a:close/>
                  <a:moveTo>
                    <a:pt x="55" y="49"/>
                  </a:moveTo>
                  <a:lnTo>
                    <a:pt x="55" y="49"/>
                  </a:lnTo>
                  <a:lnTo>
                    <a:pt x="55" y="49"/>
                  </a:lnTo>
                  <a:close/>
                  <a:moveTo>
                    <a:pt x="54" y="48"/>
                  </a:moveTo>
                  <a:lnTo>
                    <a:pt x="53" y="48"/>
                  </a:lnTo>
                  <a:lnTo>
                    <a:pt x="54" y="48"/>
                  </a:lnTo>
                  <a:close/>
                  <a:moveTo>
                    <a:pt x="52" y="47"/>
                  </a:moveTo>
                  <a:lnTo>
                    <a:pt x="52" y="46"/>
                  </a:lnTo>
                  <a:lnTo>
                    <a:pt x="52" y="47"/>
                  </a:lnTo>
                  <a:close/>
                  <a:moveTo>
                    <a:pt x="52" y="46"/>
                  </a:moveTo>
                  <a:lnTo>
                    <a:pt x="52" y="46"/>
                  </a:lnTo>
                  <a:lnTo>
                    <a:pt x="52" y="46"/>
                  </a:lnTo>
                  <a:close/>
                  <a:moveTo>
                    <a:pt x="14" y="44"/>
                  </a:moveTo>
                  <a:lnTo>
                    <a:pt x="14" y="45"/>
                  </a:lnTo>
                  <a:lnTo>
                    <a:pt x="14" y="44"/>
                  </a:lnTo>
                  <a:close/>
                  <a:moveTo>
                    <a:pt x="37" y="44"/>
                  </a:moveTo>
                  <a:lnTo>
                    <a:pt x="37" y="45"/>
                  </a:lnTo>
                  <a:lnTo>
                    <a:pt x="37" y="44"/>
                  </a:lnTo>
                  <a:close/>
                  <a:moveTo>
                    <a:pt x="38" y="44"/>
                  </a:moveTo>
                  <a:lnTo>
                    <a:pt x="37" y="44"/>
                  </a:lnTo>
                  <a:lnTo>
                    <a:pt x="38" y="44"/>
                  </a:lnTo>
                  <a:close/>
                  <a:moveTo>
                    <a:pt x="30" y="44"/>
                  </a:moveTo>
                  <a:lnTo>
                    <a:pt x="29" y="44"/>
                  </a:lnTo>
                  <a:lnTo>
                    <a:pt x="30" y="44"/>
                  </a:lnTo>
                  <a:close/>
                  <a:moveTo>
                    <a:pt x="35" y="44"/>
                  </a:moveTo>
                  <a:lnTo>
                    <a:pt x="36" y="44"/>
                  </a:lnTo>
                  <a:lnTo>
                    <a:pt x="35" y="44"/>
                  </a:lnTo>
                  <a:close/>
                  <a:moveTo>
                    <a:pt x="45" y="43"/>
                  </a:moveTo>
                  <a:lnTo>
                    <a:pt x="45" y="43"/>
                  </a:lnTo>
                  <a:lnTo>
                    <a:pt x="45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5" y="43"/>
                  </a:moveTo>
                  <a:lnTo>
                    <a:pt x="45" y="42"/>
                  </a:lnTo>
                  <a:lnTo>
                    <a:pt x="45" y="43"/>
                  </a:lnTo>
                  <a:close/>
                  <a:moveTo>
                    <a:pt x="57" y="42"/>
                  </a:moveTo>
                  <a:lnTo>
                    <a:pt x="57" y="42"/>
                  </a:lnTo>
                  <a:lnTo>
                    <a:pt x="57" y="42"/>
                  </a:lnTo>
                  <a:close/>
                  <a:moveTo>
                    <a:pt x="56" y="42"/>
                  </a:moveTo>
                  <a:lnTo>
                    <a:pt x="56" y="42"/>
                  </a:lnTo>
                  <a:lnTo>
                    <a:pt x="56" y="42"/>
                  </a:lnTo>
                  <a:close/>
                  <a:moveTo>
                    <a:pt x="41" y="42"/>
                  </a:moveTo>
                  <a:lnTo>
                    <a:pt x="42" y="42"/>
                  </a:lnTo>
                  <a:lnTo>
                    <a:pt x="41" y="42"/>
                  </a:lnTo>
                  <a:close/>
                  <a:moveTo>
                    <a:pt x="43" y="42"/>
                  </a:moveTo>
                  <a:lnTo>
                    <a:pt x="42" y="42"/>
                  </a:lnTo>
                  <a:lnTo>
                    <a:pt x="43" y="42"/>
                  </a:lnTo>
                  <a:close/>
                  <a:moveTo>
                    <a:pt x="41" y="41"/>
                  </a:moveTo>
                  <a:lnTo>
                    <a:pt x="41" y="41"/>
                  </a:lnTo>
                  <a:lnTo>
                    <a:pt x="41" y="41"/>
                  </a:lnTo>
                  <a:close/>
                  <a:moveTo>
                    <a:pt x="46" y="41"/>
                  </a:moveTo>
                  <a:lnTo>
                    <a:pt x="46" y="41"/>
                  </a:lnTo>
                  <a:lnTo>
                    <a:pt x="46" y="41"/>
                  </a:lnTo>
                  <a:close/>
                  <a:moveTo>
                    <a:pt x="48" y="41"/>
                  </a:moveTo>
                  <a:lnTo>
                    <a:pt x="47" y="41"/>
                  </a:lnTo>
                  <a:lnTo>
                    <a:pt x="48" y="41"/>
                  </a:lnTo>
                  <a:close/>
                  <a:moveTo>
                    <a:pt x="48" y="39"/>
                  </a:moveTo>
                  <a:lnTo>
                    <a:pt x="48" y="39"/>
                  </a:lnTo>
                  <a:lnTo>
                    <a:pt x="48" y="39"/>
                  </a:lnTo>
                  <a:close/>
                  <a:moveTo>
                    <a:pt x="27" y="39"/>
                  </a:moveTo>
                  <a:lnTo>
                    <a:pt x="27" y="39"/>
                  </a:lnTo>
                  <a:lnTo>
                    <a:pt x="27" y="39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53" y="38"/>
                  </a:moveTo>
                  <a:lnTo>
                    <a:pt x="53" y="39"/>
                  </a:lnTo>
                  <a:lnTo>
                    <a:pt x="53" y="38"/>
                  </a:lnTo>
                  <a:close/>
                  <a:moveTo>
                    <a:pt x="55" y="38"/>
                  </a:moveTo>
                  <a:lnTo>
                    <a:pt x="55" y="38"/>
                  </a:lnTo>
                  <a:lnTo>
                    <a:pt x="55" y="38"/>
                  </a:lnTo>
                  <a:close/>
                  <a:moveTo>
                    <a:pt x="56" y="37"/>
                  </a:moveTo>
                  <a:lnTo>
                    <a:pt x="57" y="37"/>
                  </a:lnTo>
                  <a:lnTo>
                    <a:pt x="56" y="37"/>
                  </a:lnTo>
                  <a:close/>
                  <a:moveTo>
                    <a:pt x="29" y="37"/>
                  </a:moveTo>
                  <a:lnTo>
                    <a:pt x="29" y="37"/>
                  </a:lnTo>
                  <a:lnTo>
                    <a:pt x="29" y="37"/>
                  </a:lnTo>
                  <a:close/>
                  <a:moveTo>
                    <a:pt x="29" y="36"/>
                  </a:moveTo>
                  <a:lnTo>
                    <a:pt x="29" y="36"/>
                  </a:lnTo>
                  <a:lnTo>
                    <a:pt x="29" y="36"/>
                  </a:lnTo>
                  <a:close/>
                  <a:moveTo>
                    <a:pt x="39" y="35"/>
                  </a:moveTo>
                  <a:lnTo>
                    <a:pt x="38" y="35"/>
                  </a:lnTo>
                  <a:lnTo>
                    <a:pt x="39" y="35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27" y="34"/>
                  </a:moveTo>
                  <a:lnTo>
                    <a:pt x="27" y="34"/>
                  </a:lnTo>
                  <a:lnTo>
                    <a:pt x="27" y="34"/>
                  </a:lnTo>
                  <a:close/>
                  <a:moveTo>
                    <a:pt x="8" y="34"/>
                  </a:moveTo>
                  <a:lnTo>
                    <a:pt x="7" y="34"/>
                  </a:lnTo>
                  <a:lnTo>
                    <a:pt x="8" y="34"/>
                  </a:lnTo>
                  <a:close/>
                  <a:moveTo>
                    <a:pt x="28" y="34"/>
                  </a:moveTo>
                  <a:lnTo>
                    <a:pt x="27" y="34"/>
                  </a:lnTo>
                  <a:lnTo>
                    <a:pt x="28" y="34"/>
                  </a:lnTo>
                  <a:close/>
                  <a:moveTo>
                    <a:pt x="27" y="33"/>
                  </a:moveTo>
                  <a:lnTo>
                    <a:pt x="28" y="33"/>
                  </a:lnTo>
                  <a:lnTo>
                    <a:pt x="27" y="33"/>
                  </a:lnTo>
                  <a:close/>
                  <a:moveTo>
                    <a:pt x="31" y="32"/>
                  </a:moveTo>
                  <a:lnTo>
                    <a:pt x="30" y="32"/>
                  </a:lnTo>
                  <a:lnTo>
                    <a:pt x="31" y="32"/>
                  </a:lnTo>
                  <a:close/>
                  <a:moveTo>
                    <a:pt x="24" y="29"/>
                  </a:moveTo>
                  <a:lnTo>
                    <a:pt x="23" y="29"/>
                  </a:lnTo>
                  <a:lnTo>
                    <a:pt x="24" y="29"/>
                  </a:lnTo>
                  <a:close/>
                  <a:moveTo>
                    <a:pt x="34" y="28"/>
                  </a:moveTo>
                  <a:lnTo>
                    <a:pt x="33" y="28"/>
                  </a:lnTo>
                  <a:lnTo>
                    <a:pt x="34" y="28"/>
                  </a:lnTo>
                  <a:close/>
                  <a:moveTo>
                    <a:pt x="10" y="28"/>
                  </a:moveTo>
                  <a:lnTo>
                    <a:pt x="10" y="27"/>
                  </a:lnTo>
                  <a:lnTo>
                    <a:pt x="10" y="28"/>
                  </a:lnTo>
                  <a:close/>
                  <a:moveTo>
                    <a:pt x="11" y="27"/>
                  </a:moveTo>
                  <a:lnTo>
                    <a:pt x="10" y="27"/>
                  </a:lnTo>
                  <a:lnTo>
                    <a:pt x="11" y="27"/>
                  </a:lnTo>
                  <a:close/>
                  <a:moveTo>
                    <a:pt x="11" y="27"/>
                  </a:moveTo>
                  <a:lnTo>
                    <a:pt x="12" y="27"/>
                  </a:lnTo>
                  <a:lnTo>
                    <a:pt x="11" y="27"/>
                  </a:lnTo>
                  <a:close/>
                  <a:moveTo>
                    <a:pt x="18" y="27"/>
                  </a:moveTo>
                  <a:lnTo>
                    <a:pt x="18" y="27"/>
                  </a:lnTo>
                  <a:lnTo>
                    <a:pt x="18" y="27"/>
                  </a:lnTo>
                  <a:close/>
                  <a:moveTo>
                    <a:pt x="30" y="26"/>
                  </a:moveTo>
                  <a:lnTo>
                    <a:pt x="29" y="26"/>
                  </a:lnTo>
                  <a:lnTo>
                    <a:pt x="30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9" y="25"/>
                  </a:moveTo>
                  <a:lnTo>
                    <a:pt x="9" y="26"/>
                  </a:lnTo>
                  <a:lnTo>
                    <a:pt x="9" y="25"/>
                  </a:lnTo>
                  <a:close/>
                  <a:moveTo>
                    <a:pt x="51" y="25"/>
                  </a:moveTo>
                  <a:lnTo>
                    <a:pt x="51" y="25"/>
                  </a:lnTo>
                  <a:lnTo>
                    <a:pt x="51" y="25"/>
                  </a:lnTo>
                  <a:close/>
                  <a:moveTo>
                    <a:pt x="34" y="25"/>
                  </a:moveTo>
                  <a:lnTo>
                    <a:pt x="34" y="25"/>
                  </a:lnTo>
                  <a:lnTo>
                    <a:pt x="34" y="25"/>
                  </a:lnTo>
                  <a:close/>
                  <a:moveTo>
                    <a:pt x="28" y="25"/>
                  </a:moveTo>
                  <a:lnTo>
                    <a:pt x="27" y="25"/>
                  </a:lnTo>
                  <a:lnTo>
                    <a:pt x="28" y="25"/>
                  </a:lnTo>
                  <a:close/>
                  <a:moveTo>
                    <a:pt x="49" y="25"/>
                  </a:moveTo>
                  <a:lnTo>
                    <a:pt x="50" y="25"/>
                  </a:lnTo>
                  <a:lnTo>
                    <a:pt x="49" y="25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35" y="24"/>
                  </a:moveTo>
                  <a:lnTo>
                    <a:pt x="34" y="24"/>
                  </a:lnTo>
                  <a:lnTo>
                    <a:pt x="35" y="24"/>
                  </a:lnTo>
                  <a:close/>
                  <a:moveTo>
                    <a:pt x="32" y="24"/>
                  </a:moveTo>
                  <a:lnTo>
                    <a:pt x="32" y="23"/>
                  </a:lnTo>
                  <a:lnTo>
                    <a:pt x="32" y="24"/>
                  </a:lnTo>
                  <a:close/>
                  <a:moveTo>
                    <a:pt x="7" y="23"/>
                  </a:moveTo>
                  <a:lnTo>
                    <a:pt x="6" y="23"/>
                  </a:lnTo>
                  <a:lnTo>
                    <a:pt x="7" y="23"/>
                  </a:lnTo>
                  <a:close/>
                  <a:moveTo>
                    <a:pt x="10" y="19"/>
                  </a:moveTo>
                  <a:lnTo>
                    <a:pt x="9" y="20"/>
                  </a:lnTo>
                  <a:lnTo>
                    <a:pt x="10" y="19"/>
                  </a:lnTo>
                  <a:close/>
                  <a:moveTo>
                    <a:pt x="33" y="20"/>
                  </a:moveTo>
                  <a:lnTo>
                    <a:pt x="33" y="19"/>
                  </a:lnTo>
                  <a:lnTo>
                    <a:pt x="33" y="20"/>
                  </a:lnTo>
                  <a:close/>
                  <a:moveTo>
                    <a:pt x="33" y="19"/>
                  </a:moveTo>
                  <a:lnTo>
                    <a:pt x="33" y="19"/>
                  </a:lnTo>
                  <a:lnTo>
                    <a:pt x="33" y="19"/>
                  </a:lnTo>
                  <a:close/>
                  <a:moveTo>
                    <a:pt x="29" y="19"/>
                  </a:moveTo>
                  <a:lnTo>
                    <a:pt x="29" y="19"/>
                  </a:lnTo>
                  <a:lnTo>
                    <a:pt x="29" y="19"/>
                  </a:lnTo>
                  <a:close/>
                  <a:moveTo>
                    <a:pt x="33" y="17"/>
                  </a:move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close/>
                  <a:moveTo>
                    <a:pt x="52" y="16"/>
                  </a:moveTo>
                  <a:lnTo>
                    <a:pt x="52" y="17"/>
                  </a:lnTo>
                  <a:lnTo>
                    <a:pt x="52" y="16"/>
                  </a:lnTo>
                  <a:close/>
                  <a:moveTo>
                    <a:pt x="0" y="16"/>
                  </a:moveTo>
                  <a:lnTo>
                    <a:pt x="0" y="15"/>
                  </a:lnTo>
                  <a:lnTo>
                    <a:pt x="0" y="16"/>
                  </a:lnTo>
                  <a:close/>
                  <a:moveTo>
                    <a:pt x="41" y="10"/>
                  </a:moveTo>
                  <a:lnTo>
                    <a:pt x="41" y="10"/>
                  </a:lnTo>
                  <a:lnTo>
                    <a:pt x="41" y="10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5"/>
                  </a:lnTo>
                  <a:lnTo>
                    <a:pt x="33" y="6"/>
                  </a:lnTo>
                  <a:close/>
                  <a:moveTo>
                    <a:pt x="49" y="1"/>
                  </a:moveTo>
                  <a:lnTo>
                    <a:pt x="49" y="0"/>
                  </a:lnTo>
                  <a:lnTo>
                    <a:pt x="49" y="1"/>
                  </a:lnTo>
                  <a:close/>
                  <a:moveTo>
                    <a:pt x="49" y="0"/>
                  </a:moveTo>
                  <a:lnTo>
                    <a:pt x="49" y="1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0" name="Freeform 46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3 w 4"/>
                <a:gd name="T11" fmla="*/ 4 h 4"/>
                <a:gd name="T12" fmla="*/ 3 w 4"/>
                <a:gd name="T13" fmla="*/ 4 h 4"/>
                <a:gd name="T14" fmla="*/ 3 w 4"/>
                <a:gd name="T15" fmla="*/ 4 h 4"/>
                <a:gd name="T16" fmla="*/ 3 w 4"/>
                <a:gd name="T17" fmla="*/ 4 h 4"/>
                <a:gd name="T18" fmla="*/ 3 w 4"/>
                <a:gd name="T19" fmla="*/ 4 h 4"/>
                <a:gd name="T20" fmla="*/ 2 w 4"/>
                <a:gd name="T21" fmla="*/ 3 h 4"/>
                <a:gd name="T22" fmla="*/ 2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3 h 4"/>
                <a:gd name="T30" fmla="*/ 2 w 4"/>
                <a:gd name="T31" fmla="*/ 3 h 4"/>
                <a:gd name="T32" fmla="*/ 1 w 4"/>
                <a:gd name="T33" fmla="*/ 3 h 4"/>
                <a:gd name="T34" fmla="*/ 1 w 4"/>
                <a:gd name="T35" fmla="*/ 3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1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1 w 4"/>
                <a:gd name="T63" fmla="*/ 4 h 4"/>
                <a:gd name="T64" fmla="*/ 1 w 4"/>
                <a:gd name="T65" fmla="*/ 4 h 4"/>
                <a:gd name="T66" fmla="*/ 1 w 4"/>
                <a:gd name="T67" fmla="*/ 4 h 4"/>
                <a:gd name="T68" fmla="*/ 1 w 4"/>
                <a:gd name="T69" fmla="*/ 4 h 4"/>
                <a:gd name="T70" fmla="*/ 1 w 4"/>
                <a:gd name="T71" fmla="*/ 4 h 4"/>
                <a:gd name="T72" fmla="*/ 1 w 4"/>
                <a:gd name="T73" fmla="*/ 3 h 4"/>
                <a:gd name="T74" fmla="*/ 1 w 4"/>
                <a:gd name="T75" fmla="*/ 3 h 4"/>
                <a:gd name="T76" fmla="*/ 1 w 4"/>
                <a:gd name="T77" fmla="*/ 3 h 4"/>
                <a:gd name="T78" fmla="*/ 1 w 4"/>
                <a:gd name="T79" fmla="*/ 3 h 4"/>
                <a:gd name="T80" fmla="*/ 1 w 4"/>
                <a:gd name="T81" fmla="*/ 3 h 4"/>
                <a:gd name="T82" fmla="*/ 1 w 4"/>
                <a:gd name="T83" fmla="*/ 3 h 4"/>
                <a:gd name="T84" fmla="*/ 1 w 4"/>
                <a:gd name="T85" fmla="*/ 3 h 4"/>
                <a:gd name="T86" fmla="*/ 1 w 4"/>
                <a:gd name="T87" fmla="*/ 3 h 4"/>
                <a:gd name="T88" fmla="*/ 4 w 4"/>
                <a:gd name="T89" fmla="*/ 0 h 4"/>
                <a:gd name="T90" fmla="*/ 4 w 4"/>
                <a:gd name="T91" fmla="*/ 0 h 4"/>
                <a:gd name="T92" fmla="*/ 4 w 4"/>
                <a:gd name="T93" fmla="*/ 1 h 4"/>
                <a:gd name="T94" fmla="*/ 4 w 4"/>
                <a:gd name="T95" fmla="*/ 1 h 4"/>
                <a:gd name="T96" fmla="*/ 4 w 4"/>
                <a:gd name="T97" fmla="*/ 1 h 4"/>
                <a:gd name="T98" fmla="*/ 4 w 4"/>
                <a:gd name="T99" fmla="*/ 1 h 4"/>
                <a:gd name="T100" fmla="*/ 4 w 4"/>
                <a:gd name="T101" fmla="*/ 1 h 4"/>
                <a:gd name="T102" fmla="*/ 4 w 4"/>
                <a:gd name="T103" fmla="*/ 0 h 4"/>
                <a:gd name="T104" fmla="*/ 4 w 4"/>
                <a:gd name="T105" fmla="*/ 0 h 4"/>
                <a:gd name="T106" fmla="*/ 4 w 4"/>
                <a:gd name="T107" fmla="*/ 0 h 4"/>
                <a:gd name="T108" fmla="*/ 4 w 4"/>
                <a:gd name="T109" fmla="*/ 0 h 4"/>
                <a:gd name="T110" fmla="*/ 4 w 4"/>
                <a:gd name="T111" fmla="*/ 0 h 4"/>
                <a:gd name="T112" fmla="*/ 4 w 4"/>
                <a:gd name="T1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1" name="Freeform 47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2 w 4"/>
                <a:gd name="T11" fmla="*/ 4 h 4"/>
                <a:gd name="T12" fmla="*/ 2 w 4"/>
                <a:gd name="T13" fmla="*/ 4 h 4"/>
                <a:gd name="T14" fmla="*/ 2 w 4"/>
                <a:gd name="T15" fmla="*/ 4 h 4"/>
                <a:gd name="T16" fmla="*/ 2 w 4"/>
                <a:gd name="T17" fmla="*/ 4 h 4"/>
                <a:gd name="T18" fmla="*/ 0 w 4"/>
                <a:gd name="T19" fmla="*/ 4 h 4"/>
                <a:gd name="T20" fmla="*/ 0 w 4"/>
                <a:gd name="T21" fmla="*/ 4 h 4"/>
                <a:gd name="T22" fmla="*/ 0 w 4"/>
                <a:gd name="T23" fmla="*/ 4 h 4"/>
                <a:gd name="T24" fmla="*/ 2 w 4"/>
                <a:gd name="T25" fmla="*/ 4 h 4"/>
                <a:gd name="T26" fmla="*/ 2 w 4"/>
                <a:gd name="T27" fmla="*/ 4 h 4"/>
                <a:gd name="T28" fmla="*/ 2 w 4"/>
                <a:gd name="T29" fmla="*/ 4 h 4"/>
                <a:gd name="T30" fmla="*/ 0 w 4"/>
                <a:gd name="T31" fmla="*/ 4 h 4"/>
                <a:gd name="T32" fmla="*/ 0 w 4"/>
                <a:gd name="T33" fmla="*/ 4 h 4"/>
                <a:gd name="T34" fmla="*/ 0 w 4"/>
                <a:gd name="T35" fmla="*/ 4 h 4"/>
                <a:gd name="T36" fmla="*/ 0 w 4"/>
                <a:gd name="T37" fmla="*/ 4 h 4"/>
                <a:gd name="T38" fmla="*/ 2 w 4"/>
                <a:gd name="T39" fmla="*/ 3 h 4"/>
                <a:gd name="T40" fmla="*/ 2 w 4"/>
                <a:gd name="T41" fmla="*/ 3 h 4"/>
                <a:gd name="T42" fmla="*/ 2 w 4"/>
                <a:gd name="T43" fmla="*/ 3 h 4"/>
                <a:gd name="T44" fmla="*/ 2 w 4"/>
                <a:gd name="T45" fmla="*/ 3 h 4"/>
                <a:gd name="T46" fmla="*/ 2 w 4"/>
                <a:gd name="T47" fmla="*/ 3 h 4"/>
                <a:gd name="T48" fmla="*/ 2 w 4"/>
                <a:gd name="T49" fmla="*/ 3 h 4"/>
                <a:gd name="T50" fmla="*/ 4 w 4"/>
                <a:gd name="T51" fmla="*/ 1 h 4"/>
                <a:gd name="T52" fmla="*/ 4 w 4"/>
                <a:gd name="T53" fmla="*/ 1 h 4"/>
                <a:gd name="T54" fmla="*/ 4 w 4"/>
                <a:gd name="T55" fmla="*/ 1 h 4"/>
                <a:gd name="T56" fmla="*/ 4 w 4"/>
                <a:gd name="T57" fmla="*/ 1 h 4"/>
                <a:gd name="T58" fmla="*/ 4 w 4"/>
                <a:gd name="T59" fmla="*/ 1 h 4"/>
                <a:gd name="T60" fmla="*/ 4 w 4"/>
                <a:gd name="T61" fmla="*/ 0 h 4"/>
                <a:gd name="T62" fmla="*/ 4 w 4"/>
                <a:gd name="T63" fmla="*/ 0 h 4"/>
                <a:gd name="T64" fmla="*/ 4 w 4"/>
                <a:gd name="T65" fmla="*/ 0 h 4"/>
                <a:gd name="T66" fmla="*/ 3 w 4"/>
                <a:gd name="T67" fmla="*/ 0 h 4"/>
                <a:gd name="T68" fmla="*/ 3 w 4"/>
                <a:gd name="T69" fmla="*/ 0 h 4"/>
                <a:gd name="T70" fmla="*/ 3 w 4"/>
                <a:gd name="T71" fmla="*/ 0 h 4"/>
                <a:gd name="T72" fmla="*/ 4 w 4"/>
                <a:gd name="T73" fmla="*/ 0 h 4"/>
                <a:gd name="T74" fmla="*/ 4 w 4"/>
                <a:gd name="T7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2" name="Freeform 48"/>
            <p:cNvSpPr>
              <a:spLocks/>
            </p:cNvSpPr>
            <p:nvPr/>
          </p:nvSpPr>
          <p:spPr bwMode="auto">
            <a:xfrm>
              <a:off x="5889700" y="378651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3" name="Freeform 49"/>
            <p:cNvSpPr>
              <a:spLocks/>
            </p:cNvSpPr>
            <p:nvPr/>
          </p:nvSpPr>
          <p:spPr bwMode="auto">
            <a:xfrm>
              <a:off x="5927554" y="3681803"/>
              <a:ext cx="71793" cy="44091"/>
            </a:xfrm>
            <a:custGeom>
              <a:avLst/>
              <a:gdLst>
                <a:gd name="T0" fmla="*/ 46 w 55"/>
                <a:gd name="T1" fmla="*/ 2 h 32"/>
                <a:gd name="T2" fmla="*/ 49 w 55"/>
                <a:gd name="T3" fmla="*/ 2 h 32"/>
                <a:gd name="T4" fmla="*/ 50 w 55"/>
                <a:gd name="T5" fmla="*/ 4 h 32"/>
                <a:gd name="T6" fmla="*/ 52 w 55"/>
                <a:gd name="T7" fmla="*/ 5 h 32"/>
                <a:gd name="T8" fmla="*/ 54 w 55"/>
                <a:gd name="T9" fmla="*/ 5 h 32"/>
                <a:gd name="T10" fmla="*/ 54 w 55"/>
                <a:gd name="T11" fmla="*/ 8 h 32"/>
                <a:gd name="T12" fmla="*/ 52 w 55"/>
                <a:gd name="T13" fmla="*/ 9 h 32"/>
                <a:gd name="T14" fmla="*/ 49 w 55"/>
                <a:gd name="T15" fmla="*/ 11 h 32"/>
                <a:gd name="T16" fmla="*/ 48 w 55"/>
                <a:gd name="T17" fmla="*/ 12 h 32"/>
                <a:gd name="T18" fmla="*/ 47 w 55"/>
                <a:gd name="T19" fmla="*/ 15 h 32"/>
                <a:gd name="T20" fmla="*/ 45 w 55"/>
                <a:gd name="T21" fmla="*/ 17 h 32"/>
                <a:gd name="T22" fmla="*/ 45 w 55"/>
                <a:gd name="T23" fmla="*/ 20 h 32"/>
                <a:gd name="T24" fmla="*/ 43 w 55"/>
                <a:gd name="T25" fmla="*/ 21 h 32"/>
                <a:gd name="T26" fmla="*/ 43 w 55"/>
                <a:gd name="T27" fmla="*/ 23 h 32"/>
                <a:gd name="T28" fmla="*/ 42 w 55"/>
                <a:gd name="T29" fmla="*/ 24 h 32"/>
                <a:gd name="T30" fmla="*/ 40 w 55"/>
                <a:gd name="T31" fmla="*/ 27 h 32"/>
                <a:gd name="T32" fmla="*/ 37 w 55"/>
                <a:gd name="T33" fmla="*/ 28 h 32"/>
                <a:gd name="T34" fmla="*/ 35 w 55"/>
                <a:gd name="T35" fmla="*/ 28 h 32"/>
                <a:gd name="T36" fmla="*/ 31 w 55"/>
                <a:gd name="T37" fmla="*/ 28 h 32"/>
                <a:gd name="T38" fmla="*/ 28 w 55"/>
                <a:gd name="T39" fmla="*/ 28 h 32"/>
                <a:gd name="T40" fmla="*/ 25 w 55"/>
                <a:gd name="T41" fmla="*/ 30 h 32"/>
                <a:gd name="T42" fmla="*/ 24 w 55"/>
                <a:gd name="T43" fmla="*/ 30 h 32"/>
                <a:gd name="T44" fmla="*/ 22 w 55"/>
                <a:gd name="T45" fmla="*/ 31 h 32"/>
                <a:gd name="T46" fmla="*/ 20 w 55"/>
                <a:gd name="T47" fmla="*/ 32 h 32"/>
                <a:gd name="T48" fmla="*/ 17 w 55"/>
                <a:gd name="T49" fmla="*/ 32 h 32"/>
                <a:gd name="T50" fmla="*/ 15 w 55"/>
                <a:gd name="T51" fmla="*/ 32 h 32"/>
                <a:gd name="T52" fmla="*/ 13 w 55"/>
                <a:gd name="T53" fmla="*/ 31 h 32"/>
                <a:gd name="T54" fmla="*/ 10 w 55"/>
                <a:gd name="T55" fmla="*/ 30 h 32"/>
                <a:gd name="T56" fmla="*/ 9 w 55"/>
                <a:gd name="T57" fmla="*/ 28 h 32"/>
                <a:gd name="T58" fmla="*/ 6 w 55"/>
                <a:gd name="T59" fmla="*/ 26 h 32"/>
                <a:gd name="T60" fmla="*/ 6 w 55"/>
                <a:gd name="T61" fmla="*/ 25 h 32"/>
                <a:gd name="T62" fmla="*/ 4 w 55"/>
                <a:gd name="T63" fmla="*/ 24 h 32"/>
                <a:gd name="T64" fmla="*/ 3 w 55"/>
                <a:gd name="T65" fmla="*/ 22 h 32"/>
                <a:gd name="T66" fmla="*/ 2 w 55"/>
                <a:gd name="T67" fmla="*/ 20 h 32"/>
                <a:gd name="T68" fmla="*/ 1 w 55"/>
                <a:gd name="T69" fmla="*/ 19 h 32"/>
                <a:gd name="T70" fmla="*/ 2 w 55"/>
                <a:gd name="T71" fmla="*/ 19 h 32"/>
                <a:gd name="T72" fmla="*/ 4 w 55"/>
                <a:gd name="T73" fmla="*/ 17 h 32"/>
                <a:gd name="T74" fmla="*/ 3 w 55"/>
                <a:gd name="T75" fmla="*/ 16 h 32"/>
                <a:gd name="T76" fmla="*/ 4 w 55"/>
                <a:gd name="T77" fmla="*/ 13 h 32"/>
                <a:gd name="T78" fmla="*/ 5 w 55"/>
                <a:gd name="T79" fmla="*/ 12 h 32"/>
                <a:gd name="T80" fmla="*/ 3 w 55"/>
                <a:gd name="T81" fmla="*/ 10 h 32"/>
                <a:gd name="T82" fmla="*/ 5 w 55"/>
                <a:gd name="T83" fmla="*/ 11 h 32"/>
                <a:gd name="T84" fmla="*/ 8 w 55"/>
                <a:gd name="T85" fmla="*/ 10 h 32"/>
                <a:gd name="T86" fmla="*/ 8 w 55"/>
                <a:gd name="T87" fmla="*/ 8 h 32"/>
                <a:gd name="T88" fmla="*/ 10 w 55"/>
                <a:gd name="T89" fmla="*/ 8 h 32"/>
                <a:gd name="T90" fmla="*/ 13 w 55"/>
                <a:gd name="T91" fmla="*/ 9 h 32"/>
                <a:gd name="T92" fmla="*/ 17 w 55"/>
                <a:gd name="T93" fmla="*/ 9 h 32"/>
                <a:gd name="T94" fmla="*/ 21 w 55"/>
                <a:gd name="T95" fmla="*/ 9 h 32"/>
                <a:gd name="T96" fmla="*/ 21 w 55"/>
                <a:gd name="T97" fmla="*/ 8 h 32"/>
                <a:gd name="T98" fmla="*/ 23 w 55"/>
                <a:gd name="T99" fmla="*/ 6 h 32"/>
                <a:gd name="T100" fmla="*/ 27 w 55"/>
                <a:gd name="T101" fmla="*/ 5 h 32"/>
                <a:gd name="T102" fmla="*/ 28 w 55"/>
                <a:gd name="T103" fmla="*/ 5 h 32"/>
                <a:gd name="T104" fmla="*/ 30 w 55"/>
                <a:gd name="T105" fmla="*/ 4 h 32"/>
                <a:gd name="T106" fmla="*/ 32 w 55"/>
                <a:gd name="T107" fmla="*/ 5 h 32"/>
                <a:gd name="T108" fmla="*/ 34 w 55"/>
                <a:gd name="T109" fmla="*/ 3 h 32"/>
                <a:gd name="T110" fmla="*/ 36 w 55"/>
                <a:gd name="T111" fmla="*/ 0 h 32"/>
                <a:gd name="T112" fmla="*/ 38 w 55"/>
                <a:gd name="T113" fmla="*/ 0 h 32"/>
                <a:gd name="T114" fmla="*/ 41 w 55"/>
                <a:gd name="T115" fmla="*/ 1 h 32"/>
                <a:gd name="T116" fmla="*/ 43 w 55"/>
                <a:gd name="T1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" h="32">
                  <a:moveTo>
                    <a:pt x="43" y="0"/>
                  </a:moveTo>
                  <a:lnTo>
                    <a:pt x="44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3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7" y="12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3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6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10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4" name="Freeform 50"/>
            <p:cNvSpPr>
              <a:spLocks/>
            </p:cNvSpPr>
            <p:nvPr/>
          </p:nvSpPr>
          <p:spPr bwMode="auto">
            <a:xfrm>
              <a:off x="5502017" y="3367658"/>
              <a:ext cx="116174" cy="59247"/>
            </a:xfrm>
            <a:custGeom>
              <a:avLst/>
              <a:gdLst>
                <a:gd name="T0" fmla="*/ 49 w 89"/>
                <a:gd name="T1" fmla="*/ 40 h 43"/>
                <a:gd name="T2" fmla="*/ 41 w 89"/>
                <a:gd name="T3" fmla="*/ 42 h 43"/>
                <a:gd name="T4" fmla="*/ 33 w 89"/>
                <a:gd name="T5" fmla="*/ 37 h 43"/>
                <a:gd name="T6" fmla="*/ 34 w 89"/>
                <a:gd name="T7" fmla="*/ 35 h 43"/>
                <a:gd name="T8" fmla="*/ 29 w 89"/>
                <a:gd name="T9" fmla="*/ 38 h 43"/>
                <a:gd name="T10" fmla="*/ 31 w 89"/>
                <a:gd name="T11" fmla="*/ 34 h 43"/>
                <a:gd name="T12" fmla="*/ 26 w 89"/>
                <a:gd name="T13" fmla="*/ 37 h 43"/>
                <a:gd name="T14" fmla="*/ 15 w 89"/>
                <a:gd name="T15" fmla="*/ 37 h 43"/>
                <a:gd name="T16" fmla="*/ 20 w 89"/>
                <a:gd name="T17" fmla="*/ 34 h 43"/>
                <a:gd name="T18" fmla="*/ 22 w 89"/>
                <a:gd name="T19" fmla="*/ 31 h 43"/>
                <a:gd name="T20" fmla="*/ 20 w 89"/>
                <a:gd name="T21" fmla="*/ 30 h 43"/>
                <a:gd name="T22" fmla="*/ 22 w 89"/>
                <a:gd name="T23" fmla="*/ 28 h 43"/>
                <a:gd name="T24" fmla="*/ 23 w 89"/>
                <a:gd name="T25" fmla="*/ 27 h 43"/>
                <a:gd name="T26" fmla="*/ 18 w 89"/>
                <a:gd name="T27" fmla="*/ 28 h 43"/>
                <a:gd name="T28" fmla="*/ 18 w 89"/>
                <a:gd name="T29" fmla="*/ 26 h 43"/>
                <a:gd name="T30" fmla="*/ 15 w 89"/>
                <a:gd name="T31" fmla="*/ 24 h 43"/>
                <a:gd name="T32" fmla="*/ 4 w 89"/>
                <a:gd name="T33" fmla="*/ 23 h 43"/>
                <a:gd name="T34" fmla="*/ 12 w 89"/>
                <a:gd name="T35" fmla="*/ 21 h 43"/>
                <a:gd name="T36" fmla="*/ 14 w 89"/>
                <a:gd name="T37" fmla="*/ 20 h 43"/>
                <a:gd name="T38" fmla="*/ 20 w 89"/>
                <a:gd name="T39" fmla="*/ 21 h 43"/>
                <a:gd name="T40" fmla="*/ 16 w 89"/>
                <a:gd name="T41" fmla="*/ 19 h 43"/>
                <a:gd name="T42" fmla="*/ 19 w 89"/>
                <a:gd name="T43" fmla="*/ 16 h 43"/>
                <a:gd name="T44" fmla="*/ 18 w 89"/>
                <a:gd name="T45" fmla="*/ 15 h 43"/>
                <a:gd name="T46" fmla="*/ 15 w 89"/>
                <a:gd name="T47" fmla="*/ 14 h 43"/>
                <a:gd name="T48" fmla="*/ 14 w 89"/>
                <a:gd name="T49" fmla="*/ 13 h 43"/>
                <a:gd name="T50" fmla="*/ 5 w 89"/>
                <a:gd name="T51" fmla="*/ 15 h 43"/>
                <a:gd name="T52" fmla="*/ 5 w 89"/>
                <a:gd name="T53" fmla="*/ 14 h 43"/>
                <a:gd name="T54" fmla="*/ 6 w 89"/>
                <a:gd name="T55" fmla="*/ 11 h 43"/>
                <a:gd name="T56" fmla="*/ 8 w 89"/>
                <a:gd name="T57" fmla="*/ 11 h 43"/>
                <a:gd name="T58" fmla="*/ 7 w 89"/>
                <a:gd name="T59" fmla="*/ 8 h 43"/>
                <a:gd name="T60" fmla="*/ 9 w 89"/>
                <a:gd name="T61" fmla="*/ 6 h 43"/>
                <a:gd name="T62" fmla="*/ 12 w 89"/>
                <a:gd name="T63" fmla="*/ 8 h 43"/>
                <a:gd name="T64" fmla="*/ 16 w 89"/>
                <a:gd name="T65" fmla="*/ 8 h 43"/>
                <a:gd name="T66" fmla="*/ 18 w 89"/>
                <a:gd name="T67" fmla="*/ 9 h 43"/>
                <a:gd name="T68" fmla="*/ 16 w 89"/>
                <a:gd name="T69" fmla="*/ 4 h 43"/>
                <a:gd name="T70" fmla="*/ 12 w 89"/>
                <a:gd name="T71" fmla="*/ 3 h 43"/>
                <a:gd name="T72" fmla="*/ 16 w 89"/>
                <a:gd name="T73" fmla="*/ 2 h 43"/>
                <a:gd name="T74" fmla="*/ 22 w 89"/>
                <a:gd name="T75" fmla="*/ 5 h 43"/>
                <a:gd name="T76" fmla="*/ 25 w 89"/>
                <a:gd name="T77" fmla="*/ 8 h 43"/>
                <a:gd name="T78" fmla="*/ 23 w 89"/>
                <a:gd name="T79" fmla="*/ 12 h 43"/>
                <a:gd name="T80" fmla="*/ 27 w 89"/>
                <a:gd name="T81" fmla="*/ 19 h 43"/>
                <a:gd name="T82" fmla="*/ 31 w 89"/>
                <a:gd name="T83" fmla="*/ 13 h 43"/>
                <a:gd name="T84" fmla="*/ 34 w 89"/>
                <a:gd name="T85" fmla="*/ 12 h 43"/>
                <a:gd name="T86" fmla="*/ 36 w 89"/>
                <a:gd name="T87" fmla="*/ 7 h 43"/>
                <a:gd name="T88" fmla="*/ 41 w 89"/>
                <a:gd name="T89" fmla="*/ 7 h 43"/>
                <a:gd name="T90" fmla="*/ 46 w 89"/>
                <a:gd name="T91" fmla="*/ 7 h 43"/>
                <a:gd name="T92" fmla="*/ 51 w 89"/>
                <a:gd name="T93" fmla="*/ 8 h 43"/>
                <a:gd name="T94" fmla="*/ 57 w 89"/>
                <a:gd name="T95" fmla="*/ 7 h 43"/>
                <a:gd name="T96" fmla="*/ 65 w 89"/>
                <a:gd name="T97" fmla="*/ 3 h 43"/>
                <a:gd name="T98" fmla="*/ 68 w 89"/>
                <a:gd name="T99" fmla="*/ 1 h 43"/>
                <a:gd name="T100" fmla="*/ 73 w 89"/>
                <a:gd name="T101" fmla="*/ 5 h 43"/>
                <a:gd name="T102" fmla="*/ 77 w 89"/>
                <a:gd name="T103" fmla="*/ 4 h 43"/>
                <a:gd name="T104" fmla="*/ 77 w 89"/>
                <a:gd name="T105" fmla="*/ 11 h 43"/>
                <a:gd name="T106" fmla="*/ 80 w 89"/>
                <a:gd name="T107" fmla="*/ 14 h 43"/>
                <a:gd name="T108" fmla="*/ 79 w 89"/>
                <a:gd name="T109" fmla="*/ 19 h 43"/>
                <a:gd name="T110" fmla="*/ 82 w 89"/>
                <a:gd name="T111" fmla="*/ 13 h 43"/>
                <a:gd name="T112" fmla="*/ 86 w 89"/>
                <a:gd name="T113" fmla="*/ 16 h 43"/>
                <a:gd name="T114" fmla="*/ 86 w 89"/>
                <a:gd name="T115" fmla="*/ 19 h 43"/>
                <a:gd name="T116" fmla="*/ 83 w 89"/>
                <a:gd name="T117" fmla="*/ 21 h 43"/>
                <a:gd name="T118" fmla="*/ 85 w 89"/>
                <a:gd name="T119" fmla="*/ 24 h 43"/>
                <a:gd name="T120" fmla="*/ 80 w 89"/>
                <a:gd name="T121" fmla="*/ 27 h 43"/>
                <a:gd name="T122" fmla="*/ 75 w 89"/>
                <a:gd name="T123" fmla="*/ 31 h 43"/>
                <a:gd name="T124" fmla="*/ 70 w 89"/>
                <a:gd name="T125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" h="43">
                  <a:moveTo>
                    <a:pt x="65" y="35"/>
                  </a:moveTo>
                  <a:lnTo>
                    <a:pt x="65" y="36"/>
                  </a:lnTo>
                  <a:lnTo>
                    <a:pt x="64" y="36"/>
                  </a:lnTo>
                  <a:lnTo>
                    <a:pt x="64" y="37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8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5" y="38"/>
                  </a:lnTo>
                  <a:lnTo>
                    <a:pt x="55" y="39"/>
                  </a:lnTo>
                  <a:lnTo>
                    <a:pt x="54" y="39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2" y="41"/>
                  </a:lnTo>
                  <a:lnTo>
                    <a:pt x="52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0" y="41"/>
                  </a:lnTo>
                  <a:lnTo>
                    <a:pt x="50" y="40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9" y="39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5" y="43"/>
                  </a:lnTo>
                  <a:lnTo>
                    <a:pt x="45" y="42"/>
                  </a:lnTo>
                  <a:lnTo>
                    <a:pt x="44" y="42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3" y="43"/>
                  </a:lnTo>
                  <a:lnTo>
                    <a:pt x="42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1"/>
                  </a:lnTo>
                  <a:lnTo>
                    <a:pt x="39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39"/>
                  </a:lnTo>
                  <a:lnTo>
                    <a:pt x="36" y="40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9"/>
                  </a:lnTo>
                  <a:lnTo>
                    <a:pt x="32" y="39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5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7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1" y="34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1" y="28"/>
                  </a:lnTo>
                  <a:lnTo>
                    <a:pt x="21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10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7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4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0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5" y="1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2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1" y="11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4"/>
                  </a:lnTo>
                  <a:lnTo>
                    <a:pt x="81" y="14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4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7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7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4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7" y="16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7" y="17"/>
                  </a:lnTo>
                  <a:lnTo>
                    <a:pt x="87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8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1"/>
                  </a:lnTo>
                  <a:lnTo>
                    <a:pt x="87" y="20"/>
                  </a:lnTo>
                  <a:lnTo>
                    <a:pt x="87" y="21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2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4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4" y="25"/>
                  </a:lnTo>
                  <a:lnTo>
                    <a:pt x="83" y="25"/>
                  </a:lnTo>
                  <a:lnTo>
                    <a:pt x="83" y="26"/>
                  </a:lnTo>
                  <a:lnTo>
                    <a:pt x="82" y="26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5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0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7" y="30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7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29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3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0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5" name="Freeform 51"/>
            <p:cNvSpPr>
              <a:spLocks noEditPoints="1"/>
            </p:cNvSpPr>
            <p:nvPr/>
          </p:nvSpPr>
          <p:spPr bwMode="auto">
            <a:xfrm>
              <a:off x="5517681" y="3367658"/>
              <a:ext cx="92678" cy="59247"/>
            </a:xfrm>
            <a:custGeom>
              <a:avLst/>
              <a:gdLst>
                <a:gd name="T0" fmla="*/ 22 w 71"/>
                <a:gd name="T1" fmla="*/ 43 h 43"/>
                <a:gd name="T2" fmla="*/ 22 w 71"/>
                <a:gd name="T3" fmla="*/ 42 h 43"/>
                <a:gd name="T4" fmla="*/ 21 w 71"/>
                <a:gd name="T5" fmla="*/ 38 h 43"/>
                <a:gd name="T6" fmla="*/ 21 w 71"/>
                <a:gd name="T7" fmla="*/ 34 h 43"/>
                <a:gd name="T8" fmla="*/ 20 w 71"/>
                <a:gd name="T9" fmla="*/ 35 h 43"/>
                <a:gd name="T10" fmla="*/ 24 w 71"/>
                <a:gd name="T11" fmla="*/ 34 h 43"/>
                <a:gd name="T12" fmla="*/ 10 w 71"/>
                <a:gd name="T13" fmla="*/ 33 h 43"/>
                <a:gd name="T14" fmla="*/ 10 w 71"/>
                <a:gd name="T15" fmla="*/ 33 h 43"/>
                <a:gd name="T16" fmla="*/ 10 w 71"/>
                <a:gd name="T17" fmla="*/ 32 h 43"/>
                <a:gd name="T18" fmla="*/ 62 w 71"/>
                <a:gd name="T19" fmla="*/ 31 h 43"/>
                <a:gd name="T20" fmla="*/ 66 w 71"/>
                <a:gd name="T21" fmla="*/ 30 h 43"/>
                <a:gd name="T22" fmla="*/ 65 w 71"/>
                <a:gd name="T23" fmla="*/ 31 h 43"/>
                <a:gd name="T24" fmla="*/ 67 w 71"/>
                <a:gd name="T25" fmla="*/ 29 h 43"/>
                <a:gd name="T26" fmla="*/ 6 w 71"/>
                <a:gd name="T27" fmla="*/ 29 h 43"/>
                <a:gd name="T28" fmla="*/ 6 w 71"/>
                <a:gd name="T29" fmla="*/ 29 h 43"/>
                <a:gd name="T30" fmla="*/ 6 w 71"/>
                <a:gd name="T31" fmla="*/ 28 h 43"/>
                <a:gd name="T32" fmla="*/ 68 w 71"/>
                <a:gd name="T33" fmla="*/ 27 h 43"/>
                <a:gd name="T34" fmla="*/ 68 w 71"/>
                <a:gd name="T35" fmla="*/ 27 h 43"/>
                <a:gd name="T36" fmla="*/ 71 w 71"/>
                <a:gd name="T37" fmla="*/ 27 h 43"/>
                <a:gd name="T38" fmla="*/ 5 w 71"/>
                <a:gd name="T39" fmla="*/ 24 h 43"/>
                <a:gd name="T40" fmla="*/ 4 w 71"/>
                <a:gd name="T41" fmla="*/ 24 h 43"/>
                <a:gd name="T42" fmla="*/ 0 w 71"/>
                <a:gd name="T43" fmla="*/ 21 h 43"/>
                <a:gd name="T44" fmla="*/ 0 w 71"/>
                <a:gd name="T45" fmla="*/ 21 h 43"/>
                <a:gd name="T46" fmla="*/ 4 w 71"/>
                <a:gd name="T47" fmla="*/ 20 h 43"/>
                <a:gd name="T48" fmla="*/ 3 w 71"/>
                <a:gd name="T49" fmla="*/ 20 h 43"/>
                <a:gd name="T50" fmla="*/ 2 w 71"/>
                <a:gd name="T51" fmla="*/ 20 h 43"/>
                <a:gd name="T52" fmla="*/ 5 w 71"/>
                <a:gd name="T53" fmla="*/ 20 h 43"/>
                <a:gd name="T54" fmla="*/ 4 w 71"/>
                <a:gd name="T55" fmla="*/ 20 h 43"/>
                <a:gd name="T56" fmla="*/ 4 w 71"/>
                <a:gd name="T57" fmla="*/ 20 h 43"/>
                <a:gd name="T58" fmla="*/ 4 w 71"/>
                <a:gd name="T59" fmla="*/ 20 h 43"/>
                <a:gd name="T60" fmla="*/ 5 w 71"/>
                <a:gd name="T61" fmla="*/ 20 h 43"/>
                <a:gd name="T62" fmla="*/ 4 w 71"/>
                <a:gd name="T63" fmla="*/ 19 h 43"/>
                <a:gd name="T64" fmla="*/ 4 w 71"/>
                <a:gd name="T65" fmla="*/ 19 h 43"/>
                <a:gd name="T66" fmla="*/ 4 w 71"/>
                <a:gd name="T67" fmla="*/ 19 h 43"/>
                <a:gd name="T68" fmla="*/ 3 w 71"/>
                <a:gd name="T69" fmla="*/ 19 h 43"/>
                <a:gd name="T70" fmla="*/ 5 w 71"/>
                <a:gd name="T71" fmla="*/ 19 h 43"/>
                <a:gd name="T72" fmla="*/ 3 w 71"/>
                <a:gd name="T73" fmla="*/ 19 h 43"/>
                <a:gd name="T74" fmla="*/ 3 w 71"/>
                <a:gd name="T75" fmla="*/ 19 h 43"/>
                <a:gd name="T76" fmla="*/ 4 w 71"/>
                <a:gd name="T77" fmla="*/ 19 h 43"/>
                <a:gd name="T78" fmla="*/ 3 w 71"/>
                <a:gd name="T79" fmla="*/ 19 h 43"/>
                <a:gd name="T80" fmla="*/ 4 w 71"/>
                <a:gd name="T81" fmla="*/ 18 h 43"/>
                <a:gd name="T82" fmla="*/ 2 w 71"/>
                <a:gd name="T83" fmla="*/ 16 h 43"/>
                <a:gd name="T84" fmla="*/ 3 w 71"/>
                <a:gd name="T85" fmla="*/ 15 h 43"/>
                <a:gd name="T86" fmla="*/ 3 w 71"/>
                <a:gd name="T87" fmla="*/ 15 h 43"/>
                <a:gd name="T88" fmla="*/ 7 w 71"/>
                <a:gd name="T89" fmla="*/ 15 h 43"/>
                <a:gd name="T90" fmla="*/ 2 w 71"/>
                <a:gd name="T91" fmla="*/ 14 h 43"/>
                <a:gd name="T92" fmla="*/ 2 w 71"/>
                <a:gd name="T93" fmla="*/ 13 h 43"/>
                <a:gd name="T94" fmla="*/ 28 w 71"/>
                <a:gd name="T95" fmla="*/ 8 h 43"/>
                <a:gd name="T96" fmla="*/ 28 w 71"/>
                <a:gd name="T97" fmla="*/ 8 h 43"/>
                <a:gd name="T98" fmla="*/ 37 w 71"/>
                <a:gd name="T99" fmla="*/ 7 h 43"/>
                <a:gd name="T100" fmla="*/ 3 w 71"/>
                <a:gd name="T101" fmla="*/ 6 h 43"/>
                <a:gd name="T102" fmla="*/ 3 w 71"/>
                <a:gd name="T103" fmla="*/ 6 h 43"/>
                <a:gd name="T104" fmla="*/ 40 w 71"/>
                <a:gd name="T105" fmla="*/ 0 h 43"/>
                <a:gd name="T106" fmla="*/ 40 w 71"/>
                <a:gd name="T10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" h="43">
                  <a:moveTo>
                    <a:pt x="22" y="42"/>
                  </a:move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21" y="38"/>
                  </a:moveTo>
                  <a:lnTo>
                    <a:pt x="21" y="38"/>
                  </a:lnTo>
                  <a:lnTo>
                    <a:pt x="21" y="38"/>
                  </a:lnTo>
                  <a:close/>
                  <a:moveTo>
                    <a:pt x="22" y="34"/>
                  </a:moveTo>
                  <a:lnTo>
                    <a:pt x="22" y="35"/>
                  </a:lnTo>
                  <a:lnTo>
                    <a:pt x="22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4" y="34"/>
                  </a:moveTo>
                  <a:lnTo>
                    <a:pt x="24" y="34"/>
                  </a:lnTo>
                  <a:lnTo>
                    <a:pt x="24" y="34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3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5" y="31"/>
                  </a:moveTo>
                  <a:lnTo>
                    <a:pt x="65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5" y="30"/>
                  </a:lnTo>
                  <a:lnTo>
                    <a:pt x="65" y="31"/>
                  </a:lnTo>
                  <a:close/>
                  <a:moveTo>
                    <a:pt x="66" y="30"/>
                  </a:moveTo>
                  <a:lnTo>
                    <a:pt x="67" y="30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30"/>
                  </a:lnTo>
                  <a:lnTo>
                    <a:pt x="66" y="30"/>
                  </a:lnTo>
                  <a:close/>
                  <a:moveTo>
                    <a:pt x="7" y="29"/>
                  </a:move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9"/>
                  </a:lnTo>
                  <a:close/>
                  <a:moveTo>
                    <a:pt x="6" y="29"/>
                  </a:moveTo>
                  <a:lnTo>
                    <a:pt x="6" y="28"/>
                  </a:lnTo>
                  <a:lnTo>
                    <a:pt x="6" y="29"/>
                  </a:lnTo>
                  <a:close/>
                  <a:moveTo>
                    <a:pt x="6" y="27"/>
                  </a:moveTo>
                  <a:lnTo>
                    <a:pt x="6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6" y="27"/>
                  </a:lnTo>
                  <a:close/>
                  <a:moveTo>
                    <a:pt x="68" y="27"/>
                  </a:moveTo>
                  <a:lnTo>
                    <a:pt x="69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68" y="27"/>
                  </a:move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71" y="27"/>
                  </a:moveTo>
                  <a:lnTo>
                    <a:pt x="71" y="27"/>
                  </a:lnTo>
                  <a:lnTo>
                    <a:pt x="71" y="27"/>
                  </a:lnTo>
                  <a:close/>
                  <a:moveTo>
                    <a:pt x="5" y="25"/>
                  </a:moveTo>
                  <a:lnTo>
                    <a:pt x="5" y="24"/>
                  </a:lnTo>
                  <a:lnTo>
                    <a:pt x="4" y="24"/>
                  </a:lnTo>
                  <a:lnTo>
                    <a:pt x="5" y="25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  <a:moveTo>
                    <a:pt x="2" y="21"/>
                  </a:moveTo>
                  <a:lnTo>
                    <a:pt x="1" y="21"/>
                  </a:lnTo>
                  <a:lnTo>
                    <a:pt x="2" y="21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2" y="20"/>
                  </a:moveTo>
                  <a:lnTo>
                    <a:pt x="2" y="20"/>
                  </a:lnTo>
                  <a:lnTo>
                    <a:pt x="2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close/>
                  <a:moveTo>
                    <a:pt x="4" y="19"/>
                  </a:moveTo>
                  <a:lnTo>
                    <a:pt x="4" y="20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20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2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2" y="14"/>
                  </a:moveTo>
                  <a:lnTo>
                    <a:pt x="2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1" y="13"/>
                  </a:lnTo>
                  <a:lnTo>
                    <a:pt x="2" y="13"/>
                  </a:lnTo>
                  <a:close/>
                  <a:moveTo>
                    <a:pt x="70" y="12"/>
                  </a:moveTo>
                  <a:lnTo>
                    <a:pt x="70" y="12"/>
                  </a:lnTo>
                  <a:lnTo>
                    <a:pt x="70" y="12"/>
                  </a:lnTo>
                  <a:close/>
                  <a:moveTo>
                    <a:pt x="28" y="8"/>
                  </a:move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37" y="8"/>
                  </a:lnTo>
                  <a:lnTo>
                    <a:pt x="37" y="7"/>
                  </a:lnTo>
                  <a:close/>
                  <a:moveTo>
                    <a:pt x="28" y="8"/>
                  </a:moveTo>
                  <a:lnTo>
                    <a:pt x="28" y="7"/>
                  </a:lnTo>
                  <a:lnTo>
                    <a:pt x="28" y="8"/>
                  </a:lnTo>
                  <a:close/>
                  <a:moveTo>
                    <a:pt x="3" y="6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close/>
                  <a:moveTo>
                    <a:pt x="41" y="5"/>
                  </a:moveTo>
                  <a:lnTo>
                    <a:pt x="42" y="5"/>
                  </a:lnTo>
                  <a:lnTo>
                    <a:pt x="41" y="5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6" name="Freeform 52"/>
            <p:cNvSpPr>
              <a:spLocks noEditPoints="1"/>
            </p:cNvSpPr>
            <p:nvPr/>
          </p:nvSpPr>
          <p:spPr bwMode="auto">
            <a:xfrm>
              <a:off x="5513765" y="3369036"/>
              <a:ext cx="104426" cy="55113"/>
            </a:xfrm>
            <a:custGeom>
              <a:avLst/>
              <a:gdLst>
                <a:gd name="T0" fmla="*/ 21 w 80"/>
                <a:gd name="T1" fmla="*/ 36 h 40"/>
                <a:gd name="T2" fmla="*/ 18 w 80"/>
                <a:gd name="T3" fmla="*/ 36 h 40"/>
                <a:gd name="T4" fmla="*/ 23 w 80"/>
                <a:gd name="T5" fmla="*/ 34 h 40"/>
                <a:gd name="T6" fmla="*/ 20 w 80"/>
                <a:gd name="T7" fmla="*/ 34 h 40"/>
                <a:gd name="T8" fmla="*/ 25 w 80"/>
                <a:gd name="T9" fmla="*/ 33 h 40"/>
                <a:gd name="T10" fmla="*/ 23 w 80"/>
                <a:gd name="T11" fmla="*/ 32 h 40"/>
                <a:gd name="T12" fmla="*/ 11 w 80"/>
                <a:gd name="T13" fmla="*/ 28 h 40"/>
                <a:gd name="T14" fmla="*/ 9 w 80"/>
                <a:gd name="T15" fmla="*/ 26 h 40"/>
                <a:gd name="T16" fmla="*/ 74 w 80"/>
                <a:gd name="T17" fmla="*/ 26 h 40"/>
                <a:gd name="T18" fmla="*/ 9 w 80"/>
                <a:gd name="T19" fmla="*/ 26 h 40"/>
                <a:gd name="T20" fmla="*/ 9 w 80"/>
                <a:gd name="T21" fmla="*/ 25 h 40"/>
                <a:gd name="T22" fmla="*/ 6 w 80"/>
                <a:gd name="T23" fmla="*/ 23 h 40"/>
                <a:gd name="T24" fmla="*/ 80 w 80"/>
                <a:gd name="T25" fmla="*/ 21 h 40"/>
                <a:gd name="T26" fmla="*/ 4 w 80"/>
                <a:gd name="T27" fmla="*/ 20 h 40"/>
                <a:gd name="T28" fmla="*/ 5 w 80"/>
                <a:gd name="T29" fmla="*/ 20 h 40"/>
                <a:gd name="T30" fmla="*/ 6 w 80"/>
                <a:gd name="T31" fmla="*/ 19 h 40"/>
                <a:gd name="T32" fmla="*/ 6 w 80"/>
                <a:gd name="T33" fmla="*/ 20 h 40"/>
                <a:gd name="T34" fmla="*/ 7 w 80"/>
                <a:gd name="T35" fmla="*/ 19 h 40"/>
                <a:gd name="T36" fmla="*/ 5 w 80"/>
                <a:gd name="T37" fmla="*/ 19 h 40"/>
                <a:gd name="T38" fmla="*/ 9 w 80"/>
                <a:gd name="T39" fmla="*/ 19 h 40"/>
                <a:gd name="T40" fmla="*/ 9 w 80"/>
                <a:gd name="T41" fmla="*/ 19 h 40"/>
                <a:gd name="T42" fmla="*/ 7 w 80"/>
                <a:gd name="T43" fmla="*/ 19 h 40"/>
                <a:gd name="T44" fmla="*/ 8 w 80"/>
                <a:gd name="T45" fmla="*/ 19 h 40"/>
                <a:gd name="T46" fmla="*/ 8 w 80"/>
                <a:gd name="T47" fmla="*/ 19 h 40"/>
                <a:gd name="T48" fmla="*/ 7 w 80"/>
                <a:gd name="T49" fmla="*/ 19 h 40"/>
                <a:gd name="T50" fmla="*/ 7 w 80"/>
                <a:gd name="T51" fmla="*/ 19 h 40"/>
                <a:gd name="T52" fmla="*/ 6 w 80"/>
                <a:gd name="T53" fmla="*/ 18 h 40"/>
                <a:gd name="T54" fmla="*/ 7 w 80"/>
                <a:gd name="T55" fmla="*/ 18 h 40"/>
                <a:gd name="T56" fmla="*/ 7 w 80"/>
                <a:gd name="T57" fmla="*/ 18 h 40"/>
                <a:gd name="T58" fmla="*/ 7 w 80"/>
                <a:gd name="T59" fmla="*/ 17 h 40"/>
                <a:gd name="T60" fmla="*/ 7 w 80"/>
                <a:gd name="T61" fmla="*/ 17 h 40"/>
                <a:gd name="T62" fmla="*/ 7 w 80"/>
                <a:gd name="T63" fmla="*/ 17 h 40"/>
                <a:gd name="T64" fmla="*/ 10 w 80"/>
                <a:gd name="T65" fmla="*/ 15 h 40"/>
                <a:gd name="T66" fmla="*/ 9 w 80"/>
                <a:gd name="T67" fmla="*/ 15 h 40"/>
                <a:gd name="T68" fmla="*/ 10 w 80"/>
                <a:gd name="T69" fmla="*/ 15 h 40"/>
                <a:gd name="T70" fmla="*/ 5 w 80"/>
                <a:gd name="T71" fmla="*/ 15 h 40"/>
                <a:gd name="T72" fmla="*/ 4 w 80"/>
                <a:gd name="T73" fmla="*/ 15 h 40"/>
                <a:gd name="T74" fmla="*/ 9 w 80"/>
                <a:gd name="T75" fmla="*/ 14 h 40"/>
                <a:gd name="T76" fmla="*/ 9 w 80"/>
                <a:gd name="T77" fmla="*/ 14 h 40"/>
                <a:gd name="T78" fmla="*/ 6 w 80"/>
                <a:gd name="T79" fmla="*/ 14 h 40"/>
                <a:gd name="T80" fmla="*/ 9 w 80"/>
                <a:gd name="T81" fmla="*/ 14 h 40"/>
                <a:gd name="T82" fmla="*/ 7 w 80"/>
                <a:gd name="T83" fmla="*/ 14 h 40"/>
                <a:gd name="T84" fmla="*/ 5 w 80"/>
                <a:gd name="T85" fmla="*/ 13 h 40"/>
                <a:gd name="T86" fmla="*/ 5 w 80"/>
                <a:gd name="T87" fmla="*/ 13 h 40"/>
                <a:gd name="T88" fmla="*/ 5 w 80"/>
                <a:gd name="T89" fmla="*/ 14 h 40"/>
                <a:gd name="T90" fmla="*/ 6 w 80"/>
                <a:gd name="T91" fmla="*/ 13 h 40"/>
                <a:gd name="T92" fmla="*/ 10 w 80"/>
                <a:gd name="T93" fmla="*/ 12 h 40"/>
                <a:gd name="T94" fmla="*/ 24 w 80"/>
                <a:gd name="T95" fmla="*/ 12 h 40"/>
                <a:gd name="T96" fmla="*/ 23 w 80"/>
                <a:gd name="T97" fmla="*/ 12 h 40"/>
                <a:gd name="T98" fmla="*/ 73 w 80"/>
                <a:gd name="T99" fmla="*/ 11 h 40"/>
                <a:gd name="T100" fmla="*/ 14 w 80"/>
                <a:gd name="T101" fmla="*/ 11 h 40"/>
                <a:gd name="T102" fmla="*/ 73 w 80"/>
                <a:gd name="T103" fmla="*/ 10 h 40"/>
                <a:gd name="T104" fmla="*/ 5 w 80"/>
                <a:gd name="T105" fmla="*/ 6 h 40"/>
                <a:gd name="T106" fmla="*/ 51 w 80"/>
                <a:gd name="T107" fmla="*/ 3 h 40"/>
                <a:gd name="T108" fmla="*/ 3 w 80"/>
                <a:gd name="T10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0" h="40">
                  <a:moveTo>
                    <a:pt x="41" y="40"/>
                  </a:moveTo>
                  <a:lnTo>
                    <a:pt x="41" y="40"/>
                  </a:lnTo>
                  <a:lnTo>
                    <a:pt x="41" y="40"/>
                  </a:lnTo>
                  <a:close/>
                  <a:moveTo>
                    <a:pt x="21" y="36"/>
                  </a:moveTo>
                  <a:lnTo>
                    <a:pt x="22" y="36"/>
                  </a:lnTo>
                  <a:lnTo>
                    <a:pt x="21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23" y="34"/>
                  </a:moveTo>
                  <a:lnTo>
                    <a:pt x="22" y="34"/>
                  </a:lnTo>
                  <a:lnTo>
                    <a:pt x="23" y="34"/>
                  </a:lnTo>
                  <a:close/>
                  <a:moveTo>
                    <a:pt x="23" y="34"/>
                  </a:moveTo>
                  <a:lnTo>
                    <a:pt x="23" y="34"/>
                  </a:lnTo>
                  <a:lnTo>
                    <a:pt x="23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0" y="34"/>
                  </a:moveTo>
                  <a:lnTo>
                    <a:pt x="21" y="34"/>
                  </a:lnTo>
                  <a:lnTo>
                    <a:pt x="20" y="34"/>
                  </a:lnTo>
                  <a:close/>
                  <a:moveTo>
                    <a:pt x="24" y="33"/>
                  </a:moveTo>
                  <a:lnTo>
                    <a:pt x="24" y="34"/>
                  </a:lnTo>
                  <a:lnTo>
                    <a:pt x="24" y="33"/>
                  </a:lnTo>
                  <a:close/>
                  <a:moveTo>
                    <a:pt x="25" y="33"/>
                  </a:moveTo>
                  <a:lnTo>
                    <a:pt x="24" y="33"/>
                  </a:lnTo>
                  <a:lnTo>
                    <a:pt x="25" y="33"/>
                  </a:lnTo>
                  <a:close/>
                  <a:moveTo>
                    <a:pt x="22" y="33"/>
                  </a:moveTo>
                  <a:lnTo>
                    <a:pt x="22" y="33"/>
                  </a:lnTo>
                  <a:lnTo>
                    <a:pt x="22" y="33"/>
                  </a:lnTo>
                  <a:close/>
                  <a:moveTo>
                    <a:pt x="23" y="32"/>
                  </a:moveTo>
                  <a:lnTo>
                    <a:pt x="24" y="32"/>
                  </a:lnTo>
                  <a:lnTo>
                    <a:pt x="23" y="32"/>
                  </a:lnTo>
                  <a:close/>
                  <a:moveTo>
                    <a:pt x="11" y="29"/>
                  </a:moveTo>
                  <a:lnTo>
                    <a:pt x="12" y="29"/>
                  </a:lnTo>
                  <a:lnTo>
                    <a:pt x="11" y="29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10" y="27"/>
                  </a:moveTo>
                  <a:lnTo>
                    <a:pt x="10" y="28"/>
                  </a:lnTo>
                  <a:lnTo>
                    <a:pt x="10" y="27"/>
                  </a:lnTo>
                  <a:close/>
                  <a:moveTo>
                    <a:pt x="9" y="26"/>
                  </a:moveTo>
                  <a:lnTo>
                    <a:pt x="9" y="27"/>
                  </a:lnTo>
                  <a:lnTo>
                    <a:pt x="9" y="26"/>
                  </a:lnTo>
                  <a:close/>
                  <a:moveTo>
                    <a:pt x="9" y="26"/>
                  </a:moveTo>
                  <a:lnTo>
                    <a:pt x="8" y="26"/>
                  </a:lnTo>
                  <a:lnTo>
                    <a:pt x="9" y="26"/>
                  </a:lnTo>
                  <a:close/>
                  <a:moveTo>
                    <a:pt x="74" y="26"/>
                  </a:moveTo>
                  <a:lnTo>
                    <a:pt x="74" y="26"/>
                  </a:lnTo>
                  <a:lnTo>
                    <a:pt x="74" y="26"/>
                  </a:lnTo>
                  <a:close/>
                  <a:moveTo>
                    <a:pt x="8" y="26"/>
                  </a:moveTo>
                  <a:lnTo>
                    <a:pt x="9" y="26"/>
                  </a:lnTo>
                  <a:lnTo>
                    <a:pt x="8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74" y="25"/>
                  </a:moveTo>
                  <a:lnTo>
                    <a:pt x="73" y="25"/>
                  </a:lnTo>
                  <a:lnTo>
                    <a:pt x="74" y="25"/>
                  </a:lnTo>
                  <a:close/>
                  <a:moveTo>
                    <a:pt x="9" y="25"/>
                  </a:moveTo>
                  <a:lnTo>
                    <a:pt x="8" y="25"/>
                  </a:lnTo>
                  <a:lnTo>
                    <a:pt x="9" y="25"/>
                  </a:lnTo>
                  <a:close/>
                  <a:moveTo>
                    <a:pt x="9" y="23"/>
                  </a:moveTo>
                  <a:lnTo>
                    <a:pt x="9" y="24"/>
                  </a:lnTo>
                  <a:lnTo>
                    <a:pt x="9" y="23"/>
                  </a:lnTo>
                  <a:close/>
                  <a:moveTo>
                    <a:pt x="6" y="23"/>
                  </a:moveTo>
                  <a:lnTo>
                    <a:pt x="6" y="23"/>
                  </a:lnTo>
                  <a:lnTo>
                    <a:pt x="6" y="23"/>
                  </a:lnTo>
                  <a:close/>
                  <a:moveTo>
                    <a:pt x="7" y="23"/>
                  </a:move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close/>
                  <a:moveTo>
                    <a:pt x="80" y="21"/>
                  </a:moveTo>
                  <a:lnTo>
                    <a:pt x="79" y="21"/>
                  </a:lnTo>
                  <a:lnTo>
                    <a:pt x="80" y="21"/>
                  </a:lnTo>
                  <a:close/>
                  <a:moveTo>
                    <a:pt x="1" y="21"/>
                  </a:moveTo>
                  <a:lnTo>
                    <a:pt x="1" y="21"/>
                  </a:lnTo>
                  <a:lnTo>
                    <a:pt x="1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68" y="20"/>
                  </a:moveTo>
                  <a:lnTo>
                    <a:pt x="68" y="19"/>
                  </a:lnTo>
                  <a:lnTo>
                    <a:pt x="68" y="20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6" y="20"/>
                  </a:moveTo>
                  <a:lnTo>
                    <a:pt x="6" y="19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10" y="19"/>
                  </a:moveTo>
                  <a:lnTo>
                    <a:pt x="10" y="19"/>
                  </a:lnTo>
                  <a:lnTo>
                    <a:pt x="10" y="19"/>
                  </a:lnTo>
                  <a:close/>
                  <a:moveTo>
                    <a:pt x="6" y="19"/>
                  </a:moveTo>
                  <a:lnTo>
                    <a:pt x="6" y="18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9" y="18"/>
                  </a:lnTo>
                  <a:lnTo>
                    <a:pt x="9" y="19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6" y="17"/>
                  </a:lnTo>
                  <a:lnTo>
                    <a:pt x="7" y="17"/>
                  </a:lnTo>
                  <a:close/>
                  <a:moveTo>
                    <a:pt x="9" y="15"/>
                  </a:moveTo>
                  <a:lnTo>
                    <a:pt x="9" y="16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5" y="14"/>
                  </a:moveTo>
                  <a:lnTo>
                    <a:pt x="5" y="15"/>
                  </a:lnTo>
                  <a:lnTo>
                    <a:pt x="5" y="14"/>
                  </a:lnTo>
                  <a:close/>
                  <a:moveTo>
                    <a:pt x="10" y="14"/>
                  </a:moveTo>
                  <a:lnTo>
                    <a:pt x="9" y="14"/>
                  </a:lnTo>
                  <a:lnTo>
                    <a:pt x="10" y="14"/>
                  </a:lnTo>
                  <a:close/>
                  <a:moveTo>
                    <a:pt x="3" y="14"/>
                  </a:moveTo>
                  <a:lnTo>
                    <a:pt x="3" y="14"/>
                  </a:lnTo>
                  <a:lnTo>
                    <a:pt x="3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3" y="14"/>
                  </a:moveTo>
                  <a:lnTo>
                    <a:pt x="12" y="14"/>
                  </a:lnTo>
                  <a:lnTo>
                    <a:pt x="13" y="14"/>
                  </a:lnTo>
                  <a:close/>
                  <a:moveTo>
                    <a:pt x="6" y="14"/>
                  </a:move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8" y="14"/>
                  </a:moveTo>
                  <a:lnTo>
                    <a:pt x="7" y="14"/>
                  </a:lnTo>
                  <a:lnTo>
                    <a:pt x="8" y="14"/>
                  </a:lnTo>
                  <a:close/>
                  <a:moveTo>
                    <a:pt x="9" y="14"/>
                  </a:moveTo>
                  <a:lnTo>
                    <a:pt x="8" y="14"/>
                  </a:lnTo>
                  <a:lnTo>
                    <a:pt x="9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8" y="14"/>
                  </a:moveTo>
                  <a:lnTo>
                    <a:pt x="8" y="13"/>
                  </a:lnTo>
                  <a:lnTo>
                    <a:pt x="8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11" y="13"/>
                  </a:moveTo>
                  <a:lnTo>
                    <a:pt x="11" y="14"/>
                  </a:lnTo>
                  <a:lnTo>
                    <a:pt x="11" y="13"/>
                  </a:lnTo>
                  <a:close/>
                  <a:moveTo>
                    <a:pt x="5" y="13"/>
                  </a:moveTo>
                  <a:lnTo>
                    <a:pt x="5" y="14"/>
                  </a:lnTo>
                  <a:lnTo>
                    <a:pt x="5" y="13"/>
                  </a:lnTo>
                  <a:close/>
                  <a:moveTo>
                    <a:pt x="9" y="13"/>
                  </a:moveTo>
                  <a:lnTo>
                    <a:pt x="8" y="13"/>
                  </a:lnTo>
                  <a:lnTo>
                    <a:pt x="9" y="13"/>
                  </a:lnTo>
                  <a:close/>
                  <a:moveTo>
                    <a:pt x="7" y="13"/>
                  </a:moveTo>
                  <a:lnTo>
                    <a:pt x="6" y="13"/>
                  </a:lnTo>
                  <a:lnTo>
                    <a:pt x="7" y="13"/>
                  </a:lnTo>
                  <a:close/>
                  <a:moveTo>
                    <a:pt x="4" y="13"/>
                  </a:moveTo>
                  <a:lnTo>
                    <a:pt x="4" y="12"/>
                  </a:lnTo>
                  <a:lnTo>
                    <a:pt x="4" y="13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24" y="12"/>
                  </a:move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close/>
                  <a:moveTo>
                    <a:pt x="23" y="12"/>
                  </a:moveTo>
                  <a:lnTo>
                    <a:pt x="24" y="12"/>
                  </a:lnTo>
                  <a:lnTo>
                    <a:pt x="23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73" y="11"/>
                  </a:moveTo>
                  <a:lnTo>
                    <a:pt x="73" y="11"/>
                  </a:lnTo>
                  <a:lnTo>
                    <a:pt x="73" y="11"/>
                  </a:lnTo>
                  <a:close/>
                  <a:moveTo>
                    <a:pt x="14" y="11"/>
                  </a:move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4" y="11"/>
                  </a:moveTo>
                  <a:lnTo>
                    <a:pt x="14" y="10"/>
                  </a:lnTo>
                  <a:lnTo>
                    <a:pt x="14" y="11"/>
                  </a:lnTo>
                  <a:close/>
                  <a:moveTo>
                    <a:pt x="16" y="10"/>
                  </a:moveTo>
                  <a:lnTo>
                    <a:pt x="16" y="10"/>
                  </a:lnTo>
                  <a:lnTo>
                    <a:pt x="16" y="10"/>
                  </a:lnTo>
                  <a:close/>
                  <a:moveTo>
                    <a:pt x="73" y="10"/>
                  </a:moveTo>
                  <a:lnTo>
                    <a:pt x="73" y="10"/>
                  </a:lnTo>
                  <a:lnTo>
                    <a:pt x="73" y="10"/>
                  </a:lnTo>
                  <a:close/>
                  <a:moveTo>
                    <a:pt x="1" y="7"/>
                  </a:moveTo>
                  <a:lnTo>
                    <a:pt x="0" y="7"/>
                  </a:lnTo>
                  <a:lnTo>
                    <a:pt x="1" y="7"/>
                  </a:lnTo>
                  <a:close/>
                  <a:moveTo>
                    <a:pt x="5" y="6"/>
                  </a:moveTo>
                  <a:lnTo>
                    <a:pt x="5" y="7"/>
                  </a:lnTo>
                  <a:lnTo>
                    <a:pt x="5" y="6"/>
                  </a:lnTo>
                  <a:close/>
                  <a:moveTo>
                    <a:pt x="34" y="6"/>
                  </a:moveTo>
                  <a:lnTo>
                    <a:pt x="35" y="6"/>
                  </a:lnTo>
                  <a:lnTo>
                    <a:pt x="34" y="6"/>
                  </a:lnTo>
                  <a:close/>
                  <a:moveTo>
                    <a:pt x="51" y="3"/>
                  </a:moveTo>
                  <a:lnTo>
                    <a:pt x="50" y="3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3"/>
                  </a:lnTo>
                  <a:close/>
                  <a:moveTo>
                    <a:pt x="3" y="1"/>
                  </a:moveTo>
                  <a:lnTo>
                    <a:pt x="3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7" name="Freeform 53"/>
            <p:cNvSpPr>
              <a:spLocks/>
            </p:cNvSpPr>
            <p:nvPr/>
          </p:nvSpPr>
          <p:spPr bwMode="auto">
            <a:xfrm>
              <a:off x="5649519" y="3568821"/>
              <a:ext cx="46992" cy="66136"/>
            </a:xfrm>
            <a:custGeom>
              <a:avLst/>
              <a:gdLst>
                <a:gd name="T0" fmla="*/ 17 w 36"/>
                <a:gd name="T1" fmla="*/ 43 h 48"/>
                <a:gd name="T2" fmla="*/ 16 w 36"/>
                <a:gd name="T3" fmla="*/ 44 h 48"/>
                <a:gd name="T4" fmla="*/ 14 w 36"/>
                <a:gd name="T5" fmla="*/ 46 h 48"/>
                <a:gd name="T6" fmla="*/ 10 w 36"/>
                <a:gd name="T7" fmla="*/ 46 h 48"/>
                <a:gd name="T8" fmla="*/ 9 w 36"/>
                <a:gd name="T9" fmla="*/ 47 h 48"/>
                <a:gd name="T10" fmla="*/ 6 w 36"/>
                <a:gd name="T11" fmla="*/ 47 h 48"/>
                <a:gd name="T12" fmla="*/ 5 w 36"/>
                <a:gd name="T13" fmla="*/ 46 h 48"/>
                <a:gd name="T14" fmla="*/ 2 w 36"/>
                <a:gd name="T15" fmla="*/ 46 h 48"/>
                <a:gd name="T16" fmla="*/ 5 w 36"/>
                <a:gd name="T17" fmla="*/ 44 h 48"/>
                <a:gd name="T18" fmla="*/ 4 w 36"/>
                <a:gd name="T19" fmla="*/ 44 h 48"/>
                <a:gd name="T20" fmla="*/ 1 w 36"/>
                <a:gd name="T21" fmla="*/ 43 h 48"/>
                <a:gd name="T22" fmla="*/ 6 w 36"/>
                <a:gd name="T23" fmla="*/ 40 h 48"/>
                <a:gd name="T24" fmla="*/ 0 w 36"/>
                <a:gd name="T25" fmla="*/ 39 h 48"/>
                <a:gd name="T26" fmla="*/ 3 w 36"/>
                <a:gd name="T27" fmla="*/ 38 h 48"/>
                <a:gd name="T28" fmla="*/ 5 w 36"/>
                <a:gd name="T29" fmla="*/ 36 h 48"/>
                <a:gd name="T30" fmla="*/ 8 w 36"/>
                <a:gd name="T31" fmla="*/ 35 h 48"/>
                <a:gd name="T32" fmla="*/ 13 w 36"/>
                <a:gd name="T33" fmla="*/ 33 h 48"/>
                <a:gd name="T34" fmla="*/ 9 w 36"/>
                <a:gd name="T35" fmla="*/ 34 h 48"/>
                <a:gd name="T36" fmla="*/ 5 w 36"/>
                <a:gd name="T37" fmla="*/ 34 h 48"/>
                <a:gd name="T38" fmla="*/ 9 w 36"/>
                <a:gd name="T39" fmla="*/ 30 h 48"/>
                <a:gd name="T40" fmla="*/ 12 w 36"/>
                <a:gd name="T41" fmla="*/ 28 h 48"/>
                <a:gd name="T42" fmla="*/ 11 w 36"/>
                <a:gd name="T43" fmla="*/ 26 h 48"/>
                <a:gd name="T44" fmla="*/ 7 w 36"/>
                <a:gd name="T45" fmla="*/ 25 h 48"/>
                <a:gd name="T46" fmla="*/ 5 w 36"/>
                <a:gd name="T47" fmla="*/ 26 h 48"/>
                <a:gd name="T48" fmla="*/ 3 w 36"/>
                <a:gd name="T49" fmla="*/ 24 h 48"/>
                <a:gd name="T50" fmla="*/ 3 w 36"/>
                <a:gd name="T51" fmla="*/ 23 h 48"/>
                <a:gd name="T52" fmla="*/ 4 w 36"/>
                <a:gd name="T53" fmla="*/ 21 h 48"/>
                <a:gd name="T54" fmla="*/ 7 w 36"/>
                <a:gd name="T55" fmla="*/ 18 h 48"/>
                <a:gd name="T56" fmla="*/ 2 w 36"/>
                <a:gd name="T57" fmla="*/ 17 h 48"/>
                <a:gd name="T58" fmla="*/ 5 w 36"/>
                <a:gd name="T59" fmla="*/ 18 h 48"/>
                <a:gd name="T60" fmla="*/ 5 w 36"/>
                <a:gd name="T61" fmla="*/ 16 h 48"/>
                <a:gd name="T62" fmla="*/ 3 w 36"/>
                <a:gd name="T63" fmla="*/ 15 h 48"/>
                <a:gd name="T64" fmla="*/ 5 w 36"/>
                <a:gd name="T65" fmla="*/ 14 h 48"/>
                <a:gd name="T66" fmla="*/ 7 w 36"/>
                <a:gd name="T67" fmla="*/ 13 h 48"/>
                <a:gd name="T68" fmla="*/ 11 w 36"/>
                <a:gd name="T69" fmla="*/ 15 h 48"/>
                <a:gd name="T70" fmla="*/ 16 w 36"/>
                <a:gd name="T71" fmla="*/ 14 h 48"/>
                <a:gd name="T72" fmla="*/ 15 w 36"/>
                <a:gd name="T73" fmla="*/ 12 h 48"/>
                <a:gd name="T74" fmla="*/ 19 w 36"/>
                <a:gd name="T75" fmla="*/ 10 h 48"/>
                <a:gd name="T76" fmla="*/ 17 w 36"/>
                <a:gd name="T77" fmla="*/ 10 h 48"/>
                <a:gd name="T78" fmla="*/ 15 w 36"/>
                <a:gd name="T79" fmla="*/ 9 h 48"/>
                <a:gd name="T80" fmla="*/ 16 w 36"/>
                <a:gd name="T81" fmla="*/ 7 h 48"/>
                <a:gd name="T82" fmla="*/ 16 w 36"/>
                <a:gd name="T83" fmla="*/ 6 h 48"/>
                <a:gd name="T84" fmla="*/ 17 w 36"/>
                <a:gd name="T85" fmla="*/ 4 h 48"/>
                <a:gd name="T86" fmla="*/ 21 w 36"/>
                <a:gd name="T87" fmla="*/ 3 h 48"/>
                <a:gd name="T88" fmla="*/ 22 w 36"/>
                <a:gd name="T89" fmla="*/ 3 h 48"/>
                <a:gd name="T90" fmla="*/ 22 w 36"/>
                <a:gd name="T91" fmla="*/ 2 h 48"/>
                <a:gd name="T92" fmla="*/ 24 w 36"/>
                <a:gd name="T93" fmla="*/ 5 h 48"/>
                <a:gd name="T94" fmla="*/ 25 w 36"/>
                <a:gd name="T95" fmla="*/ 1 h 48"/>
                <a:gd name="T96" fmla="*/ 28 w 36"/>
                <a:gd name="T97" fmla="*/ 2 h 48"/>
                <a:gd name="T98" fmla="*/ 24 w 36"/>
                <a:gd name="T99" fmla="*/ 8 h 48"/>
                <a:gd name="T100" fmla="*/ 19 w 36"/>
                <a:gd name="T101" fmla="*/ 11 h 48"/>
                <a:gd name="T102" fmla="*/ 25 w 36"/>
                <a:gd name="T103" fmla="*/ 15 h 48"/>
                <a:gd name="T104" fmla="*/ 30 w 36"/>
                <a:gd name="T105" fmla="*/ 15 h 48"/>
                <a:gd name="T106" fmla="*/ 35 w 36"/>
                <a:gd name="T107" fmla="*/ 17 h 48"/>
                <a:gd name="T108" fmla="*/ 34 w 36"/>
                <a:gd name="T109" fmla="*/ 21 h 48"/>
                <a:gd name="T110" fmla="*/ 35 w 36"/>
                <a:gd name="T111" fmla="*/ 26 h 48"/>
                <a:gd name="T112" fmla="*/ 34 w 36"/>
                <a:gd name="T113" fmla="*/ 33 h 48"/>
                <a:gd name="T114" fmla="*/ 32 w 36"/>
                <a:gd name="T115" fmla="*/ 38 h 48"/>
                <a:gd name="T116" fmla="*/ 29 w 36"/>
                <a:gd name="T117" fmla="*/ 39 h 48"/>
                <a:gd name="T118" fmla="*/ 28 w 36"/>
                <a:gd name="T119" fmla="*/ 38 h 48"/>
                <a:gd name="T120" fmla="*/ 27 w 36"/>
                <a:gd name="T121" fmla="*/ 40 h 48"/>
                <a:gd name="T122" fmla="*/ 23 w 36"/>
                <a:gd name="T123" fmla="*/ 40 h 48"/>
                <a:gd name="T124" fmla="*/ 20 w 36"/>
                <a:gd name="T125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" h="48">
                  <a:moveTo>
                    <a:pt x="18" y="43"/>
                  </a:move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5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5" y="48"/>
                  </a:lnTo>
                  <a:lnTo>
                    <a:pt x="5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4"/>
                  </a:lnTo>
                  <a:lnTo>
                    <a:pt x="7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6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4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7" y="34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0" y="33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6" y="28"/>
                  </a:lnTo>
                  <a:lnTo>
                    <a:pt x="35" y="28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6" y="29"/>
                  </a:lnTo>
                  <a:lnTo>
                    <a:pt x="36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6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7" y="40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3"/>
                  </a:lnTo>
                  <a:lnTo>
                    <a:pt x="18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8" name="Freeform 54"/>
            <p:cNvSpPr>
              <a:spLocks noEditPoints="1"/>
            </p:cNvSpPr>
            <p:nvPr/>
          </p:nvSpPr>
          <p:spPr bwMode="auto">
            <a:xfrm>
              <a:off x="5648214" y="3570199"/>
              <a:ext cx="48297" cy="66136"/>
            </a:xfrm>
            <a:custGeom>
              <a:avLst/>
              <a:gdLst>
                <a:gd name="T0" fmla="*/ 9 w 37"/>
                <a:gd name="T1" fmla="*/ 47 h 48"/>
                <a:gd name="T2" fmla="*/ 10 w 37"/>
                <a:gd name="T3" fmla="*/ 47 h 48"/>
                <a:gd name="T4" fmla="*/ 10 w 37"/>
                <a:gd name="T5" fmla="*/ 46 h 48"/>
                <a:gd name="T6" fmla="*/ 9 w 37"/>
                <a:gd name="T7" fmla="*/ 46 h 48"/>
                <a:gd name="T8" fmla="*/ 6 w 37"/>
                <a:gd name="T9" fmla="*/ 45 h 48"/>
                <a:gd name="T10" fmla="*/ 6 w 37"/>
                <a:gd name="T11" fmla="*/ 45 h 48"/>
                <a:gd name="T12" fmla="*/ 4 w 37"/>
                <a:gd name="T13" fmla="*/ 44 h 48"/>
                <a:gd name="T14" fmla="*/ 1 w 37"/>
                <a:gd name="T15" fmla="*/ 42 h 48"/>
                <a:gd name="T16" fmla="*/ 1 w 37"/>
                <a:gd name="T17" fmla="*/ 41 h 48"/>
                <a:gd name="T18" fmla="*/ 0 w 37"/>
                <a:gd name="T19" fmla="*/ 39 h 48"/>
                <a:gd name="T20" fmla="*/ 32 w 37"/>
                <a:gd name="T21" fmla="*/ 39 h 48"/>
                <a:gd name="T22" fmla="*/ 28 w 37"/>
                <a:gd name="T23" fmla="*/ 37 h 48"/>
                <a:gd name="T24" fmla="*/ 12 w 37"/>
                <a:gd name="T25" fmla="*/ 32 h 48"/>
                <a:gd name="T26" fmla="*/ 12 w 37"/>
                <a:gd name="T27" fmla="*/ 32 h 48"/>
                <a:gd name="T28" fmla="*/ 12 w 37"/>
                <a:gd name="T29" fmla="*/ 32 h 48"/>
                <a:gd name="T30" fmla="*/ 12 w 37"/>
                <a:gd name="T31" fmla="*/ 32 h 48"/>
                <a:gd name="T32" fmla="*/ 8 w 37"/>
                <a:gd name="T33" fmla="*/ 28 h 48"/>
                <a:gd name="T34" fmla="*/ 8 w 37"/>
                <a:gd name="T35" fmla="*/ 27 h 48"/>
                <a:gd name="T36" fmla="*/ 6 w 37"/>
                <a:gd name="T37" fmla="*/ 27 h 48"/>
                <a:gd name="T38" fmla="*/ 7 w 37"/>
                <a:gd name="T39" fmla="*/ 26 h 48"/>
                <a:gd name="T40" fmla="*/ 7 w 37"/>
                <a:gd name="T41" fmla="*/ 27 h 48"/>
                <a:gd name="T42" fmla="*/ 6 w 37"/>
                <a:gd name="T43" fmla="*/ 27 h 48"/>
                <a:gd name="T44" fmla="*/ 12 w 37"/>
                <a:gd name="T45" fmla="*/ 26 h 48"/>
                <a:gd name="T46" fmla="*/ 6 w 37"/>
                <a:gd name="T47" fmla="*/ 25 h 48"/>
                <a:gd name="T48" fmla="*/ 7 w 37"/>
                <a:gd name="T49" fmla="*/ 24 h 48"/>
                <a:gd name="T50" fmla="*/ 7 w 37"/>
                <a:gd name="T51" fmla="*/ 25 h 48"/>
                <a:gd name="T52" fmla="*/ 7 w 37"/>
                <a:gd name="T53" fmla="*/ 25 h 48"/>
                <a:gd name="T54" fmla="*/ 7 w 37"/>
                <a:gd name="T55" fmla="*/ 25 h 48"/>
                <a:gd name="T56" fmla="*/ 7 w 37"/>
                <a:gd name="T57" fmla="*/ 24 h 48"/>
                <a:gd name="T58" fmla="*/ 3 w 37"/>
                <a:gd name="T59" fmla="*/ 23 h 48"/>
                <a:gd name="T60" fmla="*/ 4 w 37"/>
                <a:gd name="T61" fmla="*/ 22 h 48"/>
                <a:gd name="T62" fmla="*/ 3 w 37"/>
                <a:gd name="T63" fmla="*/ 22 h 48"/>
                <a:gd name="T64" fmla="*/ 4 w 37"/>
                <a:gd name="T65" fmla="*/ 21 h 48"/>
                <a:gd name="T66" fmla="*/ 5 w 37"/>
                <a:gd name="T67" fmla="*/ 21 h 48"/>
                <a:gd name="T68" fmla="*/ 4 w 37"/>
                <a:gd name="T69" fmla="*/ 20 h 48"/>
                <a:gd name="T70" fmla="*/ 3 w 37"/>
                <a:gd name="T71" fmla="*/ 21 h 48"/>
                <a:gd name="T72" fmla="*/ 3 w 37"/>
                <a:gd name="T73" fmla="*/ 20 h 48"/>
                <a:gd name="T74" fmla="*/ 5 w 37"/>
                <a:gd name="T75" fmla="*/ 20 h 48"/>
                <a:gd name="T76" fmla="*/ 3 w 37"/>
                <a:gd name="T77" fmla="*/ 20 h 48"/>
                <a:gd name="T78" fmla="*/ 4 w 37"/>
                <a:gd name="T79" fmla="*/ 19 h 48"/>
                <a:gd name="T80" fmla="*/ 5 w 37"/>
                <a:gd name="T81" fmla="*/ 19 h 48"/>
                <a:gd name="T82" fmla="*/ 8 w 37"/>
                <a:gd name="T83" fmla="*/ 18 h 48"/>
                <a:gd name="T84" fmla="*/ 8 w 37"/>
                <a:gd name="T85" fmla="*/ 18 h 48"/>
                <a:gd name="T86" fmla="*/ 5 w 37"/>
                <a:gd name="T87" fmla="*/ 17 h 48"/>
                <a:gd name="T88" fmla="*/ 3 w 37"/>
                <a:gd name="T89" fmla="*/ 15 h 48"/>
                <a:gd name="T90" fmla="*/ 3 w 37"/>
                <a:gd name="T91" fmla="*/ 15 h 48"/>
                <a:gd name="T92" fmla="*/ 3 w 37"/>
                <a:gd name="T93" fmla="*/ 14 h 48"/>
                <a:gd name="T94" fmla="*/ 15 w 37"/>
                <a:gd name="T95" fmla="*/ 11 h 48"/>
                <a:gd name="T96" fmla="*/ 14 w 37"/>
                <a:gd name="T97" fmla="*/ 8 h 48"/>
                <a:gd name="T98" fmla="*/ 17 w 37"/>
                <a:gd name="T99" fmla="*/ 4 h 48"/>
                <a:gd name="T100" fmla="*/ 16 w 37"/>
                <a:gd name="T101" fmla="*/ 4 h 48"/>
                <a:gd name="T102" fmla="*/ 18 w 37"/>
                <a:gd name="T103" fmla="*/ 3 h 48"/>
                <a:gd name="T104" fmla="*/ 18 w 37"/>
                <a:gd name="T105" fmla="*/ 2 h 48"/>
                <a:gd name="T106" fmla="*/ 18 w 37"/>
                <a:gd name="T107" fmla="*/ 2 h 48"/>
                <a:gd name="T108" fmla="*/ 19 w 37"/>
                <a:gd name="T109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" h="48">
                  <a:moveTo>
                    <a:pt x="9" y="47"/>
                  </a:moveTo>
                  <a:lnTo>
                    <a:pt x="8" y="47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9" y="47"/>
                  </a:lnTo>
                  <a:close/>
                  <a:moveTo>
                    <a:pt x="9" y="46"/>
                  </a:moveTo>
                  <a:lnTo>
                    <a:pt x="8" y="46"/>
                  </a:lnTo>
                  <a:lnTo>
                    <a:pt x="9" y="46"/>
                  </a:lnTo>
                  <a:close/>
                  <a:moveTo>
                    <a:pt x="10" y="46"/>
                  </a:move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close/>
                  <a:moveTo>
                    <a:pt x="8" y="46"/>
                  </a:moveTo>
                  <a:lnTo>
                    <a:pt x="8" y="46"/>
                  </a:lnTo>
                  <a:lnTo>
                    <a:pt x="8" y="46"/>
                  </a:lnTo>
                  <a:close/>
                  <a:moveTo>
                    <a:pt x="9" y="46"/>
                  </a:moveTo>
                  <a:lnTo>
                    <a:pt x="9" y="46"/>
                  </a:lnTo>
                  <a:lnTo>
                    <a:pt x="9" y="46"/>
                  </a:lnTo>
                  <a:close/>
                  <a:moveTo>
                    <a:pt x="3" y="45"/>
                  </a:moveTo>
                  <a:lnTo>
                    <a:pt x="3" y="45"/>
                  </a:lnTo>
                  <a:lnTo>
                    <a:pt x="3" y="45"/>
                  </a:lnTo>
                  <a:close/>
                  <a:moveTo>
                    <a:pt x="6" y="45"/>
                  </a:move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close/>
                  <a:moveTo>
                    <a:pt x="9" y="44"/>
                  </a:moveTo>
                  <a:lnTo>
                    <a:pt x="8" y="44"/>
                  </a:lnTo>
                  <a:lnTo>
                    <a:pt x="9" y="44"/>
                  </a:lnTo>
                  <a:close/>
                  <a:moveTo>
                    <a:pt x="4" y="44"/>
                  </a:moveTo>
                  <a:lnTo>
                    <a:pt x="4" y="43"/>
                  </a:lnTo>
                  <a:lnTo>
                    <a:pt x="4" y="44"/>
                  </a:lnTo>
                  <a:close/>
                  <a:moveTo>
                    <a:pt x="2" y="41"/>
                  </a:move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2" y="41"/>
                  </a:lnTo>
                  <a:close/>
                  <a:moveTo>
                    <a:pt x="0" y="40"/>
                  </a:moveTo>
                  <a:lnTo>
                    <a:pt x="0" y="39"/>
                  </a:lnTo>
                  <a:lnTo>
                    <a:pt x="0" y="40"/>
                  </a:lnTo>
                  <a:close/>
                  <a:moveTo>
                    <a:pt x="0" y="39"/>
                  </a:move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close/>
                  <a:moveTo>
                    <a:pt x="32" y="39"/>
                  </a:moveTo>
                  <a:lnTo>
                    <a:pt x="32" y="39"/>
                  </a:lnTo>
                  <a:lnTo>
                    <a:pt x="32" y="39"/>
                  </a:lnTo>
                  <a:close/>
                  <a:moveTo>
                    <a:pt x="28" y="37"/>
                  </a:moveTo>
                  <a:lnTo>
                    <a:pt x="29" y="37"/>
                  </a:lnTo>
                  <a:lnTo>
                    <a:pt x="28" y="37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1"/>
                  </a:lnTo>
                  <a:lnTo>
                    <a:pt x="12" y="32"/>
                  </a:lnTo>
                  <a:close/>
                  <a:moveTo>
                    <a:pt x="8" y="30"/>
                  </a:moveTo>
                  <a:lnTo>
                    <a:pt x="8" y="31"/>
                  </a:lnTo>
                  <a:lnTo>
                    <a:pt x="8" y="30"/>
                  </a:lnTo>
                  <a:close/>
                  <a:moveTo>
                    <a:pt x="8" y="27"/>
                  </a:moveTo>
                  <a:lnTo>
                    <a:pt x="8" y="28"/>
                  </a:lnTo>
                  <a:lnTo>
                    <a:pt x="8" y="27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6" y="27"/>
                  </a:moveTo>
                  <a:lnTo>
                    <a:pt x="6" y="27"/>
                  </a:lnTo>
                  <a:lnTo>
                    <a:pt x="6" y="27"/>
                  </a:lnTo>
                  <a:close/>
                  <a:moveTo>
                    <a:pt x="6" y="27"/>
                  </a:move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7"/>
                  </a:lnTo>
                  <a:close/>
                  <a:moveTo>
                    <a:pt x="12" y="26"/>
                  </a:move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6" y="24"/>
                  </a:moveTo>
                  <a:lnTo>
                    <a:pt x="6" y="25"/>
                  </a:lnTo>
                  <a:lnTo>
                    <a:pt x="6" y="24"/>
                  </a:lnTo>
                  <a:close/>
                  <a:moveTo>
                    <a:pt x="6" y="24"/>
                  </a:moveTo>
                  <a:lnTo>
                    <a:pt x="5" y="24"/>
                  </a:lnTo>
                  <a:lnTo>
                    <a:pt x="6" y="24"/>
                  </a:lnTo>
                  <a:close/>
                  <a:moveTo>
                    <a:pt x="7" y="24"/>
                  </a:moveTo>
                  <a:lnTo>
                    <a:pt x="8" y="24"/>
                  </a:lnTo>
                  <a:lnTo>
                    <a:pt x="8" y="25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8" y="24"/>
                  </a:lnTo>
                  <a:lnTo>
                    <a:pt x="7" y="24"/>
                  </a:lnTo>
                  <a:close/>
                  <a:moveTo>
                    <a:pt x="5" y="24"/>
                  </a:moveTo>
                  <a:lnTo>
                    <a:pt x="6" y="24"/>
                  </a:lnTo>
                  <a:lnTo>
                    <a:pt x="5" y="24"/>
                  </a:lnTo>
                  <a:close/>
                  <a:moveTo>
                    <a:pt x="3" y="23"/>
                  </a:moveTo>
                  <a:lnTo>
                    <a:pt x="3" y="23"/>
                  </a:lnTo>
                  <a:lnTo>
                    <a:pt x="3" y="23"/>
                  </a:lnTo>
                  <a:close/>
                  <a:moveTo>
                    <a:pt x="37" y="22"/>
                  </a:moveTo>
                  <a:lnTo>
                    <a:pt x="37" y="23"/>
                  </a:lnTo>
                  <a:lnTo>
                    <a:pt x="37" y="22"/>
                  </a:lnTo>
                  <a:close/>
                  <a:moveTo>
                    <a:pt x="4" y="22"/>
                  </a:moveTo>
                  <a:lnTo>
                    <a:pt x="3" y="22"/>
                  </a:lnTo>
                  <a:lnTo>
                    <a:pt x="4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4" y="22"/>
                  </a:moveTo>
                  <a:lnTo>
                    <a:pt x="4" y="21"/>
                  </a:lnTo>
                  <a:lnTo>
                    <a:pt x="4" y="22"/>
                  </a:lnTo>
                  <a:close/>
                  <a:moveTo>
                    <a:pt x="2" y="21"/>
                  </a:moveTo>
                  <a:lnTo>
                    <a:pt x="3" y="21"/>
                  </a:lnTo>
                  <a:lnTo>
                    <a:pt x="2" y="21"/>
                  </a:lnTo>
                  <a:close/>
                  <a:moveTo>
                    <a:pt x="5" y="21"/>
                  </a:moveTo>
                  <a:lnTo>
                    <a:pt x="4" y="21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5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6" y="20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6" y="20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19"/>
                  </a:lnTo>
                  <a:lnTo>
                    <a:pt x="4" y="20"/>
                  </a:lnTo>
                  <a:close/>
                  <a:moveTo>
                    <a:pt x="7" y="19"/>
                  </a:move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5" y="18"/>
                  </a:moveTo>
                  <a:lnTo>
                    <a:pt x="5" y="17"/>
                  </a:lnTo>
                  <a:lnTo>
                    <a:pt x="5" y="18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5"/>
                  </a:lnTo>
                  <a:close/>
                  <a:moveTo>
                    <a:pt x="16" y="12"/>
                  </a:moveTo>
                  <a:lnTo>
                    <a:pt x="16" y="13"/>
                  </a:lnTo>
                  <a:lnTo>
                    <a:pt x="16" y="12"/>
                  </a:lnTo>
                  <a:close/>
                  <a:moveTo>
                    <a:pt x="15" y="11"/>
                  </a:moveTo>
                  <a:lnTo>
                    <a:pt x="15" y="11"/>
                  </a:lnTo>
                  <a:lnTo>
                    <a:pt x="15" y="11"/>
                  </a:lnTo>
                  <a:close/>
                  <a:moveTo>
                    <a:pt x="14" y="8"/>
                  </a:moveTo>
                  <a:lnTo>
                    <a:pt x="14" y="8"/>
                  </a:lnTo>
                  <a:lnTo>
                    <a:pt x="14" y="8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8" y="3"/>
                  </a:moveTo>
                  <a:lnTo>
                    <a:pt x="18" y="2"/>
                  </a:lnTo>
                  <a:lnTo>
                    <a:pt x="18" y="3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9" y="2"/>
                  </a:moveTo>
                  <a:lnTo>
                    <a:pt x="19" y="1"/>
                  </a:lnTo>
                  <a:lnTo>
                    <a:pt x="19" y="2"/>
                  </a:lnTo>
                  <a:close/>
                  <a:moveTo>
                    <a:pt x="19" y="1"/>
                  </a:moveTo>
                  <a:lnTo>
                    <a:pt x="19" y="1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9" name="Freeform 55"/>
            <p:cNvSpPr>
              <a:spLocks noEditPoints="1"/>
            </p:cNvSpPr>
            <p:nvPr/>
          </p:nvSpPr>
          <p:spPr bwMode="auto">
            <a:xfrm>
              <a:off x="5652130" y="3568821"/>
              <a:ext cx="30022" cy="66136"/>
            </a:xfrm>
            <a:custGeom>
              <a:avLst/>
              <a:gdLst>
                <a:gd name="T0" fmla="*/ 7 w 23"/>
                <a:gd name="T1" fmla="*/ 48 h 48"/>
                <a:gd name="T2" fmla="*/ 8 w 23"/>
                <a:gd name="T3" fmla="*/ 48 h 48"/>
                <a:gd name="T4" fmla="*/ 9 w 23"/>
                <a:gd name="T5" fmla="*/ 47 h 48"/>
                <a:gd name="T6" fmla="*/ 6 w 23"/>
                <a:gd name="T7" fmla="*/ 47 h 48"/>
                <a:gd name="T8" fmla="*/ 0 w 23"/>
                <a:gd name="T9" fmla="*/ 44 h 48"/>
                <a:gd name="T10" fmla="*/ 1 w 23"/>
                <a:gd name="T11" fmla="*/ 37 h 48"/>
                <a:gd name="T12" fmla="*/ 9 w 23"/>
                <a:gd name="T13" fmla="*/ 33 h 48"/>
                <a:gd name="T14" fmla="*/ 9 w 23"/>
                <a:gd name="T15" fmla="*/ 33 h 48"/>
                <a:gd name="T16" fmla="*/ 9 w 23"/>
                <a:gd name="T17" fmla="*/ 33 h 48"/>
                <a:gd name="T18" fmla="*/ 9 w 23"/>
                <a:gd name="T19" fmla="*/ 33 h 48"/>
                <a:gd name="T20" fmla="*/ 9 w 23"/>
                <a:gd name="T21" fmla="*/ 32 h 48"/>
                <a:gd name="T22" fmla="*/ 3 w 23"/>
                <a:gd name="T23" fmla="*/ 27 h 48"/>
                <a:gd name="T24" fmla="*/ 3 w 23"/>
                <a:gd name="T25" fmla="*/ 26 h 48"/>
                <a:gd name="T26" fmla="*/ 5 w 23"/>
                <a:gd name="T27" fmla="*/ 26 h 48"/>
                <a:gd name="T28" fmla="*/ 3 w 23"/>
                <a:gd name="T29" fmla="*/ 26 h 48"/>
                <a:gd name="T30" fmla="*/ 4 w 23"/>
                <a:gd name="T31" fmla="*/ 26 h 48"/>
                <a:gd name="T32" fmla="*/ 2 w 23"/>
                <a:gd name="T33" fmla="*/ 25 h 48"/>
                <a:gd name="T34" fmla="*/ 3 w 23"/>
                <a:gd name="T35" fmla="*/ 24 h 48"/>
                <a:gd name="T36" fmla="*/ 0 w 23"/>
                <a:gd name="T37" fmla="*/ 24 h 48"/>
                <a:gd name="T38" fmla="*/ 0 w 23"/>
                <a:gd name="T39" fmla="*/ 24 h 48"/>
                <a:gd name="T40" fmla="*/ 1 w 23"/>
                <a:gd name="T41" fmla="*/ 24 h 48"/>
                <a:gd name="T42" fmla="*/ 1 w 23"/>
                <a:gd name="T43" fmla="*/ 22 h 48"/>
                <a:gd name="T44" fmla="*/ 2 w 23"/>
                <a:gd name="T45" fmla="*/ 22 h 48"/>
                <a:gd name="T46" fmla="*/ 3 w 23"/>
                <a:gd name="T47" fmla="*/ 21 h 48"/>
                <a:gd name="T48" fmla="*/ 4 w 23"/>
                <a:gd name="T49" fmla="*/ 20 h 48"/>
                <a:gd name="T50" fmla="*/ 4 w 23"/>
                <a:gd name="T51" fmla="*/ 20 h 48"/>
                <a:gd name="T52" fmla="*/ 4 w 23"/>
                <a:gd name="T53" fmla="*/ 20 h 48"/>
                <a:gd name="T54" fmla="*/ 4 w 23"/>
                <a:gd name="T55" fmla="*/ 19 h 48"/>
                <a:gd name="T56" fmla="*/ 5 w 23"/>
                <a:gd name="T57" fmla="*/ 18 h 48"/>
                <a:gd name="T58" fmla="*/ 4 w 23"/>
                <a:gd name="T59" fmla="*/ 18 h 48"/>
                <a:gd name="T60" fmla="*/ 4 w 23"/>
                <a:gd name="T61" fmla="*/ 18 h 48"/>
                <a:gd name="T62" fmla="*/ 0 w 23"/>
                <a:gd name="T63" fmla="*/ 18 h 48"/>
                <a:gd name="T64" fmla="*/ 4 w 23"/>
                <a:gd name="T65" fmla="*/ 18 h 48"/>
                <a:gd name="T66" fmla="*/ 4 w 23"/>
                <a:gd name="T67" fmla="*/ 18 h 48"/>
                <a:gd name="T68" fmla="*/ 4 w 23"/>
                <a:gd name="T69" fmla="*/ 18 h 48"/>
                <a:gd name="T70" fmla="*/ 4 w 23"/>
                <a:gd name="T71" fmla="*/ 18 h 48"/>
                <a:gd name="T72" fmla="*/ 4 w 23"/>
                <a:gd name="T73" fmla="*/ 18 h 48"/>
                <a:gd name="T74" fmla="*/ 1 w 23"/>
                <a:gd name="T75" fmla="*/ 18 h 48"/>
                <a:gd name="T76" fmla="*/ 3 w 23"/>
                <a:gd name="T77" fmla="*/ 17 h 48"/>
                <a:gd name="T78" fmla="*/ 0 w 23"/>
                <a:gd name="T79" fmla="*/ 16 h 48"/>
                <a:gd name="T80" fmla="*/ 8 w 23"/>
                <a:gd name="T81" fmla="*/ 14 h 48"/>
                <a:gd name="T82" fmla="*/ 0 w 23"/>
                <a:gd name="T83" fmla="*/ 14 h 48"/>
                <a:gd name="T84" fmla="*/ 4 w 23"/>
                <a:gd name="T85" fmla="*/ 13 h 48"/>
                <a:gd name="T86" fmla="*/ 13 w 23"/>
                <a:gd name="T87" fmla="*/ 13 h 48"/>
                <a:gd name="T88" fmla="*/ 16 w 23"/>
                <a:gd name="T89" fmla="*/ 9 h 48"/>
                <a:gd name="T90" fmla="*/ 13 w 23"/>
                <a:gd name="T91" fmla="*/ 7 h 48"/>
                <a:gd name="T92" fmla="*/ 14 w 23"/>
                <a:gd name="T93" fmla="*/ 6 h 48"/>
                <a:gd name="T94" fmla="*/ 14 w 23"/>
                <a:gd name="T95" fmla="*/ 6 h 48"/>
                <a:gd name="T96" fmla="*/ 15 w 23"/>
                <a:gd name="T97" fmla="*/ 6 h 48"/>
                <a:gd name="T98" fmla="*/ 14 w 23"/>
                <a:gd name="T99" fmla="*/ 4 h 48"/>
                <a:gd name="T100" fmla="*/ 23 w 23"/>
                <a:gd name="T101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" h="48">
                  <a:moveTo>
                    <a:pt x="7" y="48"/>
                  </a:moveTo>
                  <a:lnTo>
                    <a:pt x="7" y="48"/>
                  </a:lnTo>
                  <a:lnTo>
                    <a:pt x="7" y="48"/>
                  </a:lnTo>
                  <a:close/>
                  <a:moveTo>
                    <a:pt x="8" y="48"/>
                  </a:moveTo>
                  <a:lnTo>
                    <a:pt x="8" y="47"/>
                  </a:lnTo>
                  <a:lnTo>
                    <a:pt x="8" y="48"/>
                  </a:lnTo>
                  <a:close/>
                  <a:moveTo>
                    <a:pt x="9" y="47"/>
                  </a:moveTo>
                  <a:lnTo>
                    <a:pt x="8" y="47"/>
                  </a:lnTo>
                  <a:lnTo>
                    <a:pt x="9" y="47"/>
                  </a:lnTo>
                  <a:lnTo>
                    <a:pt x="9" y="47"/>
                  </a:lnTo>
                  <a:close/>
                  <a:moveTo>
                    <a:pt x="7" y="47"/>
                  </a:moveTo>
                  <a:lnTo>
                    <a:pt x="6" y="47"/>
                  </a:lnTo>
                  <a:lnTo>
                    <a:pt x="7" y="47"/>
                  </a:lnTo>
                  <a:close/>
                  <a:moveTo>
                    <a:pt x="0" y="43"/>
                  </a:moveTo>
                  <a:lnTo>
                    <a:pt x="0" y="44"/>
                  </a:lnTo>
                  <a:lnTo>
                    <a:pt x="0" y="43"/>
                  </a:lnTo>
                  <a:close/>
                  <a:moveTo>
                    <a:pt x="1" y="38"/>
                  </a:moveTo>
                  <a:lnTo>
                    <a:pt x="1" y="37"/>
                  </a:lnTo>
                  <a:lnTo>
                    <a:pt x="1" y="38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2"/>
                  </a:moveTo>
                  <a:lnTo>
                    <a:pt x="9" y="32"/>
                  </a:lnTo>
                  <a:lnTo>
                    <a:pt x="10" y="32"/>
                  </a:lnTo>
                  <a:close/>
                  <a:moveTo>
                    <a:pt x="3" y="28"/>
                  </a:moveTo>
                  <a:lnTo>
                    <a:pt x="3" y="27"/>
                  </a:lnTo>
                  <a:lnTo>
                    <a:pt x="3" y="28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5" y="26"/>
                  </a:move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2" y="25"/>
                  </a:lnTo>
                  <a:lnTo>
                    <a:pt x="2" y="25"/>
                  </a:lnTo>
                  <a:close/>
                  <a:moveTo>
                    <a:pt x="3" y="25"/>
                  </a:moveTo>
                  <a:lnTo>
                    <a:pt x="3" y="24"/>
                  </a:lnTo>
                  <a:lnTo>
                    <a:pt x="3" y="25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1" y="24"/>
                  </a:lnTo>
                  <a:lnTo>
                    <a:pt x="1" y="24"/>
                  </a:lnTo>
                  <a:close/>
                  <a:moveTo>
                    <a:pt x="1" y="22"/>
                  </a:moveTo>
                  <a:lnTo>
                    <a:pt x="1" y="22"/>
                  </a:lnTo>
                  <a:lnTo>
                    <a:pt x="1" y="22"/>
                  </a:lnTo>
                  <a:close/>
                  <a:moveTo>
                    <a:pt x="3" y="22"/>
                  </a:moveTo>
                  <a:lnTo>
                    <a:pt x="2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1"/>
                  </a:lnTo>
                  <a:lnTo>
                    <a:pt x="3" y="22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1" y="17"/>
                  </a:moveTo>
                  <a:lnTo>
                    <a:pt x="1" y="18"/>
                  </a:lnTo>
                  <a:lnTo>
                    <a:pt x="1" y="17"/>
                  </a:lnTo>
                  <a:close/>
                  <a:moveTo>
                    <a:pt x="3" y="17"/>
                  </a:moveTo>
                  <a:lnTo>
                    <a:pt x="3" y="17"/>
                  </a:lnTo>
                  <a:lnTo>
                    <a:pt x="3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8" y="15"/>
                  </a:moveTo>
                  <a:lnTo>
                    <a:pt x="8" y="14"/>
                  </a:lnTo>
                  <a:lnTo>
                    <a:pt x="8" y="15"/>
                  </a:lnTo>
                  <a:close/>
                  <a:moveTo>
                    <a:pt x="1" y="14"/>
                  </a:moveTo>
                  <a:lnTo>
                    <a:pt x="0" y="14"/>
                  </a:lnTo>
                  <a:lnTo>
                    <a:pt x="1" y="14"/>
                  </a:lnTo>
                  <a:close/>
                  <a:moveTo>
                    <a:pt x="4" y="13"/>
                  </a:moveTo>
                  <a:lnTo>
                    <a:pt x="4" y="13"/>
                  </a:lnTo>
                  <a:lnTo>
                    <a:pt x="4" y="13"/>
                  </a:lnTo>
                  <a:close/>
                  <a:moveTo>
                    <a:pt x="12" y="13"/>
                  </a:moveTo>
                  <a:lnTo>
                    <a:pt x="13" y="13"/>
                  </a:lnTo>
                  <a:lnTo>
                    <a:pt x="12" y="13"/>
                  </a:lnTo>
                  <a:close/>
                  <a:moveTo>
                    <a:pt x="16" y="10"/>
                  </a:moveTo>
                  <a:lnTo>
                    <a:pt x="16" y="9"/>
                  </a:lnTo>
                  <a:lnTo>
                    <a:pt x="16" y="10"/>
                  </a:lnTo>
                  <a:close/>
                  <a:moveTo>
                    <a:pt x="14" y="7"/>
                  </a:moveTo>
                  <a:lnTo>
                    <a:pt x="13" y="7"/>
                  </a:lnTo>
                  <a:lnTo>
                    <a:pt x="14" y="7"/>
                  </a:lnTo>
                  <a:close/>
                  <a:moveTo>
                    <a:pt x="15" y="6"/>
                  </a:moveTo>
                  <a:lnTo>
                    <a:pt x="14" y="6"/>
                  </a:lnTo>
                  <a:lnTo>
                    <a:pt x="15" y="6"/>
                  </a:lnTo>
                  <a:close/>
                  <a:moveTo>
                    <a:pt x="14" y="6"/>
                  </a:moveTo>
                  <a:lnTo>
                    <a:pt x="14" y="6"/>
                  </a:lnTo>
                  <a:lnTo>
                    <a:pt x="14" y="6"/>
                  </a:lnTo>
                  <a:close/>
                  <a:moveTo>
                    <a:pt x="15" y="5"/>
                  </a:moveTo>
                  <a:lnTo>
                    <a:pt x="15" y="6"/>
                  </a:lnTo>
                  <a:lnTo>
                    <a:pt x="15" y="5"/>
                  </a:lnTo>
                  <a:close/>
                  <a:moveTo>
                    <a:pt x="15" y="4"/>
                  </a:moveTo>
                  <a:lnTo>
                    <a:pt x="14" y="4"/>
                  </a:lnTo>
                  <a:lnTo>
                    <a:pt x="15" y="4"/>
                  </a:lnTo>
                  <a:close/>
                  <a:moveTo>
                    <a:pt x="23" y="0"/>
                  </a:moveTo>
                  <a:lnTo>
                    <a:pt x="23" y="1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0" name="Freeform 56"/>
            <p:cNvSpPr>
              <a:spLocks/>
            </p:cNvSpPr>
            <p:nvPr/>
          </p:nvSpPr>
          <p:spPr bwMode="auto">
            <a:xfrm>
              <a:off x="5709564" y="3585355"/>
              <a:ext cx="5221" cy="5511"/>
            </a:xfrm>
            <a:custGeom>
              <a:avLst/>
              <a:gdLst>
                <a:gd name="T0" fmla="*/ 3 w 4"/>
                <a:gd name="T1" fmla="*/ 1 h 4"/>
                <a:gd name="T2" fmla="*/ 4 w 4"/>
                <a:gd name="T3" fmla="*/ 1 h 4"/>
                <a:gd name="T4" fmla="*/ 3 w 4"/>
                <a:gd name="T5" fmla="*/ 2 h 4"/>
                <a:gd name="T6" fmla="*/ 3 w 4"/>
                <a:gd name="T7" fmla="*/ 2 h 4"/>
                <a:gd name="T8" fmla="*/ 3 w 4"/>
                <a:gd name="T9" fmla="*/ 2 h 4"/>
                <a:gd name="T10" fmla="*/ 3 w 4"/>
                <a:gd name="T11" fmla="*/ 2 h 4"/>
                <a:gd name="T12" fmla="*/ 3 w 4"/>
                <a:gd name="T13" fmla="*/ 2 h 4"/>
                <a:gd name="T14" fmla="*/ 2 w 4"/>
                <a:gd name="T15" fmla="*/ 2 h 4"/>
                <a:gd name="T16" fmla="*/ 2 w 4"/>
                <a:gd name="T17" fmla="*/ 2 h 4"/>
                <a:gd name="T18" fmla="*/ 2 w 4"/>
                <a:gd name="T19" fmla="*/ 3 h 4"/>
                <a:gd name="T20" fmla="*/ 2 w 4"/>
                <a:gd name="T21" fmla="*/ 3 h 4"/>
                <a:gd name="T22" fmla="*/ 2 w 4"/>
                <a:gd name="T23" fmla="*/ 3 h 4"/>
                <a:gd name="T24" fmla="*/ 2 w 4"/>
                <a:gd name="T25" fmla="*/ 3 h 4"/>
                <a:gd name="T26" fmla="*/ 2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1 w 4"/>
                <a:gd name="T33" fmla="*/ 4 h 4"/>
                <a:gd name="T34" fmla="*/ 1 w 4"/>
                <a:gd name="T35" fmla="*/ 4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0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0 w 4"/>
                <a:gd name="T63" fmla="*/ 4 h 4"/>
                <a:gd name="T64" fmla="*/ 0 w 4"/>
                <a:gd name="T65" fmla="*/ 4 h 4"/>
                <a:gd name="T66" fmla="*/ 0 w 4"/>
                <a:gd name="T67" fmla="*/ 4 h 4"/>
                <a:gd name="T68" fmla="*/ 0 w 4"/>
                <a:gd name="T69" fmla="*/ 4 h 4"/>
                <a:gd name="T70" fmla="*/ 0 w 4"/>
                <a:gd name="T71" fmla="*/ 4 h 4"/>
                <a:gd name="T72" fmla="*/ 0 w 4"/>
                <a:gd name="T73" fmla="*/ 4 h 4"/>
                <a:gd name="T74" fmla="*/ 0 w 4"/>
                <a:gd name="T75" fmla="*/ 4 h 4"/>
                <a:gd name="T76" fmla="*/ 0 w 4"/>
                <a:gd name="T77" fmla="*/ 4 h 4"/>
                <a:gd name="T78" fmla="*/ 0 w 4"/>
                <a:gd name="T79" fmla="*/ 4 h 4"/>
                <a:gd name="T80" fmla="*/ 0 w 4"/>
                <a:gd name="T81" fmla="*/ 4 h 4"/>
                <a:gd name="T82" fmla="*/ 0 w 4"/>
                <a:gd name="T83" fmla="*/ 4 h 4"/>
                <a:gd name="T84" fmla="*/ 0 w 4"/>
                <a:gd name="T85" fmla="*/ 4 h 4"/>
                <a:gd name="T86" fmla="*/ 0 w 4"/>
                <a:gd name="T87" fmla="*/ 4 h 4"/>
                <a:gd name="T88" fmla="*/ 0 w 4"/>
                <a:gd name="T89" fmla="*/ 3 h 4"/>
                <a:gd name="T90" fmla="*/ 0 w 4"/>
                <a:gd name="T91" fmla="*/ 3 h 4"/>
                <a:gd name="T92" fmla="*/ 0 w 4"/>
                <a:gd name="T93" fmla="*/ 2 h 4"/>
                <a:gd name="T94" fmla="*/ 0 w 4"/>
                <a:gd name="T95" fmla="*/ 2 h 4"/>
                <a:gd name="T96" fmla="*/ 0 w 4"/>
                <a:gd name="T97" fmla="*/ 2 h 4"/>
                <a:gd name="T98" fmla="*/ 1 w 4"/>
                <a:gd name="T99" fmla="*/ 2 h 4"/>
                <a:gd name="T100" fmla="*/ 1 w 4"/>
                <a:gd name="T101" fmla="*/ 1 h 4"/>
                <a:gd name="T102" fmla="*/ 1 w 4"/>
                <a:gd name="T103" fmla="*/ 1 h 4"/>
                <a:gd name="T104" fmla="*/ 2 w 4"/>
                <a:gd name="T105" fmla="*/ 1 h 4"/>
                <a:gd name="T106" fmla="*/ 2 w 4"/>
                <a:gd name="T107" fmla="*/ 0 h 4"/>
                <a:gd name="T108" fmla="*/ 3 w 4"/>
                <a:gd name="T109" fmla="*/ 0 h 4"/>
                <a:gd name="T110" fmla="*/ 3 w 4"/>
                <a:gd name="T111" fmla="*/ 1 h 4"/>
                <a:gd name="T112" fmla="*/ 3 w 4"/>
                <a:gd name="T1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1" name="Freeform 57"/>
            <p:cNvSpPr>
              <a:spLocks/>
            </p:cNvSpPr>
            <p:nvPr/>
          </p:nvSpPr>
          <p:spPr bwMode="auto">
            <a:xfrm>
              <a:off x="5708259" y="3590866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1 w 1"/>
                <a:gd name="T17" fmla="*/ 0 h 1"/>
                <a:gd name="T18" fmla="*/ 1 w 1"/>
                <a:gd name="T19" fmla="*/ 0 h 1"/>
                <a:gd name="T20" fmla="*/ 1 w 1"/>
                <a:gd name="T21" fmla="*/ 0 h 1"/>
                <a:gd name="T22" fmla="*/ 1 w 1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2" name="Freeform 58"/>
            <p:cNvSpPr>
              <a:spLocks noEditPoints="1"/>
            </p:cNvSpPr>
            <p:nvPr/>
          </p:nvSpPr>
          <p:spPr bwMode="auto">
            <a:xfrm>
              <a:off x="5828349" y="3705226"/>
              <a:ext cx="125312" cy="161207"/>
            </a:xfrm>
            <a:custGeom>
              <a:avLst/>
              <a:gdLst>
                <a:gd name="T0" fmla="*/ 68 w 96"/>
                <a:gd name="T1" fmla="*/ 108 h 117"/>
                <a:gd name="T2" fmla="*/ 70 w 96"/>
                <a:gd name="T3" fmla="*/ 112 h 117"/>
                <a:gd name="T4" fmla="*/ 63 w 96"/>
                <a:gd name="T5" fmla="*/ 115 h 117"/>
                <a:gd name="T6" fmla="*/ 55 w 96"/>
                <a:gd name="T7" fmla="*/ 109 h 117"/>
                <a:gd name="T8" fmla="*/ 47 w 96"/>
                <a:gd name="T9" fmla="*/ 102 h 117"/>
                <a:gd name="T10" fmla="*/ 52 w 96"/>
                <a:gd name="T11" fmla="*/ 100 h 117"/>
                <a:gd name="T12" fmla="*/ 59 w 96"/>
                <a:gd name="T13" fmla="*/ 102 h 117"/>
                <a:gd name="T14" fmla="*/ 70 w 96"/>
                <a:gd name="T15" fmla="*/ 99 h 117"/>
                <a:gd name="T16" fmla="*/ 24 w 96"/>
                <a:gd name="T17" fmla="*/ 69 h 117"/>
                <a:gd name="T18" fmla="*/ 25 w 96"/>
                <a:gd name="T19" fmla="*/ 72 h 117"/>
                <a:gd name="T20" fmla="*/ 25 w 96"/>
                <a:gd name="T21" fmla="*/ 82 h 117"/>
                <a:gd name="T22" fmla="*/ 21 w 96"/>
                <a:gd name="T23" fmla="*/ 88 h 117"/>
                <a:gd name="T24" fmla="*/ 18 w 96"/>
                <a:gd name="T25" fmla="*/ 92 h 117"/>
                <a:gd name="T26" fmla="*/ 14 w 96"/>
                <a:gd name="T27" fmla="*/ 87 h 117"/>
                <a:gd name="T28" fmla="*/ 15 w 96"/>
                <a:gd name="T29" fmla="*/ 81 h 117"/>
                <a:gd name="T30" fmla="*/ 13 w 96"/>
                <a:gd name="T31" fmla="*/ 73 h 117"/>
                <a:gd name="T32" fmla="*/ 14 w 96"/>
                <a:gd name="T33" fmla="*/ 70 h 117"/>
                <a:gd name="T34" fmla="*/ 45 w 96"/>
                <a:gd name="T35" fmla="*/ 21 h 117"/>
                <a:gd name="T36" fmla="*/ 51 w 96"/>
                <a:gd name="T37" fmla="*/ 17 h 117"/>
                <a:gd name="T38" fmla="*/ 47 w 96"/>
                <a:gd name="T39" fmla="*/ 18 h 117"/>
                <a:gd name="T40" fmla="*/ 46 w 96"/>
                <a:gd name="T41" fmla="*/ 19 h 117"/>
                <a:gd name="T42" fmla="*/ 45 w 96"/>
                <a:gd name="T43" fmla="*/ 22 h 117"/>
                <a:gd name="T44" fmla="*/ 47 w 96"/>
                <a:gd name="T45" fmla="*/ 24 h 117"/>
                <a:gd name="T46" fmla="*/ 46 w 96"/>
                <a:gd name="T47" fmla="*/ 26 h 117"/>
                <a:gd name="T48" fmla="*/ 47 w 96"/>
                <a:gd name="T49" fmla="*/ 34 h 117"/>
                <a:gd name="T50" fmla="*/ 58 w 96"/>
                <a:gd name="T51" fmla="*/ 44 h 117"/>
                <a:gd name="T52" fmla="*/ 65 w 96"/>
                <a:gd name="T53" fmla="*/ 57 h 117"/>
                <a:gd name="T54" fmla="*/ 77 w 96"/>
                <a:gd name="T55" fmla="*/ 59 h 117"/>
                <a:gd name="T56" fmla="*/ 78 w 96"/>
                <a:gd name="T57" fmla="*/ 65 h 117"/>
                <a:gd name="T58" fmla="*/ 87 w 96"/>
                <a:gd name="T59" fmla="*/ 70 h 117"/>
                <a:gd name="T60" fmla="*/ 95 w 96"/>
                <a:gd name="T61" fmla="*/ 76 h 117"/>
                <a:gd name="T62" fmla="*/ 92 w 96"/>
                <a:gd name="T63" fmla="*/ 79 h 117"/>
                <a:gd name="T64" fmla="*/ 84 w 96"/>
                <a:gd name="T65" fmla="*/ 74 h 117"/>
                <a:gd name="T66" fmla="*/ 82 w 96"/>
                <a:gd name="T67" fmla="*/ 84 h 117"/>
                <a:gd name="T68" fmla="*/ 82 w 96"/>
                <a:gd name="T69" fmla="*/ 92 h 117"/>
                <a:gd name="T70" fmla="*/ 75 w 96"/>
                <a:gd name="T71" fmla="*/ 103 h 117"/>
                <a:gd name="T72" fmla="*/ 75 w 96"/>
                <a:gd name="T73" fmla="*/ 96 h 117"/>
                <a:gd name="T74" fmla="*/ 75 w 96"/>
                <a:gd name="T75" fmla="*/ 87 h 117"/>
                <a:gd name="T76" fmla="*/ 70 w 96"/>
                <a:gd name="T77" fmla="*/ 80 h 117"/>
                <a:gd name="T78" fmla="*/ 62 w 96"/>
                <a:gd name="T79" fmla="*/ 73 h 117"/>
                <a:gd name="T80" fmla="*/ 59 w 96"/>
                <a:gd name="T81" fmla="*/ 69 h 117"/>
                <a:gd name="T82" fmla="*/ 50 w 96"/>
                <a:gd name="T83" fmla="*/ 65 h 117"/>
                <a:gd name="T84" fmla="*/ 42 w 96"/>
                <a:gd name="T85" fmla="*/ 58 h 117"/>
                <a:gd name="T86" fmla="*/ 36 w 96"/>
                <a:gd name="T87" fmla="*/ 51 h 117"/>
                <a:gd name="T88" fmla="*/ 30 w 96"/>
                <a:gd name="T89" fmla="*/ 42 h 117"/>
                <a:gd name="T90" fmla="*/ 26 w 96"/>
                <a:gd name="T91" fmla="*/ 35 h 117"/>
                <a:gd name="T92" fmla="*/ 21 w 96"/>
                <a:gd name="T93" fmla="*/ 31 h 117"/>
                <a:gd name="T94" fmla="*/ 15 w 96"/>
                <a:gd name="T95" fmla="*/ 32 h 117"/>
                <a:gd name="T96" fmla="*/ 7 w 96"/>
                <a:gd name="T97" fmla="*/ 38 h 117"/>
                <a:gd name="T98" fmla="*/ 3 w 96"/>
                <a:gd name="T99" fmla="*/ 32 h 117"/>
                <a:gd name="T100" fmla="*/ 0 w 96"/>
                <a:gd name="T101" fmla="*/ 22 h 117"/>
                <a:gd name="T102" fmla="*/ 2 w 96"/>
                <a:gd name="T103" fmla="*/ 16 h 117"/>
                <a:gd name="T104" fmla="*/ 10 w 96"/>
                <a:gd name="T105" fmla="*/ 14 h 117"/>
                <a:gd name="T106" fmla="*/ 16 w 96"/>
                <a:gd name="T107" fmla="*/ 11 h 117"/>
                <a:gd name="T108" fmla="*/ 21 w 96"/>
                <a:gd name="T109" fmla="*/ 10 h 117"/>
                <a:gd name="T110" fmla="*/ 27 w 96"/>
                <a:gd name="T111" fmla="*/ 9 h 117"/>
                <a:gd name="T112" fmla="*/ 30 w 96"/>
                <a:gd name="T113" fmla="*/ 5 h 117"/>
                <a:gd name="T114" fmla="*/ 39 w 96"/>
                <a:gd name="T115" fmla="*/ 1 h 117"/>
                <a:gd name="T116" fmla="*/ 45 w 96"/>
                <a:gd name="T117" fmla="*/ 3 h 117"/>
                <a:gd name="T118" fmla="*/ 56 w 96"/>
                <a:gd name="T119" fmla="*/ 7 h 117"/>
                <a:gd name="T120" fmla="*/ 56 w 96"/>
                <a:gd name="T121" fmla="*/ 15 h 117"/>
                <a:gd name="T122" fmla="*/ 56 w 96"/>
                <a:gd name="T123" fmla="*/ 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17">
                  <a:moveTo>
                    <a:pt x="72" y="99"/>
                  </a:moveTo>
                  <a:lnTo>
                    <a:pt x="73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100"/>
                  </a:lnTo>
                  <a:lnTo>
                    <a:pt x="71" y="100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0" y="102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69" y="104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7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8"/>
                  </a:lnTo>
                  <a:lnTo>
                    <a:pt x="68" y="109"/>
                  </a:lnTo>
                  <a:lnTo>
                    <a:pt x="68" y="109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70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8" y="114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9" y="116"/>
                  </a:lnTo>
                  <a:lnTo>
                    <a:pt x="69" y="116"/>
                  </a:lnTo>
                  <a:lnTo>
                    <a:pt x="68" y="116"/>
                  </a:lnTo>
                  <a:lnTo>
                    <a:pt x="68" y="117"/>
                  </a:lnTo>
                  <a:lnTo>
                    <a:pt x="68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5" y="115"/>
                  </a:lnTo>
                  <a:lnTo>
                    <a:pt x="64" y="115"/>
                  </a:lnTo>
                  <a:lnTo>
                    <a:pt x="63" y="115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3"/>
                  </a:lnTo>
                  <a:lnTo>
                    <a:pt x="62" y="113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9" y="112"/>
                  </a:lnTo>
                  <a:lnTo>
                    <a:pt x="59" y="112"/>
                  </a:lnTo>
                  <a:lnTo>
                    <a:pt x="58" y="112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7" y="111"/>
                  </a:lnTo>
                  <a:lnTo>
                    <a:pt x="57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8"/>
                  </a:lnTo>
                  <a:lnTo>
                    <a:pt x="53" y="108"/>
                  </a:lnTo>
                  <a:lnTo>
                    <a:pt x="53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0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7" y="106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3" y="100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3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101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4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0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8" y="100"/>
                  </a:lnTo>
                  <a:lnTo>
                    <a:pt x="68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2" y="99"/>
                  </a:lnTo>
                  <a:close/>
                  <a:moveTo>
                    <a:pt x="21" y="66"/>
                  </a:moveTo>
                  <a:lnTo>
                    <a:pt x="21" y="67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4" y="68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5"/>
                  </a:lnTo>
                  <a:lnTo>
                    <a:pt x="25" y="7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2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2" y="90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5" y="88"/>
                  </a:lnTo>
                  <a:lnTo>
                    <a:pt x="15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2"/>
                  </a:lnTo>
                  <a:lnTo>
                    <a:pt x="15" y="81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8" y="70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9" y="69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20" y="68"/>
                  </a:lnTo>
                  <a:lnTo>
                    <a:pt x="20" y="67"/>
                  </a:lnTo>
                  <a:lnTo>
                    <a:pt x="21" y="67"/>
                  </a:lnTo>
                  <a:lnTo>
                    <a:pt x="21" y="66"/>
                  </a:lnTo>
                  <a:lnTo>
                    <a:pt x="20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close/>
                  <a:moveTo>
                    <a:pt x="45" y="21"/>
                  </a:moveTo>
                  <a:lnTo>
                    <a:pt x="45" y="20"/>
                  </a:lnTo>
                  <a:lnTo>
                    <a:pt x="45" y="21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9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6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20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0" y="36"/>
                  </a:lnTo>
                  <a:lnTo>
                    <a:pt x="51" y="36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3" y="38"/>
                  </a:lnTo>
                  <a:lnTo>
                    <a:pt x="53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5" y="39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1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7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5" y="55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8" y="58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2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5" y="59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8"/>
                  </a:lnTo>
                  <a:lnTo>
                    <a:pt x="76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5" y="61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4" y="62"/>
                  </a:lnTo>
                  <a:lnTo>
                    <a:pt x="74" y="63"/>
                  </a:lnTo>
                  <a:lnTo>
                    <a:pt x="75" y="63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6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2" y="67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6" y="69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7" y="70"/>
                  </a:lnTo>
                  <a:lnTo>
                    <a:pt x="87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90" y="72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3" y="74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5" y="76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8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1"/>
                  </a:lnTo>
                  <a:lnTo>
                    <a:pt x="95" y="81"/>
                  </a:lnTo>
                  <a:lnTo>
                    <a:pt x="95" y="82"/>
                  </a:lnTo>
                  <a:lnTo>
                    <a:pt x="94" y="82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3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1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0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7" y="77"/>
                  </a:lnTo>
                  <a:lnTo>
                    <a:pt x="87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5" y="76"/>
                  </a:lnTo>
                  <a:lnTo>
                    <a:pt x="85" y="75"/>
                  </a:lnTo>
                  <a:lnTo>
                    <a:pt x="85" y="74"/>
                  </a:lnTo>
                  <a:lnTo>
                    <a:pt x="86" y="74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3" y="75"/>
                  </a:lnTo>
                  <a:lnTo>
                    <a:pt x="82" y="75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7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9"/>
                  </a:lnTo>
                  <a:lnTo>
                    <a:pt x="80" y="79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1" y="80"/>
                  </a:lnTo>
                  <a:lnTo>
                    <a:pt x="80" y="80"/>
                  </a:lnTo>
                  <a:lnTo>
                    <a:pt x="80" y="81"/>
                  </a:lnTo>
                  <a:lnTo>
                    <a:pt x="80" y="81"/>
                  </a:lnTo>
                  <a:lnTo>
                    <a:pt x="80" y="82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3" y="85"/>
                  </a:lnTo>
                  <a:lnTo>
                    <a:pt x="84" y="85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4" y="87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5" y="88"/>
                  </a:lnTo>
                  <a:lnTo>
                    <a:pt x="85" y="89"/>
                  </a:lnTo>
                  <a:lnTo>
                    <a:pt x="84" y="89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90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3"/>
                  </a:lnTo>
                  <a:lnTo>
                    <a:pt x="80" y="93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7"/>
                  </a:lnTo>
                  <a:lnTo>
                    <a:pt x="80" y="98"/>
                  </a:lnTo>
                  <a:lnTo>
                    <a:pt x="79" y="98"/>
                  </a:lnTo>
                  <a:lnTo>
                    <a:pt x="78" y="98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7" y="99"/>
                  </a:lnTo>
                  <a:lnTo>
                    <a:pt x="77" y="100"/>
                  </a:lnTo>
                  <a:lnTo>
                    <a:pt x="77" y="100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2"/>
                  </a:lnTo>
                  <a:lnTo>
                    <a:pt x="76" y="102"/>
                  </a:lnTo>
                  <a:lnTo>
                    <a:pt x="76" y="103"/>
                  </a:lnTo>
                  <a:lnTo>
                    <a:pt x="75" y="103"/>
                  </a:lnTo>
                  <a:lnTo>
                    <a:pt x="75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3" y="103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3" y="100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4" y="99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5" y="96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6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3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6" y="91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5" y="88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2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3" y="81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79"/>
                  </a:lnTo>
                  <a:lnTo>
                    <a:pt x="72" y="79"/>
                  </a:lnTo>
                  <a:lnTo>
                    <a:pt x="71" y="79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5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5" y="73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2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2"/>
                  </a:lnTo>
                  <a:lnTo>
                    <a:pt x="60" y="71"/>
                  </a:lnTo>
                  <a:lnTo>
                    <a:pt x="60" y="70"/>
                  </a:lnTo>
                  <a:lnTo>
                    <a:pt x="59" y="70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8"/>
                  </a:lnTo>
                  <a:lnTo>
                    <a:pt x="58" y="68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6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7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3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1" y="66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3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7" y="61"/>
                  </a:lnTo>
                  <a:lnTo>
                    <a:pt x="46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0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2" y="58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4"/>
                  </a:lnTo>
                  <a:lnTo>
                    <a:pt x="36" y="54"/>
                  </a:lnTo>
                  <a:lnTo>
                    <a:pt x="36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6" y="51"/>
                  </a:lnTo>
                  <a:lnTo>
                    <a:pt x="36" y="52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4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55" y="16"/>
                  </a:moveTo>
                  <a:lnTo>
                    <a:pt x="54" y="16"/>
                  </a:lnTo>
                  <a:lnTo>
                    <a:pt x="55" y="16"/>
                  </a:lnTo>
                  <a:close/>
                  <a:moveTo>
                    <a:pt x="47" y="36"/>
                  </a:move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close/>
                  <a:moveTo>
                    <a:pt x="47" y="59"/>
                  </a:moveTo>
                  <a:lnTo>
                    <a:pt x="47" y="59"/>
                  </a:lnTo>
                  <a:lnTo>
                    <a:pt x="47" y="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3" name="Freeform 59"/>
            <p:cNvSpPr>
              <a:spLocks noEditPoints="1"/>
            </p:cNvSpPr>
            <p:nvPr/>
          </p:nvSpPr>
          <p:spPr bwMode="auto">
            <a:xfrm>
              <a:off x="5845319" y="3725893"/>
              <a:ext cx="101816" cy="157073"/>
            </a:xfrm>
            <a:custGeom>
              <a:avLst/>
              <a:gdLst>
                <a:gd name="T0" fmla="*/ 35 w 78"/>
                <a:gd name="T1" fmla="*/ 113 h 114"/>
                <a:gd name="T2" fmla="*/ 31 w 78"/>
                <a:gd name="T3" fmla="*/ 100 h 114"/>
                <a:gd name="T4" fmla="*/ 30 w 78"/>
                <a:gd name="T5" fmla="*/ 99 h 114"/>
                <a:gd name="T6" fmla="*/ 33 w 78"/>
                <a:gd name="T7" fmla="*/ 87 h 114"/>
                <a:gd name="T8" fmla="*/ 33 w 78"/>
                <a:gd name="T9" fmla="*/ 87 h 114"/>
                <a:gd name="T10" fmla="*/ 54 w 78"/>
                <a:gd name="T11" fmla="*/ 82 h 114"/>
                <a:gd name="T12" fmla="*/ 54 w 78"/>
                <a:gd name="T13" fmla="*/ 81 h 114"/>
                <a:gd name="T14" fmla="*/ 53 w 78"/>
                <a:gd name="T15" fmla="*/ 80 h 114"/>
                <a:gd name="T16" fmla="*/ 51 w 78"/>
                <a:gd name="T17" fmla="*/ 80 h 114"/>
                <a:gd name="T18" fmla="*/ 39 w 78"/>
                <a:gd name="T19" fmla="*/ 79 h 114"/>
                <a:gd name="T20" fmla="*/ 1 w 78"/>
                <a:gd name="T21" fmla="*/ 75 h 114"/>
                <a:gd name="T22" fmla="*/ 1 w 78"/>
                <a:gd name="T23" fmla="*/ 76 h 114"/>
                <a:gd name="T24" fmla="*/ 1 w 78"/>
                <a:gd name="T25" fmla="*/ 74 h 114"/>
                <a:gd name="T26" fmla="*/ 1 w 78"/>
                <a:gd name="T27" fmla="*/ 74 h 114"/>
                <a:gd name="T28" fmla="*/ 48 w 78"/>
                <a:gd name="T29" fmla="*/ 59 h 114"/>
                <a:gd name="T30" fmla="*/ 45 w 78"/>
                <a:gd name="T31" fmla="*/ 57 h 114"/>
                <a:gd name="T32" fmla="*/ 42 w 78"/>
                <a:gd name="T33" fmla="*/ 57 h 114"/>
                <a:gd name="T34" fmla="*/ 12 w 78"/>
                <a:gd name="T35" fmla="*/ 55 h 114"/>
                <a:gd name="T36" fmla="*/ 38 w 78"/>
                <a:gd name="T37" fmla="*/ 55 h 114"/>
                <a:gd name="T38" fmla="*/ 11 w 78"/>
                <a:gd name="T39" fmla="*/ 53 h 114"/>
                <a:gd name="T40" fmla="*/ 0 w 78"/>
                <a:gd name="T41" fmla="*/ 54 h 114"/>
                <a:gd name="T42" fmla="*/ 0 w 78"/>
                <a:gd name="T43" fmla="*/ 53 h 114"/>
                <a:gd name="T44" fmla="*/ 9 w 78"/>
                <a:gd name="T45" fmla="*/ 52 h 114"/>
                <a:gd name="T46" fmla="*/ 8 w 78"/>
                <a:gd name="T47" fmla="*/ 51 h 114"/>
                <a:gd name="T48" fmla="*/ 10 w 78"/>
                <a:gd name="T49" fmla="*/ 51 h 114"/>
                <a:gd name="T50" fmla="*/ 9 w 78"/>
                <a:gd name="T51" fmla="*/ 51 h 114"/>
                <a:gd name="T52" fmla="*/ 9 w 78"/>
                <a:gd name="T53" fmla="*/ 51 h 114"/>
                <a:gd name="T54" fmla="*/ 9 w 78"/>
                <a:gd name="T55" fmla="*/ 51 h 114"/>
                <a:gd name="T56" fmla="*/ 9 w 78"/>
                <a:gd name="T57" fmla="*/ 50 h 114"/>
                <a:gd name="T58" fmla="*/ 23 w 78"/>
                <a:gd name="T59" fmla="*/ 40 h 114"/>
                <a:gd name="T60" fmla="*/ 16 w 78"/>
                <a:gd name="T61" fmla="*/ 39 h 114"/>
                <a:gd name="T62" fmla="*/ 21 w 78"/>
                <a:gd name="T63" fmla="*/ 39 h 114"/>
                <a:gd name="T64" fmla="*/ 15 w 78"/>
                <a:gd name="T65" fmla="*/ 36 h 114"/>
                <a:gd name="T66" fmla="*/ 18 w 78"/>
                <a:gd name="T67" fmla="*/ 33 h 114"/>
                <a:gd name="T68" fmla="*/ 17 w 78"/>
                <a:gd name="T69" fmla="*/ 35 h 114"/>
                <a:gd name="T70" fmla="*/ 16 w 78"/>
                <a:gd name="T71" fmla="*/ 35 h 114"/>
                <a:gd name="T72" fmla="*/ 16 w 78"/>
                <a:gd name="T73" fmla="*/ 34 h 114"/>
                <a:gd name="T74" fmla="*/ 17 w 78"/>
                <a:gd name="T75" fmla="*/ 33 h 114"/>
                <a:gd name="T76" fmla="*/ 12 w 78"/>
                <a:gd name="T77" fmla="*/ 31 h 114"/>
                <a:gd name="T78" fmla="*/ 13 w 78"/>
                <a:gd name="T79" fmla="*/ 27 h 114"/>
                <a:gd name="T80" fmla="*/ 13 w 78"/>
                <a:gd name="T81" fmla="*/ 20 h 114"/>
                <a:gd name="T82" fmla="*/ 34 w 78"/>
                <a:gd name="T83" fmla="*/ 10 h 114"/>
                <a:gd name="T84" fmla="*/ 34 w 78"/>
                <a:gd name="T85" fmla="*/ 11 h 114"/>
                <a:gd name="T86" fmla="*/ 32 w 78"/>
                <a:gd name="T87" fmla="*/ 10 h 114"/>
                <a:gd name="T88" fmla="*/ 34 w 78"/>
                <a:gd name="T89" fmla="*/ 10 h 114"/>
                <a:gd name="T90" fmla="*/ 34 w 78"/>
                <a:gd name="T91" fmla="*/ 10 h 114"/>
                <a:gd name="T92" fmla="*/ 34 w 78"/>
                <a:gd name="T93" fmla="*/ 10 h 114"/>
                <a:gd name="T94" fmla="*/ 34 w 78"/>
                <a:gd name="T95" fmla="*/ 9 h 114"/>
                <a:gd name="T96" fmla="*/ 32 w 78"/>
                <a:gd name="T97" fmla="*/ 6 h 114"/>
                <a:gd name="T98" fmla="*/ 32 w 78"/>
                <a:gd name="T99" fmla="*/ 6 h 114"/>
                <a:gd name="T100" fmla="*/ 33 w 78"/>
                <a:gd name="T101" fmla="*/ 6 h 114"/>
                <a:gd name="T102" fmla="*/ 32 w 78"/>
                <a:gd name="T103" fmla="*/ 5 h 114"/>
                <a:gd name="T104" fmla="*/ 32 w 78"/>
                <a:gd name="T105" fmla="*/ 5 h 114"/>
                <a:gd name="T106" fmla="*/ 34 w 78"/>
                <a:gd name="T107" fmla="*/ 4 h 114"/>
                <a:gd name="T108" fmla="*/ 34 w 78"/>
                <a:gd name="T109" fmla="*/ 4 h 114"/>
                <a:gd name="T110" fmla="*/ 34 w 78"/>
                <a:gd name="T111" fmla="*/ 4 h 114"/>
                <a:gd name="T112" fmla="*/ 34 w 78"/>
                <a:gd name="T113" fmla="*/ 4 h 114"/>
                <a:gd name="T114" fmla="*/ 41 w 78"/>
                <a:gd name="T115" fmla="*/ 1 h 114"/>
                <a:gd name="T116" fmla="*/ 40 w 78"/>
                <a:gd name="T117" fmla="*/ 1 h 114"/>
                <a:gd name="T118" fmla="*/ 41 w 78"/>
                <a:gd name="T119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114">
                  <a:moveTo>
                    <a:pt x="35" y="113"/>
                  </a:moveTo>
                  <a:lnTo>
                    <a:pt x="35" y="113"/>
                  </a:lnTo>
                  <a:lnTo>
                    <a:pt x="35" y="114"/>
                  </a:lnTo>
                  <a:lnTo>
                    <a:pt x="35" y="114"/>
                  </a:lnTo>
                  <a:lnTo>
                    <a:pt x="34" y="113"/>
                  </a:lnTo>
                  <a:lnTo>
                    <a:pt x="35" y="113"/>
                  </a:lnTo>
                  <a:close/>
                  <a:moveTo>
                    <a:pt x="37" y="110"/>
                  </a:moveTo>
                  <a:lnTo>
                    <a:pt x="38" y="110"/>
                  </a:lnTo>
                  <a:lnTo>
                    <a:pt x="37" y="110"/>
                  </a:lnTo>
                  <a:close/>
                  <a:moveTo>
                    <a:pt x="30" y="99"/>
                  </a:moveTo>
                  <a:lnTo>
                    <a:pt x="31" y="99"/>
                  </a:lnTo>
                  <a:lnTo>
                    <a:pt x="31" y="100"/>
                  </a:lnTo>
                  <a:lnTo>
                    <a:pt x="31" y="101"/>
                  </a:lnTo>
                  <a:lnTo>
                    <a:pt x="30" y="101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30" y="99"/>
                  </a:lnTo>
                  <a:close/>
                  <a:moveTo>
                    <a:pt x="34" y="88"/>
                  </a:move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close/>
                  <a:moveTo>
                    <a:pt x="33" y="87"/>
                  </a:move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3" y="87"/>
                  </a:lnTo>
                  <a:close/>
                  <a:moveTo>
                    <a:pt x="31" y="87"/>
                  </a:move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54" y="81"/>
                  </a:move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2"/>
                  </a:lnTo>
                  <a:lnTo>
                    <a:pt x="54" y="81"/>
                  </a:lnTo>
                  <a:lnTo>
                    <a:pt x="54" y="81"/>
                  </a:lnTo>
                  <a:close/>
                  <a:moveTo>
                    <a:pt x="53" y="80"/>
                  </a:moveTo>
                  <a:lnTo>
                    <a:pt x="53" y="80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80"/>
                  </a:lnTo>
                  <a:close/>
                  <a:moveTo>
                    <a:pt x="51" y="81"/>
                  </a:moveTo>
                  <a:lnTo>
                    <a:pt x="51" y="80"/>
                  </a:lnTo>
                  <a:lnTo>
                    <a:pt x="51" y="81"/>
                  </a:lnTo>
                  <a:close/>
                  <a:moveTo>
                    <a:pt x="55" y="80"/>
                  </a:moveTo>
                  <a:lnTo>
                    <a:pt x="55" y="80"/>
                  </a:lnTo>
                  <a:lnTo>
                    <a:pt x="55" y="80"/>
                  </a:lnTo>
                  <a:close/>
                  <a:moveTo>
                    <a:pt x="40" y="79"/>
                  </a:moveTo>
                  <a:lnTo>
                    <a:pt x="39" y="79"/>
                  </a:lnTo>
                  <a:lnTo>
                    <a:pt x="40" y="79"/>
                  </a:lnTo>
                  <a:close/>
                  <a:moveTo>
                    <a:pt x="56" y="78"/>
                  </a:moveTo>
                  <a:lnTo>
                    <a:pt x="56" y="79"/>
                  </a:lnTo>
                  <a:lnTo>
                    <a:pt x="56" y="78"/>
                  </a:lnTo>
                  <a:close/>
                  <a:moveTo>
                    <a:pt x="1" y="75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close/>
                  <a:moveTo>
                    <a:pt x="1" y="74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1" y="74"/>
                  </a:lnTo>
                  <a:close/>
                  <a:moveTo>
                    <a:pt x="78" y="65"/>
                  </a:moveTo>
                  <a:lnTo>
                    <a:pt x="78" y="64"/>
                  </a:lnTo>
                  <a:lnTo>
                    <a:pt x="78" y="65"/>
                  </a:lnTo>
                  <a:close/>
                  <a:moveTo>
                    <a:pt x="48" y="59"/>
                  </a:moveTo>
                  <a:lnTo>
                    <a:pt x="49" y="59"/>
                  </a:lnTo>
                  <a:lnTo>
                    <a:pt x="48" y="59"/>
                  </a:lnTo>
                  <a:close/>
                  <a:moveTo>
                    <a:pt x="45" y="57"/>
                  </a:move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5" y="57"/>
                  </a:lnTo>
                  <a:lnTo>
                    <a:pt x="45" y="57"/>
                  </a:lnTo>
                  <a:close/>
                  <a:moveTo>
                    <a:pt x="46" y="57"/>
                  </a:moveTo>
                  <a:lnTo>
                    <a:pt x="47" y="57"/>
                  </a:lnTo>
                  <a:lnTo>
                    <a:pt x="46" y="57"/>
                  </a:lnTo>
                  <a:close/>
                  <a:moveTo>
                    <a:pt x="42" y="56"/>
                  </a:moveTo>
                  <a:lnTo>
                    <a:pt x="42" y="57"/>
                  </a:lnTo>
                  <a:lnTo>
                    <a:pt x="42" y="56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38" y="55"/>
                  </a:move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close/>
                  <a:moveTo>
                    <a:pt x="37" y="54"/>
                  </a:moveTo>
                  <a:lnTo>
                    <a:pt x="37" y="55"/>
                  </a:lnTo>
                  <a:lnTo>
                    <a:pt x="37" y="54"/>
                  </a:lnTo>
                  <a:close/>
                  <a:moveTo>
                    <a:pt x="11" y="53"/>
                  </a:move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close/>
                  <a:moveTo>
                    <a:pt x="0" y="54"/>
                  </a:move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4"/>
                  </a:lnTo>
                  <a:close/>
                  <a:moveTo>
                    <a:pt x="9" y="52"/>
                  </a:moveTo>
                  <a:lnTo>
                    <a:pt x="9" y="51"/>
                  </a:lnTo>
                  <a:lnTo>
                    <a:pt x="9" y="52"/>
                  </a:lnTo>
                  <a:close/>
                  <a:moveTo>
                    <a:pt x="8" y="52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1"/>
                  </a:ln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10" y="51"/>
                  </a:moveTo>
                  <a:lnTo>
                    <a:pt x="10" y="52"/>
                  </a:lnTo>
                  <a:lnTo>
                    <a:pt x="10" y="51"/>
                  </a:lnTo>
                  <a:lnTo>
                    <a:pt x="10" y="52"/>
                  </a:lnTo>
                  <a:lnTo>
                    <a:pt x="10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9" y="51"/>
                  </a:lnTo>
                  <a:close/>
                  <a:moveTo>
                    <a:pt x="9" y="50"/>
                  </a:move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23" y="40"/>
                  </a:move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close/>
                  <a:moveTo>
                    <a:pt x="17" y="39"/>
                  </a:moveTo>
                  <a:lnTo>
                    <a:pt x="17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7" y="39"/>
                  </a:lnTo>
                  <a:close/>
                  <a:moveTo>
                    <a:pt x="21" y="39"/>
                  </a:moveTo>
                  <a:lnTo>
                    <a:pt x="21" y="39"/>
                  </a:lnTo>
                  <a:lnTo>
                    <a:pt x="22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close/>
                  <a:moveTo>
                    <a:pt x="15" y="36"/>
                  </a:move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close/>
                  <a:moveTo>
                    <a:pt x="19" y="33"/>
                  </a:moveTo>
                  <a:lnTo>
                    <a:pt x="19" y="33"/>
                  </a:lnTo>
                  <a:lnTo>
                    <a:pt x="19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8" y="34"/>
                  </a:lnTo>
                  <a:lnTo>
                    <a:pt x="17" y="34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3" y="32"/>
                  </a:move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2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34" y="10"/>
                  </a:moveTo>
                  <a:lnTo>
                    <a:pt x="35" y="10"/>
                  </a:lnTo>
                  <a:lnTo>
                    <a:pt x="34" y="10"/>
                  </a:lnTo>
                  <a:close/>
                  <a:moveTo>
                    <a:pt x="34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4" y="10"/>
                  </a:lnTo>
                  <a:close/>
                  <a:moveTo>
                    <a:pt x="35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5" y="10"/>
                  </a:lnTo>
                  <a:close/>
                  <a:moveTo>
                    <a:pt x="34" y="9"/>
                  </a:move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10"/>
                  </a:lnTo>
                  <a:lnTo>
                    <a:pt x="34" y="9"/>
                  </a:lnTo>
                  <a:close/>
                  <a:moveTo>
                    <a:pt x="34" y="9"/>
                  </a:move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close/>
                  <a:moveTo>
                    <a:pt x="32" y="7"/>
                  </a:moveTo>
                  <a:lnTo>
                    <a:pt x="32" y="6"/>
                  </a:lnTo>
                  <a:lnTo>
                    <a:pt x="32" y="7"/>
                  </a:lnTo>
                  <a:close/>
                  <a:moveTo>
                    <a:pt x="32" y="6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6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6"/>
                  </a:lnTo>
                  <a:close/>
                  <a:moveTo>
                    <a:pt x="32" y="6"/>
                  </a:moveTo>
                  <a:lnTo>
                    <a:pt x="32" y="6"/>
                  </a:lnTo>
                  <a:lnTo>
                    <a:pt x="32" y="6"/>
                  </a:lnTo>
                  <a:close/>
                  <a:moveTo>
                    <a:pt x="33" y="5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close/>
                  <a:moveTo>
                    <a:pt x="32" y="5"/>
                  </a:move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close/>
                  <a:moveTo>
                    <a:pt x="33" y="4"/>
                  </a:move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34" y="4"/>
                  </a:moveTo>
                  <a:lnTo>
                    <a:pt x="34" y="5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3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close/>
                  <a:moveTo>
                    <a:pt x="41" y="1"/>
                  </a:moveTo>
                  <a:lnTo>
                    <a:pt x="41" y="1"/>
                  </a:lnTo>
                  <a:lnTo>
                    <a:pt x="41" y="1"/>
                  </a:lnTo>
                  <a:close/>
                  <a:moveTo>
                    <a:pt x="40" y="1"/>
                  </a:moveTo>
                  <a:lnTo>
                    <a:pt x="39" y="1"/>
                  </a:lnTo>
                  <a:lnTo>
                    <a:pt x="40" y="1"/>
                  </a:lnTo>
                  <a:close/>
                  <a:moveTo>
                    <a:pt x="41" y="1"/>
                  </a:moveTo>
                  <a:lnTo>
                    <a:pt x="40" y="1"/>
                  </a:lnTo>
                  <a:lnTo>
                    <a:pt x="41" y="1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4" name="Freeform 60"/>
            <p:cNvSpPr>
              <a:spLocks noEditPoints="1"/>
            </p:cNvSpPr>
            <p:nvPr/>
          </p:nvSpPr>
          <p:spPr bwMode="auto">
            <a:xfrm>
              <a:off x="5855761" y="3725893"/>
              <a:ext cx="91373" cy="132272"/>
            </a:xfrm>
            <a:custGeom>
              <a:avLst/>
              <a:gdLst>
                <a:gd name="T0" fmla="*/ 48 w 70"/>
                <a:gd name="T1" fmla="*/ 96 h 96"/>
                <a:gd name="T2" fmla="*/ 26 w 70"/>
                <a:gd name="T3" fmla="*/ 88 h 96"/>
                <a:gd name="T4" fmla="*/ 26 w 70"/>
                <a:gd name="T5" fmla="*/ 88 h 96"/>
                <a:gd name="T6" fmla="*/ 26 w 70"/>
                <a:gd name="T7" fmla="*/ 88 h 96"/>
                <a:gd name="T8" fmla="*/ 48 w 70"/>
                <a:gd name="T9" fmla="*/ 80 h 96"/>
                <a:gd name="T10" fmla="*/ 48 w 70"/>
                <a:gd name="T11" fmla="*/ 80 h 96"/>
                <a:gd name="T12" fmla="*/ 47 w 70"/>
                <a:gd name="T13" fmla="*/ 80 h 96"/>
                <a:gd name="T14" fmla="*/ 70 w 70"/>
                <a:gd name="T15" fmla="*/ 62 h 96"/>
                <a:gd name="T16" fmla="*/ 70 w 70"/>
                <a:gd name="T17" fmla="*/ 62 h 96"/>
                <a:gd name="T18" fmla="*/ 34 w 70"/>
                <a:gd name="T19" fmla="*/ 56 h 96"/>
                <a:gd name="T20" fmla="*/ 4 w 70"/>
                <a:gd name="T21" fmla="*/ 54 h 96"/>
                <a:gd name="T22" fmla="*/ 4 w 70"/>
                <a:gd name="T23" fmla="*/ 54 h 96"/>
                <a:gd name="T24" fmla="*/ 3 w 70"/>
                <a:gd name="T25" fmla="*/ 54 h 96"/>
                <a:gd name="T26" fmla="*/ 3 w 70"/>
                <a:gd name="T27" fmla="*/ 52 h 96"/>
                <a:gd name="T28" fmla="*/ 3 w 70"/>
                <a:gd name="T29" fmla="*/ 52 h 96"/>
                <a:gd name="T30" fmla="*/ 0 w 70"/>
                <a:gd name="T31" fmla="*/ 51 h 96"/>
                <a:gd name="T32" fmla="*/ 24 w 70"/>
                <a:gd name="T33" fmla="*/ 11 h 96"/>
                <a:gd name="T34" fmla="*/ 24 w 70"/>
                <a:gd name="T35" fmla="*/ 11 h 96"/>
                <a:gd name="T36" fmla="*/ 26 w 70"/>
                <a:gd name="T37" fmla="*/ 11 h 96"/>
                <a:gd name="T38" fmla="*/ 26 w 70"/>
                <a:gd name="T39" fmla="*/ 11 h 96"/>
                <a:gd name="T40" fmla="*/ 26 w 70"/>
                <a:gd name="T41" fmla="*/ 11 h 96"/>
                <a:gd name="T42" fmla="*/ 24 w 70"/>
                <a:gd name="T43" fmla="*/ 9 h 96"/>
                <a:gd name="T44" fmla="*/ 27 w 70"/>
                <a:gd name="T45" fmla="*/ 9 h 96"/>
                <a:gd name="T46" fmla="*/ 27 w 70"/>
                <a:gd name="T47" fmla="*/ 9 h 96"/>
                <a:gd name="T48" fmla="*/ 24 w 70"/>
                <a:gd name="T49" fmla="*/ 9 h 96"/>
                <a:gd name="T50" fmla="*/ 25 w 70"/>
                <a:gd name="T51" fmla="*/ 9 h 96"/>
                <a:gd name="T52" fmla="*/ 25 w 70"/>
                <a:gd name="T53" fmla="*/ 9 h 96"/>
                <a:gd name="T54" fmla="*/ 24 w 70"/>
                <a:gd name="T55" fmla="*/ 8 h 96"/>
                <a:gd name="T56" fmla="*/ 25 w 70"/>
                <a:gd name="T57" fmla="*/ 8 h 96"/>
                <a:gd name="T58" fmla="*/ 25 w 70"/>
                <a:gd name="T59" fmla="*/ 8 h 96"/>
                <a:gd name="T60" fmla="*/ 24 w 70"/>
                <a:gd name="T61" fmla="*/ 6 h 96"/>
                <a:gd name="T62" fmla="*/ 23 w 70"/>
                <a:gd name="T63" fmla="*/ 6 h 96"/>
                <a:gd name="T64" fmla="*/ 23 w 70"/>
                <a:gd name="T65" fmla="*/ 6 h 96"/>
                <a:gd name="T66" fmla="*/ 23 w 70"/>
                <a:gd name="T67" fmla="*/ 6 h 96"/>
                <a:gd name="T68" fmla="*/ 24 w 70"/>
                <a:gd name="T69" fmla="*/ 5 h 96"/>
                <a:gd name="T70" fmla="*/ 25 w 70"/>
                <a:gd name="T71" fmla="*/ 4 h 96"/>
                <a:gd name="T72" fmla="*/ 25 w 70"/>
                <a:gd name="T73" fmla="*/ 4 h 96"/>
                <a:gd name="T74" fmla="*/ 25 w 70"/>
                <a:gd name="T75" fmla="*/ 4 h 96"/>
                <a:gd name="T76" fmla="*/ 26 w 70"/>
                <a:gd name="T77" fmla="*/ 4 h 96"/>
                <a:gd name="T78" fmla="*/ 26 w 70"/>
                <a:gd name="T79" fmla="*/ 4 h 96"/>
                <a:gd name="T80" fmla="*/ 25 w 70"/>
                <a:gd name="T81" fmla="*/ 4 h 96"/>
                <a:gd name="T82" fmla="*/ 26 w 70"/>
                <a:gd name="T83" fmla="*/ 4 h 96"/>
                <a:gd name="T84" fmla="*/ 26 w 70"/>
                <a:gd name="T85" fmla="*/ 4 h 96"/>
                <a:gd name="T86" fmla="*/ 26 w 70"/>
                <a:gd name="T87" fmla="*/ 3 h 96"/>
                <a:gd name="T88" fmla="*/ 26 w 70"/>
                <a:gd name="T89" fmla="*/ 3 h 96"/>
                <a:gd name="T90" fmla="*/ 26 w 70"/>
                <a:gd name="T91" fmla="*/ 3 h 96"/>
                <a:gd name="T92" fmla="*/ 26 w 70"/>
                <a:gd name="T93" fmla="*/ 3 h 96"/>
                <a:gd name="T94" fmla="*/ 26 w 70"/>
                <a:gd name="T95" fmla="*/ 4 h 96"/>
                <a:gd name="T96" fmla="*/ 26 w 70"/>
                <a:gd name="T97" fmla="*/ 3 h 96"/>
                <a:gd name="T98" fmla="*/ 26 w 70"/>
                <a:gd name="T99" fmla="*/ 3 h 96"/>
                <a:gd name="T100" fmla="*/ 27 w 70"/>
                <a:gd name="T101" fmla="*/ 3 h 96"/>
                <a:gd name="T102" fmla="*/ 27 w 70"/>
                <a:gd name="T103" fmla="*/ 3 h 96"/>
                <a:gd name="T104" fmla="*/ 26 w 70"/>
                <a:gd name="T105" fmla="*/ 3 h 96"/>
                <a:gd name="T106" fmla="*/ 26 w 70"/>
                <a:gd name="T107" fmla="*/ 3 h 96"/>
                <a:gd name="T108" fmla="*/ 26 w 70"/>
                <a:gd name="T109" fmla="*/ 3 h 96"/>
                <a:gd name="T110" fmla="*/ 32 w 70"/>
                <a:gd name="T111" fmla="*/ 1 h 96"/>
                <a:gd name="T112" fmla="*/ 32 w 70"/>
                <a:gd name="T1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96">
                  <a:moveTo>
                    <a:pt x="48" y="95"/>
                  </a:moveTo>
                  <a:lnTo>
                    <a:pt x="48" y="96"/>
                  </a:lnTo>
                  <a:lnTo>
                    <a:pt x="48" y="95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70" y="62"/>
                  </a:moveTo>
                  <a:lnTo>
                    <a:pt x="70" y="62"/>
                  </a:lnTo>
                  <a:lnTo>
                    <a:pt x="70" y="62"/>
                  </a:lnTo>
                  <a:close/>
                  <a:moveTo>
                    <a:pt x="34" y="56"/>
                  </a:moveTo>
                  <a:lnTo>
                    <a:pt x="34" y="56"/>
                  </a:lnTo>
                  <a:lnTo>
                    <a:pt x="34" y="56"/>
                  </a:lnTo>
                  <a:close/>
                  <a:moveTo>
                    <a:pt x="4" y="54"/>
                  </a:moveTo>
                  <a:lnTo>
                    <a:pt x="3" y="54"/>
                  </a:lnTo>
                  <a:lnTo>
                    <a:pt x="4" y="54"/>
                  </a:lnTo>
                  <a:close/>
                  <a:moveTo>
                    <a:pt x="3" y="54"/>
                  </a:moveTo>
                  <a:lnTo>
                    <a:pt x="3" y="54"/>
                  </a:lnTo>
                  <a:lnTo>
                    <a:pt x="3" y="54"/>
                  </a:lnTo>
                  <a:close/>
                  <a:moveTo>
                    <a:pt x="3" y="52"/>
                  </a:moveTo>
                  <a:lnTo>
                    <a:pt x="2" y="52"/>
                  </a:lnTo>
                  <a:lnTo>
                    <a:pt x="3" y="52"/>
                  </a:lnTo>
                  <a:close/>
                  <a:moveTo>
                    <a:pt x="0" y="51"/>
                  </a:moveTo>
                  <a:lnTo>
                    <a:pt x="0" y="51"/>
                  </a:lnTo>
                  <a:lnTo>
                    <a:pt x="0" y="51"/>
                  </a:lnTo>
                  <a:close/>
                  <a:moveTo>
                    <a:pt x="24" y="11"/>
                  </a:moveTo>
                  <a:lnTo>
                    <a:pt x="25" y="11"/>
                  </a:lnTo>
                  <a:lnTo>
                    <a:pt x="24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4" y="10"/>
                  </a:moveTo>
                  <a:lnTo>
                    <a:pt x="24" y="9"/>
                  </a:lnTo>
                  <a:lnTo>
                    <a:pt x="24" y="10"/>
                  </a:lnTo>
                  <a:close/>
                  <a:moveTo>
                    <a:pt x="27" y="9"/>
                  </a:moveTo>
                  <a:lnTo>
                    <a:pt x="26" y="9"/>
                  </a:lnTo>
                  <a:lnTo>
                    <a:pt x="27" y="9"/>
                  </a:lnTo>
                  <a:close/>
                  <a:moveTo>
                    <a:pt x="24" y="9"/>
                  </a:moveTo>
                  <a:lnTo>
                    <a:pt x="24" y="9"/>
                  </a:lnTo>
                  <a:lnTo>
                    <a:pt x="24" y="9"/>
                  </a:lnTo>
                  <a:close/>
                  <a:moveTo>
                    <a:pt x="25" y="9"/>
                  </a:moveTo>
                  <a:lnTo>
                    <a:pt x="25" y="8"/>
                  </a:lnTo>
                  <a:lnTo>
                    <a:pt x="25" y="9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4" y="6"/>
                  </a:moveTo>
                  <a:lnTo>
                    <a:pt x="24" y="6"/>
                  </a:lnTo>
                  <a:lnTo>
                    <a:pt x="24" y="6"/>
                  </a:lnTo>
                  <a:close/>
                  <a:moveTo>
                    <a:pt x="23" y="6"/>
                  </a:move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close/>
                  <a:moveTo>
                    <a:pt x="24" y="5"/>
                  </a:moveTo>
                  <a:lnTo>
                    <a:pt x="24" y="5"/>
                  </a:lnTo>
                  <a:lnTo>
                    <a:pt x="24" y="5"/>
                  </a:lnTo>
                  <a:close/>
                  <a:moveTo>
                    <a:pt x="25" y="4"/>
                  </a:moveTo>
                  <a:lnTo>
                    <a:pt x="24" y="4"/>
                  </a:lnTo>
                  <a:lnTo>
                    <a:pt x="25" y="4"/>
                  </a:lnTo>
                  <a:close/>
                  <a:moveTo>
                    <a:pt x="24" y="4"/>
                  </a:moveTo>
                  <a:lnTo>
                    <a:pt x="25" y="4"/>
                  </a:lnTo>
                  <a:lnTo>
                    <a:pt x="24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32" y="1"/>
                  </a:moveTo>
                  <a:lnTo>
                    <a:pt x="31" y="1"/>
                  </a:lnTo>
                  <a:lnTo>
                    <a:pt x="32" y="0"/>
                  </a:lnTo>
                  <a:lnTo>
                    <a:pt x="3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5" name="Freeform 61"/>
            <p:cNvSpPr>
              <a:spLocks/>
            </p:cNvSpPr>
            <p:nvPr/>
          </p:nvSpPr>
          <p:spPr bwMode="auto">
            <a:xfrm>
              <a:off x="5735671" y="3670780"/>
              <a:ext cx="2611" cy="1378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1 w 2"/>
                <a:gd name="T7" fmla="*/ 0 h 1"/>
                <a:gd name="T8" fmla="*/ 1 w 2"/>
                <a:gd name="T9" fmla="*/ 0 h 1"/>
                <a:gd name="T10" fmla="*/ 1 w 2"/>
                <a:gd name="T11" fmla="*/ 0 h 1"/>
                <a:gd name="T12" fmla="*/ 1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1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2 w 2"/>
                <a:gd name="T37" fmla="*/ 1 h 1"/>
                <a:gd name="T38" fmla="*/ 2 w 2"/>
                <a:gd name="T39" fmla="*/ 1 h 1"/>
                <a:gd name="T40" fmla="*/ 2 w 2"/>
                <a:gd name="T41" fmla="*/ 1 h 1"/>
                <a:gd name="T42" fmla="*/ 2 w 2"/>
                <a:gd name="T43" fmla="*/ 1 h 1"/>
                <a:gd name="T44" fmla="*/ 2 w 2"/>
                <a:gd name="T45" fmla="*/ 1 h 1"/>
                <a:gd name="T46" fmla="*/ 1 w 2"/>
                <a:gd name="T47" fmla="*/ 1 h 1"/>
                <a:gd name="T48" fmla="*/ 1 w 2"/>
                <a:gd name="T49" fmla="*/ 1 h 1"/>
                <a:gd name="T50" fmla="*/ 1 w 2"/>
                <a:gd name="T51" fmla="*/ 1 h 1"/>
                <a:gd name="T52" fmla="*/ 1 w 2"/>
                <a:gd name="T53" fmla="*/ 1 h 1"/>
                <a:gd name="T54" fmla="*/ 1 w 2"/>
                <a:gd name="T55" fmla="*/ 1 h 1"/>
                <a:gd name="T56" fmla="*/ 1 w 2"/>
                <a:gd name="T57" fmla="*/ 1 h 1"/>
                <a:gd name="T58" fmla="*/ 1 w 2"/>
                <a:gd name="T59" fmla="*/ 1 h 1"/>
                <a:gd name="T60" fmla="*/ 1 w 2"/>
                <a:gd name="T61" fmla="*/ 1 h 1"/>
                <a:gd name="T62" fmla="*/ 1 w 2"/>
                <a:gd name="T63" fmla="*/ 1 h 1"/>
                <a:gd name="T64" fmla="*/ 0 w 2"/>
                <a:gd name="T65" fmla="*/ 1 h 1"/>
                <a:gd name="T66" fmla="*/ 0 w 2"/>
                <a:gd name="T67" fmla="*/ 1 h 1"/>
                <a:gd name="T68" fmla="*/ 0 w 2"/>
                <a:gd name="T69" fmla="*/ 1 h 1"/>
                <a:gd name="T70" fmla="*/ 0 w 2"/>
                <a:gd name="T71" fmla="*/ 1 h 1"/>
                <a:gd name="T72" fmla="*/ 0 w 2"/>
                <a:gd name="T73" fmla="*/ 1 h 1"/>
                <a:gd name="T74" fmla="*/ 0 w 2"/>
                <a:gd name="T75" fmla="*/ 1 h 1"/>
                <a:gd name="T76" fmla="*/ 0 w 2"/>
                <a:gd name="T77" fmla="*/ 1 h 1"/>
                <a:gd name="T78" fmla="*/ 0 w 2"/>
                <a:gd name="T79" fmla="*/ 1 h 1"/>
                <a:gd name="T80" fmla="*/ 0 w 2"/>
                <a:gd name="T81" fmla="*/ 1 h 1"/>
                <a:gd name="T82" fmla="*/ 0 w 2"/>
                <a:gd name="T83" fmla="*/ 1 h 1"/>
                <a:gd name="T84" fmla="*/ 0 w 2"/>
                <a:gd name="T85" fmla="*/ 1 h 1"/>
                <a:gd name="T86" fmla="*/ 0 w 2"/>
                <a:gd name="T87" fmla="*/ 1 h 1"/>
                <a:gd name="T88" fmla="*/ 0 w 2"/>
                <a:gd name="T89" fmla="*/ 1 h 1"/>
                <a:gd name="T90" fmla="*/ 0 w 2"/>
                <a:gd name="T91" fmla="*/ 1 h 1"/>
                <a:gd name="T92" fmla="*/ 0 w 2"/>
                <a:gd name="T93" fmla="*/ 1 h 1"/>
                <a:gd name="T94" fmla="*/ 0 w 2"/>
                <a:gd name="T95" fmla="*/ 1 h 1"/>
                <a:gd name="T96" fmla="*/ 0 w 2"/>
                <a:gd name="T97" fmla="*/ 1 h 1"/>
                <a:gd name="T98" fmla="*/ 0 w 2"/>
                <a:gd name="T99" fmla="*/ 1 h 1"/>
                <a:gd name="T100" fmla="*/ 0 w 2"/>
                <a:gd name="T101" fmla="*/ 0 h 1"/>
                <a:gd name="T102" fmla="*/ 0 w 2"/>
                <a:gd name="T103" fmla="*/ 0 h 1"/>
                <a:gd name="T104" fmla="*/ 0 w 2"/>
                <a:gd name="T105" fmla="*/ 0 h 1"/>
                <a:gd name="T106" fmla="*/ 0 w 2"/>
                <a:gd name="T107" fmla="*/ 0 h 1"/>
                <a:gd name="T108" fmla="*/ 0 w 2"/>
                <a:gd name="T109" fmla="*/ 0 h 1"/>
                <a:gd name="T110" fmla="*/ 0 w 2"/>
                <a:gd name="T111" fmla="*/ 0 h 1"/>
                <a:gd name="T112" fmla="*/ 0 w 2"/>
                <a:gd name="T113" fmla="*/ 0 h 1"/>
                <a:gd name="T114" fmla="*/ 0 w 2"/>
                <a:gd name="T115" fmla="*/ 0 h 1"/>
                <a:gd name="T116" fmla="*/ 0 w 2"/>
                <a:gd name="T117" fmla="*/ 0 h 1"/>
                <a:gd name="T118" fmla="*/ 0 w 2"/>
                <a:gd name="T119" fmla="*/ 0 h 1"/>
                <a:gd name="T120" fmla="*/ 0 w 2"/>
                <a:gd name="T12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6" name="Freeform 62"/>
            <p:cNvSpPr>
              <a:spLocks noEditPoints="1"/>
            </p:cNvSpPr>
            <p:nvPr/>
          </p:nvSpPr>
          <p:spPr bwMode="auto">
            <a:xfrm>
              <a:off x="5735671" y="3669403"/>
              <a:ext cx="3916" cy="2756"/>
            </a:xfrm>
            <a:custGeom>
              <a:avLst/>
              <a:gdLst>
                <a:gd name="T0" fmla="*/ 2 w 3"/>
                <a:gd name="T1" fmla="*/ 2 h 2"/>
                <a:gd name="T2" fmla="*/ 2 w 3"/>
                <a:gd name="T3" fmla="*/ 2 h 2"/>
                <a:gd name="T4" fmla="*/ 2 w 3"/>
                <a:gd name="T5" fmla="*/ 2 h 2"/>
                <a:gd name="T6" fmla="*/ 2 w 3"/>
                <a:gd name="T7" fmla="*/ 2 h 2"/>
                <a:gd name="T8" fmla="*/ 2 w 3"/>
                <a:gd name="T9" fmla="*/ 2 h 2"/>
                <a:gd name="T10" fmla="*/ 1 w 3"/>
                <a:gd name="T11" fmla="*/ 2 h 2"/>
                <a:gd name="T12" fmla="*/ 1 w 3"/>
                <a:gd name="T13" fmla="*/ 2 h 2"/>
                <a:gd name="T14" fmla="*/ 1 w 3"/>
                <a:gd name="T15" fmla="*/ 2 h 2"/>
                <a:gd name="T16" fmla="*/ 1 w 3"/>
                <a:gd name="T17" fmla="*/ 2 h 2"/>
                <a:gd name="T18" fmla="*/ 1 w 3"/>
                <a:gd name="T19" fmla="*/ 2 h 2"/>
                <a:gd name="T20" fmla="*/ 1 w 3"/>
                <a:gd name="T21" fmla="*/ 2 h 2"/>
                <a:gd name="T22" fmla="*/ 1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0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3 w 3"/>
                <a:gd name="T45" fmla="*/ 0 h 2"/>
                <a:gd name="T46" fmla="*/ 3 w 3"/>
                <a:gd name="T47" fmla="*/ 0 h 2"/>
                <a:gd name="T48" fmla="*/ 3 w 3"/>
                <a:gd name="T49" fmla="*/ 0 h 2"/>
                <a:gd name="T50" fmla="*/ 3 w 3"/>
                <a:gd name="T51" fmla="*/ 0 h 2"/>
                <a:gd name="T52" fmla="*/ 3 w 3"/>
                <a:gd name="T53" fmla="*/ 0 h 2"/>
                <a:gd name="T54" fmla="*/ 3 w 3"/>
                <a:gd name="T55" fmla="*/ 0 h 2"/>
                <a:gd name="T56" fmla="*/ 3 w 3"/>
                <a:gd name="T57" fmla="*/ 0 h 2"/>
                <a:gd name="T58" fmla="*/ 3 w 3"/>
                <a:gd name="T59" fmla="*/ 0 h 2"/>
                <a:gd name="T60" fmla="*/ 3 w 3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7" name="Freeform 63"/>
            <p:cNvSpPr>
              <a:spLocks/>
            </p:cNvSpPr>
            <p:nvPr/>
          </p:nvSpPr>
          <p:spPr bwMode="auto">
            <a:xfrm>
              <a:off x="5978462" y="3521974"/>
              <a:ext cx="77014" cy="41335"/>
            </a:xfrm>
            <a:custGeom>
              <a:avLst/>
              <a:gdLst>
                <a:gd name="T0" fmla="*/ 1 w 59"/>
                <a:gd name="T1" fmla="*/ 17 h 30"/>
                <a:gd name="T2" fmla="*/ 3 w 59"/>
                <a:gd name="T3" fmla="*/ 14 h 30"/>
                <a:gd name="T4" fmla="*/ 4 w 59"/>
                <a:gd name="T5" fmla="*/ 10 h 30"/>
                <a:gd name="T6" fmla="*/ 5 w 59"/>
                <a:gd name="T7" fmla="*/ 10 h 30"/>
                <a:gd name="T8" fmla="*/ 5 w 59"/>
                <a:gd name="T9" fmla="*/ 10 h 30"/>
                <a:gd name="T10" fmla="*/ 6 w 59"/>
                <a:gd name="T11" fmla="*/ 7 h 30"/>
                <a:gd name="T12" fmla="*/ 9 w 59"/>
                <a:gd name="T13" fmla="*/ 6 h 30"/>
                <a:gd name="T14" fmla="*/ 13 w 59"/>
                <a:gd name="T15" fmla="*/ 4 h 30"/>
                <a:gd name="T16" fmla="*/ 15 w 59"/>
                <a:gd name="T17" fmla="*/ 7 h 30"/>
                <a:gd name="T18" fmla="*/ 18 w 59"/>
                <a:gd name="T19" fmla="*/ 10 h 30"/>
                <a:gd name="T20" fmla="*/ 20 w 59"/>
                <a:gd name="T21" fmla="*/ 13 h 30"/>
                <a:gd name="T22" fmla="*/ 23 w 59"/>
                <a:gd name="T23" fmla="*/ 14 h 30"/>
                <a:gd name="T24" fmla="*/ 22 w 59"/>
                <a:gd name="T25" fmla="*/ 15 h 30"/>
                <a:gd name="T26" fmla="*/ 22 w 59"/>
                <a:gd name="T27" fmla="*/ 15 h 30"/>
                <a:gd name="T28" fmla="*/ 25 w 59"/>
                <a:gd name="T29" fmla="*/ 14 h 30"/>
                <a:gd name="T30" fmla="*/ 26 w 59"/>
                <a:gd name="T31" fmla="*/ 16 h 30"/>
                <a:gd name="T32" fmla="*/ 26 w 59"/>
                <a:gd name="T33" fmla="*/ 15 h 30"/>
                <a:gd name="T34" fmla="*/ 25 w 59"/>
                <a:gd name="T35" fmla="*/ 14 h 30"/>
                <a:gd name="T36" fmla="*/ 27 w 59"/>
                <a:gd name="T37" fmla="*/ 12 h 30"/>
                <a:gd name="T38" fmla="*/ 27 w 59"/>
                <a:gd name="T39" fmla="*/ 8 h 30"/>
                <a:gd name="T40" fmla="*/ 27 w 59"/>
                <a:gd name="T41" fmla="*/ 4 h 30"/>
                <a:gd name="T42" fmla="*/ 29 w 59"/>
                <a:gd name="T43" fmla="*/ 2 h 30"/>
                <a:gd name="T44" fmla="*/ 33 w 59"/>
                <a:gd name="T45" fmla="*/ 1 h 30"/>
                <a:gd name="T46" fmla="*/ 36 w 59"/>
                <a:gd name="T47" fmla="*/ 0 h 30"/>
                <a:gd name="T48" fmla="*/ 38 w 59"/>
                <a:gd name="T49" fmla="*/ 3 h 30"/>
                <a:gd name="T50" fmla="*/ 41 w 59"/>
                <a:gd name="T51" fmla="*/ 3 h 30"/>
                <a:gd name="T52" fmla="*/ 42 w 59"/>
                <a:gd name="T53" fmla="*/ 5 h 30"/>
                <a:gd name="T54" fmla="*/ 44 w 59"/>
                <a:gd name="T55" fmla="*/ 7 h 30"/>
                <a:gd name="T56" fmla="*/ 47 w 59"/>
                <a:gd name="T57" fmla="*/ 7 h 30"/>
                <a:gd name="T58" fmla="*/ 49 w 59"/>
                <a:gd name="T59" fmla="*/ 7 h 30"/>
                <a:gd name="T60" fmla="*/ 53 w 59"/>
                <a:gd name="T61" fmla="*/ 7 h 30"/>
                <a:gd name="T62" fmla="*/ 55 w 59"/>
                <a:gd name="T63" fmla="*/ 10 h 30"/>
                <a:gd name="T64" fmla="*/ 55 w 59"/>
                <a:gd name="T65" fmla="*/ 13 h 30"/>
                <a:gd name="T66" fmla="*/ 55 w 59"/>
                <a:gd name="T67" fmla="*/ 15 h 30"/>
                <a:gd name="T68" fmla="*/ 56 w 59"/>
                <a:gd name="T69" fmla="*/ 16 h 30"/>
                <a:gd name="T70" fmla="*/ 57 w 59"/>
                <a:gd name="T71" fmla="*/ 19 h 30"/>
                <a:gd name="T72" fmla="*/ 58 w 59"/>
                <a:gd name="T73" fmla="*/ 21 h 30"/>
                <a:gd name="T74" fmla="*/ 59 w 59"/>
                <a:gd name="T75" fmla="*/ 24 h 30"/>
                <a:gd name="T76" fmla="*/ 56 w 59"/>
                <a:gd name="T77" fmla="*/ 26 h 30"/>
                <a:gd name="T78" fmla="*/ 53 w 59"/>
                <a:gd name="T79" fmla="*/ 28 h 30"/>
                <a:gd name="T80" fmla="*/ 51 w 59"/>
                <a:gd name="T81" fmla="*/ 29 h 30"/>
                <a:gd name="T82" fmla="*/ 48 w 59"/>
                <a:gd name="T83" fmla="*/ 29 h 30"/>
                <a:gd name="T84" fmla="*/ 46 w 59"/>
                <a:gd name="T85" fmla="*/ 30 h 30"/>
                <a:gd name="T86" fmla="*/ 43 w 59"/>
                <a:gd name="T87" fmla="*/ 28 h 30"/>
                <a:gd name="T88" fmla="*/ 40 w 59"/>
                <a:gd name="T89" fmla="*/ 26 h 30"/>
                <a:gd name="T90" fmla="*/ 37 w 59"/>
                <a:gd name="T91" fmla="*/ 25 h 30"/>
                <a:gd name="T92" fmla="*/ 34 w 59"/>
                <a:gd name="T93" fmla="*/ 24 h 30"/>
                <a:gd name="T94" fmla="*/ 33 w 59"/>
                <a:gd name="T95" fmla="*/ 22 h 30"/>
                <a:gd name="T96" fmla="*/ 32 w 59"/>
                <a:gd name="T97" fmla="*/ 21 h 30"/>
                <a:gd name="T98" fmla="*/ 30 w 59"/>
                <a:gd name="T99" fmla="*/ 22 h 30"/>
                <a:gd name="T100" fmla="*/ 27 w 59"/>
                <a:gd name="T101" fmla="*/ 22 h 30"/>
                <a:gd name="T102" fmla="*/ 25 w 59"/>
                <a:gd name="T103" fmla="*/ 22 h 30"/>
                <a:gd name="T104" fmla="*/ 21 w 59"/>
                <a:gd name="T105" fmla="*/ 22 h 30"/>
                <a:gd name="T106" fmla="*/ 18 w 59"/>
                <a:gd name="T107" fmla="*/ 22 h 30"/>
                <a:gd name="T108" fmla="*/ 15 w 59"/>
                <a:gd name="T109" fmla="*/ 22 h 30"/>
                <a:gd name="T110" fmla="*/ 11 w 59"/>
                <a:gd name="T111" fmla="*/ 21 h 30"/>
                <a:gd name="T112" fmla="*/ 7 w 59"/>
                <a:gd name="T113" fmla="*/ 22 h 30"/>
                <a:gd name="T114" fmla="*/ 4 w 59"/>
                <a:gd name="T115" fmla="*/ 24 h 30"/>
                <a:gd name="T116" fmla="*/ 2 w 59"/>
                <a:gd name="T117" fmla="*/ 25 h 30"/>
                <a:gd name="T118" fmla="*/ 0 w 59"/>
                <a:gd name="T1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" h="30">
                  <a:moveTo>
                    <a:pt x="1" y="19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1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2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3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8"/>
                  </a:lnTo>
                  <a:lnTo>
                    <a:pt x="53" y="28"/>
                  </a:lnTo>
                  <a:lnTo>
                    <a:pt x="54" y="28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49" y="28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8" name="Freeform 64"/>
            <p:cNvSpPr>
              <a:spLocks noEditPoints="1"/>
            </p:cNvSpPr>
            <p:nvPr/>
          </p:nvSpPr>
          <p:spPr bwMode="auto">
            <a:xfrm>
              <a:off x="6009790" y="3539887"/>
              <a:ext cx="2611" cy="275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1 w 2"/>
                <a:gd name="T13" fmla="*/ 2 h 2"/>
                <a:gd name="T14" fmla="*/ 2 w 2"/>
                <a:gd name="T15" fmla="*/ 2 h 2"/>
                <a:gd name="T16" fmla="*/ 2 w 2"/>
                <a:gd name="T17" fmla="*/ 2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1 w 2"/>
                <a:gd name="T25" fmla="*/ 0 h 2"/>
                <a:gd name="T26" fmla="*/ 1 w 2"/>
                <a:gd name="T27" fmla="*/ 0 h 2"/>
                <a:gd name="T28" fmla="*/ 1 w 2"/>
                <a:gd name="T29" fmla="*/ 0 h 2"/>
                <a:gd name="T30" fmla="*/ 1 w 2"/>
                <a:gd name="T31" fmla="*/ 0 h 2"/>
                <a:gd name="T32" fmla="*/ 1 w 2"/>
                <a:gd name="T33" fmla="*/ 0 h 2"/>
                <a:gd name="T34" fmla="*/ 1 w 2"/>
                <a:gd name="T35" fmla="*/ 0 h 2"/>
                <a:gd name="T36" fmla="*/ 1 w 2"/>
                <a:gd name="T37" fmla="*/ 0 h 2"/>
                <a:gd name="T38" fmla="*/ 1 w 2"/>
                <a:gd name="T39" fmla="*/ 0 h 2"/>
                <a:gd name="T40" fmla="*/ 1 w 2"/>
                <a:gd name="T41" fmla="*/ 0 h 2"/>
                <a:gd name="T42" fmla="*/ 1 w 2"/>
                <a:gd name="T43" fmla="*/ 0 h 2"/>
                <a:gd name="T44" fmla="*/ 1 w 2"/>
                <a:gd name="T45" fmla="*/ 0 h 2"/>
                <a:gd name="T46" fmla="*/ 1 w 2"/>
                <a:gd name="T47" fmla="*/ 0 h 2"/>
                <a:gd name="T48" fmla="*/ 1 w 2"/>
                <a:gd name="T49" fmla="*/ 0 h 2"/>
                <a:gd name="T50" fmla="*/ 1 w 2"/>
                <a:gd name="T51" fmla="*/ 0 h 2"/>
                <a:gd name="T52" fmla="*/ 1 w 2"/>
                <a:gd name="T53" fmla="*/ 0 h 2"/>
                <a:gd name="T54" fmla="*/ 1 w 2"/>
                <a:gd name="T55" fmla="*/ 0 h 2"/>
                <a:gd name="T56" fmla="*/ 1 w 2"/>
                <a:gd name="T57" fmla="*/ 0 h 2"/>
                <a:gd name="T58" fmla="*/ 1 w 2"/>
                <a:gd name="T59" fmla="*/ 0 h 2"/>
                <a:gd name="T60" fmla="*/ 1 w 2"/>
                <a:gd name="T61" fmla="*/ 0 h 2"/>
                <a:gd name="T62" fmla="*/ 1 w 2"/>
                <a:gd name="T63" fmla="*/ 0 h 2"/>
                <a:gd name="T64" fmla="*/ 1 w 2"/>
                <a:gd name="T65" fmla="*/ 0 h 2"/>
                <a:gd name="T66" fmla="*/ 1 w 2"/>
                <a:gd name="T67" fmla="*/ 0 h 2"/>
                <a:gd name="T68" fmla="*/ 1 w 2"/>
                <a:gd name="T69" fmla="*/ 0 h 2"/>
                <a:gd name="T70" fmla="*/ 1 w 2"/>
                <a:gd name="T71" fmla="*/ 0 h 2"/>
                <a:gd name="T72" fmla="*/ 1 w 2"/>
                <a:gd name="T73" fmla="*/ 1 h 2"/>
                <a:gd name="T74" fmla="*/ 1 w 2"/>
                <a:gd name="T75" fmla="*/ 1 h 2"/>
                <a:gd name="T76" fmla="*/ 1 w 2"/>
                <a:gd name="T77" fmla="*/ 1 h 2"/>
                <a:gd name="T78" fmla="*/ 1 w 2"/>
                <a:gd name="T79" fmla="*/ 1 h 2"/>
                <a:gd name="T80" fmla="*/ 1 w 2"/>
                <a:gd name="T81" fmla="*/ 1 h 2"/>
                <a:gd name="T82" fmla="*/ 1 w 2"/>
                <a:gd name="T83" fmla="*/ 1 h 2"/>
                <a:gd name="T84" fmla="*/ 1 w 2"/>
                <a:gd name="T85" fmla="*/ 1 h 2"/>
                <a:gd name="T86" fmla="*/ 1 w 2"/>
                <a:gd name="T87" fmla="*/ 1 h 2"/>
                <a:gd name="T88" fmla="*/ 1 w 2"/>
                <a:gd name="T89" fmla="*/ 1 h 2"/>
                <a:gd name="T90" fmla="*/ 1 w 2"/>
                <a:gd name="T91" fmla="*/ 1 h 2"/>
                <a:gd name="T92" fmla="*/ 0 w 2"/>
                <a:gd name="T93" fmla="*/ 1 h 2"/>
                <a:gd name="T94" fmla="*/ 0 w 2"/>
                <a:gd name="T95" fmla="*/ 1 h 2"/>
                <a:gd name="T96" fmla="*/ 0 w 2"/>
                <a:gd name="T97" fmla="*/ 1 h 2"/>
                <a:gd name="T98" fmla="*/ 0 w 2"/>
                <a:gd name="T99" fmla="*/ 1 h 2"/>
                <a:gd name="T100" fmla="*/ 0 w 2"/>
                <a:gd name="T101" fmla="*/ 1 h 2"/>
                <a:gd name="T102" fmla="*/ 0 w 2"/>
                <a:gd name="T103" fmla="*/ 1 h 2"/>
                <a:gd name="T104" fmla="*/ 0 w 2"/>
                <a:gd name="T105" fmla="*/ 1 h 2"/>
                <a:gd name="T106" fmla="*/ 1 w 2"/>
                <a:gd name="T107" fmla="*/ 1 h 2"/>
                <a:gd name="T108" fmla="*/ 1 w 2"/>
                <a:gd name="T109" fmla="*/ 1 h 2"/>
                <a:gd name="T110" fmla="*/ 1 w 2"/>
                <a:gd name="T111" fmla="*/ 0 h 2"/>
                <a:gd name="T112" fmla="*/ 1 w 2"/>
                <a:gd name="T113" fmla="*/ 0 h 2"/>
                <a:gd name="T114" fmla="*/ 1 w 2"/>
                <a:gd name="T115" fmla="*/ 0 h 2"/>
                <a:gd name="T116" fmla="*/ 1 w 2"/>
                <a:gd name="T117" fmla="*/ 0 h 2"/>
                <a:gd name="T118" fmla="*/ 1 w 2"/>
                <a:gd name="T119" fmla="*/ 0 h 2"/>
                <a:gd name="T120" fmla="*/ 1 w 2"/>
                <a:gd name="T1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9" name="Freeform 65"/>
            <p:cNvSpPr>
              <a:spLocks/>
            </p:cNvSpPr>
            <p:nvPr/>
          </p:nvSpPr>
          <p:spPr bwMode="auto">
            <a:xfrm>
              <a:off x="5858372" y="3702471"/>
              <a:ext cx="1305" cy="275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2 h 2"/>
                <a:gd name="T8" fmla="*/ 1 w 1"/>
                <a:gd name="T9" fmla="*/ 2 h 2"/>
                <a:gd name="T10" fmla="*/ 1 w 1"/>
                <a:gd name="T11" fmla="*/ 2 h 2"/>
                <a:gd name="T12" fmla="*/ 0 w 1"/>
                <a:gd name="T13" fmla="*/ 2 h 2"/>
                <a:gd name="T14" fmla="*/ 0 w 1"/>
                <a:gd name="T15" fmla="*/ 2 h 2"/>
                <a:gd name="T16" fmla="*/ 1 w 1"/>
                <a:gd name="T17" fmla="*/ 2 h 2"/>
                <a:gd name="T18" fmla="*/ 1 w 1"/>
                <a:gd name="T19" fmla="*/ 2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0 w 1"/>
                <a:gd name="T27" fmla="*/ 1 h 2"/>
                <a:gd name="T28" fmla="*/ 0 w 1"/>
                <a:gd name="T29" fmla="*/ 1 h 2"/>
                <a:gd name="T30" fmla="*/ 0 w 1"/>
                <a:gd name="T31" fmla="*/ 1 h 2"/>
                <a:gd name="T32" fmla="*/ 1 w 1"/>
                <a:gd name="T33" fmla="*/ 1 h 2"/>
                <a:gd name="T34" fmla="*/ 1 w 1"/>
                <a:gd name="T35" fmla="*/ 0 h 2"/>
                <a:gd name="T36" fmla="*/ 1 w 1"/>
                <a:gd name="T37" fmla="*/ 0 h 2"/>
                <a:gd name="T38" fmla="*/ 1 w 1"/>
                <a:gd name="T39" fmla="*/ 0 h 2"/>
                <a:gd name="T40" fmla="*/ 1 w 1"/>
                <a:gd name="T41" fmla="*/ 0 h 2"/>
                <a:gd name="T42" fmla="*/ 1 w 1"/>
                <a:gd name="T43" fmla="*/ 0 h 2"/>
                <a:gd name="T44" fmla="*/ 1 w 1"/>
                <a:gd name="T45" fmla="*/ 1 h 2"/>
                <a:gd name="T46" fmla="*/ 1 w 1"/>
                <a:gd name="T47" fmla="*/ 1 h 2"/>
                <a:gd name="T48" fmla="*/ 1 w 1"/>
                <a:gd name="T49" fmla="*/ 1 h 2"/>
                <a:gd name="T50" fmla="*/ 1 w 1"/>
                <a:gd name="T51" fmla="*/ 1 h 2"/>
                <a:gd name="T52" fmla="*/ 1 w 1"/>
                <a:gd name="T53" fmla="*/ 1 h 2"/>
                <a:gd name="T54" fmla="*/ 1 w 1"/>
                <a:gd name="T55" fmla="*/ 1 h 2"/>
                <a:gd name="T56" fmla="*/ 1 w 1"/>
                <a:gd name="T57" fmla="*/ 1 h 2"/>
                <a:gd name="T58" fmla="*/ 1 w 1"/>
                <a:gd name="T59" fmla="*/ 1 h 2"/>
                <a:gd name="T60" fmla="*/ 1 w 1"/>
                <a:gd name="T61" fmla="*/ 1 h 2"/>
                <a:gd name="T62" fmla="*/ 1 w 1"/>
                <a:gd name="T63" fmla="*/ 2 h 2"/>
                <a:gd name="T64" fmla="*/ 1 w 1"/>
                <a:gd name="T65" fmla="*/ 2 h 2"/>
                <a:gd name="T66" fmla="*/ 1 w 1"/>
                <a:gd name="T67" fmla="*/ 2 h 2"/>
                <a:gd name="T68" fmla="*/ 1 w 1"/>
                <a:gd name="T69" fmla="*/ 2 h 2"/>
                <a:gd name="T70" fmla="*/ 1 w 1"/>
                <a:gd name="T71" fmla="*/ 2 h 2"/>
                <a:gd name="T72" fmla="*/ 1 w 1"/>
                <a:gd name="T73" fmla="*/ 2 h 2"/>
                <a:gd name="T74" fmla="*/ 1 w 1"/>
                <a:gd name="T7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0" name="Freeform 66"/>
            <p:cNvSpPr>
              <a:spLocks noEditPoints="1"/>
            </p:cNvSpPr>
            <p:nvPr/>
          </p:nvSpPr>
          <p:spPr bwMode="auto">
            <a:xfrm>
              <a:off x="5978462" y="3550909"/>
              <a:ext cx="61350" cy="42713"/>
            </a:xfrm>
            <a:custGeom>
              <a:avLst/>
              <a:gdLst>
                <a:gd name="T0" fmla="*/ 0 w 47"/>
                <a:gd name="T1" fmla="*/ 14 h 31"/>
                <a:gd name="T2" fmla="*/ 2 w 47"/>
                <a:gd name="T3" fmla="*/ 9 h 31"/>
                <a:gd name="T4" fmla="*/ 2 w 47"/>
                <a:gd name="T5" fmla="*/ 12 h 31"/>
                <a:gd name="T6" fmla="*/ 32 w 47"/>
                <a:gd name="T7" fmla="*/ 1 h 31"/>
                <a:gd name="T8" fmla="*/ 33 w 47"/>
                <a:gd name="T9" fmla="*/ 2 h 31"/>
                <a:gd name="T10" fmla="*/ 36 w 47"/>
                <a:gd name="T11" fmla="*/ 4 h 31"/>
                <a:gd name="T12" fmla="*/ 38 w 47"/>
                <a:gd name="T13" fmla="*/ 4 h 31"/>
                <a:gd name="T14" fmla="*/ 40 w 47"/>
                <a:gd name="T15" fmla="*/ 5 h 31"/>
                <a:gd name="T16" fmla="*/ 43 w 47"/>
                <a:gd name="T17" fmla="*/ 7 h 31"/>
                <a:gd name="T18" fmla="*/ 45 w 47"/>
                <a:gd name="T19" fmla="*/ 9 h 31"/>
                <a:gd name="T20" fmla="*/ 45 w 47"/>
                <a:gd name="T21" fmla="*/ 12 h 31"/>
                <a:gd name="T22" fmla="*/ 45 w 47"/>
                <a:gd name="T23" fmla="*/ 13 h 31"/>
                <a:gd name="T24" fmla="*/ 45 w 47"/>
                <a:gd name="T25" fmla="*/ 14 h 31"/>
                <a:gd name="T26" fmla="*/ 47 w 47"/>
                <a:gd name="T27" fmla="*/ 14 h 31"/>
                <a:gd name="T28" fmla="*/ 45 w 47"/>
                <a:gd name="T29" fmla="*/ 16 h 31"/>
                <a:gd name="T30" fmla="*/ 43 w 47"/>
                <a:gd name="T31" fmla="*/ 16 h 31"/>
                <a:gd name="T32" fmla="*/ 41 w 47"/>
                <a:gd name="T33" fmla="*/ 19 h 31"/>
                <a:gd name="T34" fmla="*/ 39 w 47"/>
                <a:gd name="T35" fmla="*/ 19 h 31"/>
                <a:gd name="T36" fmla="*/ 38 w 47"/>
                <a:gd name="T37" fmla="*/ 23 h 31"/>
                <a:gd name="T38" fmla="*/ 37 w 47"/>
                <a:gd name="T39" fmla="*/ 25 h 31"/>
                <a:gd name="T40" fmla="*/ 37 w 47"/>
                <a:gd name="T41" fmla="*/ 26 h 31"/>
                <a:gd name="T42" fmla="*/ 39 w 47"/>
                <a:gd name="T43" fmla="*/ 27 h 31"/>
                <a:gd name="T44" fmla="*/ 37 w 47"/>
                <a:gd name="T45" fmla="*/ 28 h 31"/>
                <a:gd name="T46" fmla="*/ 37 w 47"/>
                <a:gd name="T47" fmla="*/ 27 h 31"/>
                <a:gd name="T48" fmla="*/ 34 w 47"/>
                <a:gd name="T49" fmla="*/ 27 h 31"/>
                <a:gd name="T50" fmla="*/ 33 w 47"/>
                <a:gd name="T51" fmla="*/ 28 h 31"/>
                <a:gd name="T52" fmla="*/ 31 w 47"/>
                <a:gd name="T53" fmla="*/ 30 h 31"/>
                <a:gd name="T54" fmla="*/ 30 w 47"/>
                <a:gd name="T55" fmla="*/ 30 h 31"/>
                <a:gd name="T56" fmla="*/ 27 w 47"/>
                <a:gd name="T57" fmla="*/ 31 h 31"/>
                <a:gd name="T58" fmla="*/ 26 w 47"/>
                <a:gd name="T59" fmla="*/ 31 h 31"/>
                <a:gd name="T60" fmla="*/ 23 w 47"/>
                <a:gd name="T61" fmla="*/ 31 h 31"/>
                <a:gd name="T62" fmla="*/ 21 w 47"/>
                <a:gd name="T63" fmla="*/ 30 h 31"/>
                <a:gd name="T64" fmla="*/ 19 w 47"/>
                <a:gd name="T65" fmla="*/ 27 h 31"/>
                <a:gd name="T66" fmla="*/ 17 w 47"/>
                <a:gd name="T67" fmla="*/ 26 h 31"/>
                <a:gd name="T68" fmla="*/ 14 w 47"/>
                <a:gd name="T69" fmla="*/ 25 h 31"/>
                <a:gd name="T70" fmla="*/ 14 w 47"/>
                <a:gd name="T71" fmla="*/ 22 h 31"/>
                <a:gd name="T72" fmla="*/ 16 w 47"/>
                <a:gd name="T73" fmla="*/ 20 h 31"/>
                <a:gd name="T74" fmla="*/ 14 w 47"/>
                <a:gd name="T75" fmla="*/ 18 h 31"/>
                <a:gd name="T76" fmla="*/ 11 w 47"/>
                <a:gd name="T77" fmla="*/ 17 h 31"/>
                <a:gd name="T78" fmla="*/ 8 w 47"/>
                <a:gd name="T79" fmla="*/ 17 h 31"/>
                <a:gd name="T80" fmla="*/ 6 w 47"/>
                <a:gd name="T81" fmla="*/ 16 h 31"/>
                <a:gd name="T82" fmla="*/ 4 w 47"/>
                <a:gd name="T83" fmla="*/ 14 h 31"/>
                <a:gd name="T84" fmla="*/ 3 w 47"/>
                <a:gd name="T85" fmla="*/ 13 h 31"/>
                <a:gd name="T86" fmla="*/ 2 w 47"/>
                <a:gd name="T87" fmla="*/ 9 h 31"/>
                <a:gd name="T88" fmla="*/ 1 w 47"/>
                <a:gd name="T89" fmla="*/ 8 h 31"/>
                <a:gd name="T90" fmla="*/ 1 w 47"/>
                <a:gd name="T91" fmla="*/ 4 h 31"/>
                <a:gd name="T92" fmla="*/ 2 w 47"/>
                <a:gd name="T93" fmla="*/ 4 h 31"/>
                <a:gd name="T94" fmla="*/ 5 w 47"/>
                <a:gd name="T95" fmla="*/ 2 h 31"/>
                <a:gd name="T96" fmla="*/ 8 w 47"/>
                <a:gd name="T97" fmla="*/ 1 h 31"/>
                <a:gd name="T98" fmla="*/ 12 w 47"/>
                <a:gd name="T99" fmla="*/ 0 h 31"/>
                <a:gd name="T100" fmla="*/ 15 w 47"/>
                <a:gd name="T101" fmla="*/ 1 h 31"/>
                <a:gd name="T102" fmla="*/ 18 w 47"/>
                <a:gd name="T103" fmla="*/ 1 h 31"/>
                <a:gd name="T104" fmla="*/ 21 w 47"/>
                <a:gd name="T105" fmla="*/ 1 h 31"/>
                <a:gd name="T106" fmla="*/ 23 w 47"/>
                <a:gd name="T107" fmla="*/ 1 h 31"/>
                <a:gd name="T108" fmla="*/ 26 w 47"/>
                <a:gd name="T109" fmla="*/ 2 h 31"/>
                <a:gd name="T110" fmla="*/ 28 w 47"/>
                <a:gd name="T111" fmla="*/ 2 h 31"/>
                <a:gd name="T112" fmla="*/ 30 w 47"/>
                <a:gd name="T113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" h="31">
                  <a:moveTo>
                    <a:pt x="2" y="12"/>
                  </a:moveTo>
                  <a:lnTo>
                    <a:pt x="2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1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1" name="Freeform 67"/>
            <p:cNvSpPr>
              <a:spLocks noEditPoints="1"/>
            </p:cNvSpPr>
            <p:nvPr/>
          </p:nvSpPr>
          <p:spPr bwMode="auto">
            <a:xfrm>
              <a:off x="5982378" y="3570199"/>
              <a:ext cx="1305" cy="1378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0 w 1"/>
                <a:gd name="T19" fmla="*/ 1 h 1"/>
                <a:gd name="T20" fmla="*/ 0 w 1"/>
                <a:gd name="T21" fmla="*/ 0 h 1"/>
                <a:gd name="T22" fmla="*/ 0 w 1"/>
                <a:gd name="T23" fmla="*/ 0 h 1"/>
                <a:gd name="T24" fmla="*/ 0 w 1"/>
                <a:gd name="T25" fmla="*/ 0 h 1"/>
                <a:gd name="T26" fmla="*/ 0 w 1"/>
                <a:gd name="T27" fmla="*/ 0 h 1"/>
                <a:gd name="T28" fmla="*/ 0 w 1"/>
                <a:gd name="T29" fmla="*/ 0 h 1"/>
                <a:gd name="T30" fmla="*/ 0 w 1"/>
                <a:gd name="T31" fmla="*/ 0 h 1"/>
                <a:gd name="T32" fmla="*/ 0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0 w 1"/>
                <a:gd name="T47" fmla="*/ 0 h 1"/>
                <a:gd name="T48" fmla="*/ 0 w 1"/>
                <a:gd name="T49" fmla="*/ 0 h 1"/>
                <a:gd name="T50" fmla="*/ 0 w 1"/>
                <a:gd name="T51" fmla="*/ 1 h 1"/>
                <a:gd name="T52" fmla="*/ 0 w 1"/>
                <a:gd name="T53" fmla="*/ 1 h 1"/>
                <a:gd name="T54" fmla="*/ 0 w 1"/>
                <a:gd name="T55" fmla="*/ 1 h 1"/>
                <a:gd name="T56" fmla="*/ 0 w 1"/>
                <a:gd name="T57" fmla="*/ 0 h 1"/>
                <a:gd name="T58" fmla="*/ 0 w 1"/>
                <a:gd name="T59" fmla="*/ 0 h 1"/>
                <a:gd name="T60" fmla="*/ 0 w 1"/>
                <a:gd name="T61" fmla="*/ 0 h 1"/>
                <a:gd name="T62" fmla="*/ 0 w 1"/>
                <a:gd name="T63" fmla="*/ 0 h 1"/>
                <a:gd name="T64" fmla="*/ 0 w 1"/>
                <a:gd name="T65" fmla="*/ 0 h 1"/>
                <a:gd name="T66" fmla="*/ 0 w 1"/>
                <a:gd name="T67" fmla="*/ 0 h 1"/>
                <a:gd name="T68" fmla="*/ 0 w 1"/>
                <a:gd name="T69" fmla="*/ 0 h 1"/>
                <a:gd name="T70" fmla="*/ 0 w 1"/>
                <a:gd name="T71" fmla="*/ 0 h 1"/>
                <a:gd name="T72" fmla="*/ 0 w 1"/>
                <a:gd name="T73" fmla="*/ 0 h 1"/>
                <a:gd name="T74" fmla="*/ 0 w 1"/>
                <a:gd name="T75" fmla="*/ 0 h 1"/>
                <a:gd name="T76" fmla="*/ 0 w 1"/>
                <a:gd name="T77" fmla="*/ 0 h 1"/>
                <a:gd name="T78" fmla="*/ 0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2" name="Freeform 68"/>
            <p:cNvSpPr>
              <a:spLocks/>
            </p:cNvSpPr>
            <p:nvPr/>
          </p:nvSpPr>
          <p:spPr bwMode="auto">
            <a:xfrm>
              <a:off x="5981073" y="356330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3" name="Freeform 69"/>
            <p:cNvSpPr>
              <a:spLocks/>
            </p:cNvSpPr>
            <p:nvPr/>
          </p:nvSpPr>
          <p:spPr bwMode="auto">
            <a:xfrm>
              <a:off x="5819212" y="3655624"/>
              <a:ext cx="7832" cy="12401"/>
            </a:xfrm>
            <a:custGeom>
              <a:avLst/>
              <a:gdLst>
                <a:gd name="T0" fmla="*/ 3 w 6"/>
                <a:gd name="T1" fmla="*/ 0 h 9"/>
                <a:gd name="T2" fmla="*/ 3 w 6"/>
                <a:gd name="T3" fmla="*/ 1 h 9"/>
                <a:gd name="T4" fmla="*/ 3 w 6"/>
                <a:gd name="T5" fmla="*/ 1 h 9"/>
                <a:gd name="T6" fmla="*/ 3 w 6"/>
                <a:gd name="T7" fmla="*/ 1 h 9"/>
                <a:gd name="T8" fmla="*/ 3 w 6"/>
                <a:gd name="T9" fmla="*/ 1 h 9"/>
                <a:gd name="T10" fmla="*/ 3 w 6"/>
                <a:gd name="T11" fmla="*/ 2 h 9"/>
                <a:gd name="T12" fmla="*/ 3 w 6"/>
                <a:gd name="T13" fmla="*/ 2 h 9"/>
                <a:gd name="T14" fmla="*/ 3 w 6"/>
                <a:gd name="T15" fmla="*/ 2 h 9"/>
                <a:gd name="T16" fmla="*/ 3 w 6"/>
                <a:gd name="T17" fmla="*/ 3 h 9"/>
                <a:gd name="T18" fmla="*/ 3 w 6"/>
                <a:gd name="T19" fmla="*/ 2 h 9"/>
                <a:gd name="T20" fmla="*/ 4 w 6"/>
                <a:gd name="T21" fmla="*/ 3 h 9"/>
                <a:gd name="T22" fmla="*/ 4 w 6"/>
                <a:gd name="T23" fmla="*/ 3 h 9"/>
                <a:gd name="T24" fmla="*/ 4 w 6"/>
                <a:gd name="T25" fmla="*/ 3 h 9"/>
                <a:gd name="T26" fmla="*/ 5 w 6"/>
                <a:gd name="T27" fmla="*/ 3 h 9"/>
                <a:gd name="T28" fmla="*/ 5 w 6"/>
                <a:gd name="T29" fmla="*/ 3 h 9"/>
                <a:gd name="T30" fmla="*/ 5 w 6"/>
                <a:gd name="T31" fmla="*/ 4 h 9"/>
                <a:gd name="T32" fmla="*/ 5 w 6"/>
                <a:gd name="T33" fmla="*/ 4 h 9"/>
                <a:gd name="T34" fmla="*/ 6 w 6"/>
                <a:gd name="T35" fmla="*/ 5 h 9"/>
                <a:gd name="T36" fmla="*/ 6 w 6"/>
                <a:gd name="T37" fmla="*/ 4 h 9"/>
                <a:gd name="T38" fmla="*/ 6 w 6"/>
                <a:gd name="T39" fmla="*/ 5 h 9"/>
                <a:gd name="T40" fmla="*/ 6 w 6"/>
                <a:gd name="T41" fmla="*/ 5 h 9"/>
                <a:gd name="T42" fmla="*/ 6 w 6"/>
                <a:gd name="T43" fmla="*/ 5 h 9"/>
                <a:gd name="T44" fmla="*/ 6 w 6"/>
                <a:gd name="T45" fmla="*/ 5 h 9"/>
                <a:gd name="T46" fmla="*/ 6 w 6"/>
                <a:gd name="T47" fmla="*/ 5 h 9"/>
                <a:gd name="T48" fmla="*/ 6 w 6"/>
                <a:gd name="T49" fmla="*/ 6 h 9"/>
                <a:gd name="T50" fmla="*/ 6 w 6"/>
                <a:gd name="T51" fmla="*/ 6 h 9"/>
                <a:gd name="T52" fmla="*/ 5 w 6"/>
                <a:gd name="T53" fmla="*/ 7 h 9"/>
                <a:gd name="T54" fmla="*/ 5 w 6"/>
                <a:gd name="T55" fmla="*/ 7 h 9"/>
                <a:gd name="T56" fmla="*/ 5 w 6"/>
                <a:gd name="T57" fmla="*/ 8 h 9"/>
                <a:gd name="T58" fmla="*/ 5 w 6"/>
                <a:gd name="T59" fmla="*/ 9 h 9"/>
                <a:gd name="T60" fmla="*/ 5 w 6"/>
                <a:gd name="T61" fmla="*/ 8 h 9"/>
                <a:gd name="T62" fmla="*/ 4 w 6"/>
                <a:gd name="T63" fmla="*/ 8 h 9"/>
                <a:gd name="T64" fmla="*/ 3 w 6"/>
                <a:gd name="T65" fmla="*/ 8 h 9"/>
                <a:gd name="T66" fmla="*/ 3 w 6"/>
                <a:gd name="T67" fmla="*/ 9 h 9"/>
                <a:gd name="T68" fmla="*/ 2 w 6"/>
                <a:gd name="T69" fmla="*/ 9 h 9"/>
                <a:gd name="T70" fmla="*/ 2 w 6"/>
                <a:gd name="T71" fmla="*/ 9 h 9"/>
                <a:gd name="T72" fmla="*/ 2 w 6"/>
                <a:gd name="T73" fmla="*/ 8 h 9"/>
                <a:gd name="T74" fmla="*/ 1 w 6"/>
                <a:gd name="T75" fmla="*/ 8 h 9"/>
                <a:gd name="T76" fmla="*/ 1 w 6"/>
                <a:gd name="T77" fmla="*/ 8 h 9"/>
                <a:gd name="T78" fmla="*/ 1 w 6"/>
                <a:gd name="T79" fmla="*/ 8 h 9"/>
                <a:gd name="T80" fmla="*/ 1 w 6"/>
                <a:gd name="T81" fmla="*/ 8 h 9"/>
                <a:gd name="T82" fmla="*/ 1 w 6"/>
                <a:gd name="T83" fmla="*/ 7 h 9"/>
                <a:gd name="T84" fmla="*/ 1 w 6"/>
                <a:gd name="T85" fmla="*/ 7 h 9"/>
                <a:gd name="T86" fmla="*/ 1 w 6"/>
                <a:gd name="T87" fmla="*/ 6 h 9"/>
                <a:gd name="T88" fmla="*/ 1 w 6"/>
                <a:gd name="T89" fmla="*/ 6 h 9"/>
                <a:gd name="T90" fmla="*/ 1 w 6"/>
                <a:gd name="T91" fmla="*/ 6 h 9"/>
                <a:gd name="T92" fmla="*/ 1 w 6"/>
                <a:gd name="T93" fmla="*/ 5 h 9"/>
                <a:gd name="T94" fmla="*/ 0 w 6"/>
                <a:gd name="T95" fmla="*/ 5 h 9"/>
                <a:gd name="T96" fmla="*/ 0 w 6"/>
                <a:gd name="T97" fmla="*/ 5 h 9"/>
                <a:gd name="T98" fmla="*/ 0 w 6"/>
                <a:gd name="T99" fmla="*/ 4 h 9"/>
                <a:gd name="T100" fmla="*/ 0 w 6"/>
                <a:gd name="T101" fmla="*/ 4 h 9"/>
                <a:gd name="T102" fmla="*/ 0 w 6"/>
                <a:gd name="T103" fmla="*/ 4 h 9"/>
                <a:gd name="T104" fmla="*/ 0 w 6"/>
                <a:gd name="T105" fmla="*/ 3 h 9"/>
                <a:gd name="T106" fmla="*/ 0 w 6"/>
                <a:gd name="T107" fmla="*/ 3 h 9"/>
                <a:gd name="T108" fmla="*/ 0 w 6"/>
                <a:gd name="T109" fmla="*/ 3 h 9"/>
                <a:gd name="T110" fmla="*/ 0 w 6"/>
                <a:gd name="T111" fmla="*/ 2 h 9"/>
                <a:gd name="T112" fmla="*/ 1 w 6"/>
                <a:gd name="T113" fmla="*/ 2 h 9"/>
                <a:gd name="T114" fmla="*/ 1 w 6"/>
                <a:gd name="T115" fmla="*/ 2 h 9"/>
                <a:gd name="T116" fmla="*/ 1 w 6"/>
                <a:gd name="T117" fmla="*/ 1 h 9"/>
                <a:gd name="T118" fmla="*/ 1 w 6"/>
                <a:gd name="T119" fmla="*/ 1 h 9"/>
                <a:gd name="T120" fmla="*/ 2 w 6"/>
                <a:gd name="T121" fmla="*/ 0 h 9"/>
                <a:gd name="T122" fmla="*/ 2 w 6"/>
                <a:gd name="T1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" h="9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4" name="Freeform 70"/>
            <p:cNvSpPr>
              <a:spLocks noEditPoints="1"/>
            </p:cNvSpPr>
            <p:nvPr/>
          </p:nvSpPr>
          <p:spPr bwMode="auto">
            <a:xfrm>
              <a:off x="5907974" y="3874699"/>
              <a:ext cx="3916" cy="2756"/>
            </a:xfrm>
            <a:custGeom>
              <a:avLst/>
              <a:gdLst>
                <a:gd name="T0" fmla="*/ 1 w 3"/>
                <a:gd name="T1" fmla="*/ 1 h 2"/>
                <a:gd name="T2" fmla="*/ 1 w 3"/>
                <a:gd name="T3" fmla="*/ 1 h 2"/>
                <a:gd name="T4" fmla="*/ 2 w 3"/>
                <a:gd name="T5" fmla="*/ 1 h 2"/>
                <a:gd name="T6" fmla="*/ 1 w 3"/>
                <a:gd name="T7" fmla="*/ 1 h 2"/>
                <a:gd name="T8" fmla="*/ 2 w 3"/>
                <a:gd name="T9" fmla="*/ 1 h 2"/>
                <a:gd name="T10" fmla="*/ 2 w 3"/>
                <a:gd name="T11" fmla="*/ 1 h 2"/>
                <a:gd name="T12" fmla="*/ 2 w 3"/>
                <a:gd name="T13" fmla="*/ 1 h 2"/>
                <a:gd name="T14" fmla="*/ 2 w 3"/>
                <a:gd name="T15" fmla="*/ 1 h 2"/>
                <a:gd name="T16" fmla="*/ 2 w 3"/>
                <a:gd name="T17" fmla="*/ 1 h 2"/>
                <a:gd name="T18" fmla="*/ 2 w 3"/>
                <a:gd name="T19" fmla="*/ 1 h 2"/>
                <a:gd name="T20" fmla="*/ 2 w 3"/>
                <a:gd name="T21" fmla="*/ 1 h 2"/>
                <a:gd name="T22" fmla="*/ 2 w 3"/>
                <a:gd name="T23" fmla="*/ 1 h 2"/>
                <a:gd name="T24" fmla="*/ 2 w 3"/>
                <a:gd name="T25" fmla="*/ 1 h 2"/>
                <a:gd name="T26" fmla="*/ 2 w 3"/>
                <a:gd name="T27" fmla="*/ 2 h 2"/>
                <a:gd name="T28" fmla="*/ 2 w 3"/>
                <a:gd name="T29" fmla="*/ 2 h 2"/>
                <a:gd name="T30" fmla="*/ 2 w 3"/>
                <a:gd name="T31" fmla="*/ 1 h 2"/>
                <a:gd name="T32" fmla="*/ 3 w 3"/>
                <a:gd name="T33" fmla="*/ 2 h 2"/>
                <a:gd name="T34" fmla="*/ 3 w 3"/>
                <a:gd name="T35" fmla="*/ 2 h 2"/>
                <a:gd name="T36" fmla="*/ 3 w 3"/>
                <a:gd name="T37" fmla="*/ 2 h 2"/>
                <a:gd name="T38" fmla="*/ 3 w 3"/>
                <a:gd name="T39" fmla="*/ 2 h 2"/>
                <a:gd name="T40" fmla="*/ 3 w 3"/>
                <a:gd name="T41" fmla="*/ 2 h 2"/>
                <a:gd name="T42" fmla="*/ 3 w 3"/>
                <a:gd name="T43" fmla="*/ 2 h 2"/>
                <a:gd name="T44" fmla="*/ 3 w 3"/>
                <a:gd name="T45" fmla="*/ 2 h 2"/>
                <a:gd name="T46" fmla="*/ 2 w 3"/>
                <a:gd name="T47" fmla="*/ 2 h 2"/>
                <a:gd name="T48" fmla="*/ 3 w 3"/>
                <a:gd name="T49" fmla="*/ 2 h 2"/>
                <a:gd name="T50" fmla="*/ 3 w 3"/>
                <a:gd name="T51" fmla="*/ 2 h 2"/>
                <a:gd name="T52" fmla="*/ 2 w 3"/>
                <a:gd name="T53" fmla="*/ 2 h 2"/>
                <a:gd name="T54" fmla="*/ 2 w 3"/>
                <a:gd name="T55" fmla="*/ 2 h 2"/>
                <a:gd name="T56" fmla="*/ 2 w 3"/>
                <a:gd name="T57" fmla="*/ 2 h 2"/>
                <a:gd name="T58" fmla="*/ 1 w 3"/>
                <a:gd name="T59" fmla="*/ 2 h 2"/>
                <a:gd name="T60" fmla="*/ 1 w 3"/>
                <a:gd name="T61" fmla="*/ 2 h 2"/>
                <a:gd name="T62" fmla="*/ 1 w 3"/>
                <a:gd name="T63" fmla="*/ 1 h 2"/>
                <a:gd name="T64" fmla="*/ 1 w 3"/>
                <a:gd name="T65" fmla="*/ 1 h 2"/>
                <a:gd name="T66" fmla="*/ 1 w 3"/>
                <a:gd name="T67" fmla="*/ 1 h 2"/>
                <a:gd name="T68" fmla="*/ 1 w 3"/>
                <a:gd name="T69" fmla="*/ 1 h 2"/>
                <a:gd name="T70" fmla="*/ 1 w 3"/>
                <a:gd name="T71" fmla="*/ 1 h 2"/>
                <a:gd name="T72" fmla="*/ 1 w 3"/>
                <a:gd name="T73" fmla="*/ 1 h 2"/>
                <a:gd name="T74" fmla="*/ 1 w 3"/>
                <a:gd name="T75" fmla="*/ 1 h 2"/>
                <a:gd name="T76" fmla="*/ 1 w 3"/>
                <a:gd name="T77" fmla="*/ 1 h 2"/>
                <a:gd name="T78" fmla="*/ 1 w 3"/>
                <a:gd name="T79" fmla="*/ 1 h 2"/>
                <a:gd name="T80" fmla="*/ 1 w 3"/>
                <a:gd name="T81" fmla="*/ 0 h 2"/>
                <a:gd name="T82" fmla="*/ 1 w 3"/>
                <a:gd name="T83" fmla="*/ 0 h 2"/>
                <a:gd name="T84" fmla="*/ 1 w 3"/>
                <a:gd name="T85" fmla="*/ 0 h 2"/>
                <a:gd name="T86" fmla="*/ 1 w 3"/>
                <a:gd name="T87" fmla="*/ 0 h 2"/>
                <a:gd name="T88" fmla="*/ 1 w 3"/>
                <a:gd name="T89" fmla="*/ 0 h 2"/>
                <a:gd name="T90" fmla="*/ 1 w 3"/>
                <a:gd name="T91" fmla="*/ 0 h 2"/>
                <a:gd name="T92" fmla="*/ 1 w 3"/>
                <a:gd name="T93" fmla="*/ 0 h 2"/>
                <a:gd name="T94" fmla="*/ 1 w 3"/>
                <a:gd name="T95" fmla="*/ 0 h 2"/>
                <a:gd name="T96" fmla="*/ 1 w 3"/>
                <a:gd name="T97" fmla="*/ 0 h 2"/>
                <a:gd name="T98" fmla="*/ 1 w 3"/>
                <a:gd name="T99" fmla="*/ 0 h 2"/>
                <a:gd name="T100" fmla="*/ 0 w 3"/>
                <a:gd name="T101" fmla="*/ 0 h 2"/>
                <a:gd name="T102" fmla="*/ 0 w 3"/>
                <a:gd name="T103" fmla="*/ 0 h 2"/>
                <a:gd name="T104" fmla="*/ 0 w 3"/>
                <a:gd name="T105" fmla="*/ 0 h 2"/>
                <a:gd name="T106" fmla="*/ 0 w 3"/>
                <a:gd name="T107" fmla="*/ 0 h 2"/>
                <a:gd name="T108" fmla="*/ 0 w 3"/>
                <a:gd name="T10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" h="2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5" name="Freeform 71"/>
            <p:cNvSpPr>
              <a:spLocks noEditPoints="1"/>
            </p:cNvSpPr>
            <p:nvPr/>
          </p:nvSpPr>
          <p:spPr bwMode="auto">
            <a:xfrm>
              <a:off x="5909279" y="3874699"/>
              <a:ext cx="1305" cy="4134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3 h 3"/>
                <a:gd name="T4" fmla="*/ 1 w 1"/>
                <a:gd name="T5" fmla="*/ 3 h 3"/>
                <a:gd name="T6" fmla="*/ 1 w 1"/>
                <a:gd name="T7" fmla="*/ 2 h 3"/>
                <a:gd name="T8" fmla="*/ 1 w 1"/>
                <a:gd name="T9" fmla="*/ 2 h 3"/>
                <a:gd name="T10" fmla="*/ 1 w 1"/>
                <a:gd name="T11" fmla="*/ 2 h 3"/>
                <a:gd name="T12" fmla="*/ 1 w 1"/>
                <a:gd name="T13" fmla="*/ 3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1 h 3"/>
                <a:gd name="T22" fmla="*/ 1 w 1"/>
                <a:gd name="T23" fmla="*/ 1 h 3"/>
                <a:gd name="T24" fmla="*/ 1 w 1"/>
                <a:gd name="T25" fmla="*/ 1 h 3"/>
                <a:gd name="T26" fmla="*/ 1 w 1"/>
                <a:gd name="T27" fmla="*/ 1 h 3"/>
                <a:gd name="T28" fmla="*/ 0 w 1"/>
                <a:gd name="T29" fmla="*/ 0 h 3"/>
                <a:gd name="T30" fmla="*/ 0 w 1"/>
                <a:gd name="T31" fmla="*/ 0 h 3"/>
                <a:gd name="T32" fmla="*/ 0 w 1"/>
                <a:gd name="T33" fmla="*/ 0 h 3"/>
                <a:gd name="T34" fmla="*/ 0 w 1"/>
                <a:gd name="T35" fmla="*/ 0 h 3"/>
                <a:gd name="T36" fmla="*/ 0 w 1"/>
                <a:gd name="T37" fmla="*/ 0 h 3"/>
                <a:gd name="T38" fmla="*/ 0 w 1"/>
                <a:gd name="T39" fmla="*/ 0 h 3"/>
                <a:gd name="T40" fmla="*/ 0 w 1"/>
                <a:gd name="T41" fmla="*/ 0 h 3"/>
                <a:gd name="T42" fmla="*/ 0 w 1"/>
                <a:gd name="T43" fmla="*/ 0 h 3"/>
                <a:gd name="T44" fmla="*/ 0 w 1"/>
                <a:gd name="T4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close/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6" name="Freeform 72"/>
            <p:cNvSpPr>
              <a:spLocks/>
            </p:cNvSpPr>
            <p:nvPr/>
          </p:nvSpPr>
          <p:spPr bwMode="auto">
            <a:xfrm>
              <a:off x="6037202" y="3683181"/>
              <a:ext cx="37854" cy="48224"/>
            </a:xfrm>
            <a:custGeom>
              <a:avLst/>
              <a:gdLst>
                <a:gd name="T0" fmla="*/ 11 w 29"/>
                <a:gd name="T1" fmla="*/ 1 h 35"/>
                <a:gd name="T2" fmla="*/ 13 w 29"/>
                <a:gd name="T3" fmla="*/ 3 h 35"/>
                <a:gd name="T4" fmla="*/ 15 w 29"/>
                <a:gd name="T5" fmla="*/ 3 h 35"/>
                <a:gd name="T6" fmla="*/ 15 w 29"/>
                <a:gd name="T7" fmla="*/ 4 h 35"/>
                <a:gd name="T8" fmla="*/ 15 w 29"/>
                <a:gd name="T9" fmla="*/ 4 h 35"/>
                <a:gd name="T10" fmla="*/ 18 w 29"/>
                <a:gd name="T11" fmla="*/ 4 h 35"/>
                <a:gd name="T12" fmla="*/ 19 w 29"/>
                <a:gd name="T13" fmla="*/ 6 h 35"/>
                <a:gd name="T14" fmla="*/ 22 w 29"/>
                <a:gd name="T15" fmla="*/ 7 h 35"/>
                <a:gd name="T16" fmla="*/ 21 w 29"/>
                <a:gd name="T17" fmla="*/ 9 h 35"/>
                <a:gd name="T18" fmla="*/ 22 w 29"/>
                <a:gd name="T19" fmla="*/ 10 h 35"/>
                <a:gd name="T20" fmla="*/ 22 w 29"/>
                <a:gd name="T21" fmla="*/ 12 h 35"/>
                <a:gd name="T22" fmla="*/ 24 w 29"/>
                <a:gd name="T23" fmla="*/ 14 h 35"/>
                <a:gd name="T24" fmla="*/ 24 w 29"/>
                <a:gd name="T25" fmla="*/ 16 h 35"/>
                <a:gd name="T26" fmla="*/ 25 w 29"/>
                <a:gd name="T27" fmla="*/ 17 h 35"/>
                <a:gd name="T28" fmla="*/ 26 w 29"/>
                <a:gd name="T29" fmla="*/ 19 h 35"/>
                <a:gd name="T30" fmla="*/ 28 w 29"/>
                <a:gd name="T31" fmla="*/ 21 h 35"/>
                <a:gd name="T32" fmla="*/ 28 w 29"/>
                <a:gd name="T33" fmla="*/ 23 h 35"/>
                <a:gd name="T34" fmla="*/ 29 w 29"/>
                <a:gd name="T35" fmla="*/ 23 h 35"/>
                <a:gd name="T36" fmla="*/ 28 w 29"/>
                <a:gd name="T37" fmla="*/ 24 h 35"/>
                <a:gd name="T38" fmla="*/ 26 w 29"/>
                <a:gd name="T39" fmla="*/ 23 h 35"/>
                <a:gd name="T40" fmla="*/ 24 w 29"/>
                <a:gd name="T41" fmla="*/ 23 h 35"/>
                <a:gd name="T42" fmla="*/ 22 w 29"/>
                <a:gd name="T43" fmla="*/ 24 h 35"/>
                <a:gd name="T44" fmla="*/ 22 w 29"/>
                <a:gd name="T45" fmla="*/ 22 h 35"/>
                <a:gd name="T46" fmla="*/ 20 w 29"/>
                <a:gd name="T47" fmla="*/ 23 h 35"/>
                <a:gd name="T48" fmla="*/ 19 w 29"/>
                <a:gd name="T49" fmla="*/ 27 h 35"/>
                <a:gd name="T50" fmla="*/ 17 w 29"/>
                <a:gd name="T51" fmla="*/ 31 h 35"/>
                <a:gd name="T52" fmla="*/ 16 w 29"/>
                <a:gd name="T53" fmla="*/ 33 h 35"/>
                <a:gd name="T54" fmla="*/ 14 w 29"/>
                <a:gd name="T55" fmla="*/ 34 h 35"/>
                <a:gd name="T56" fmla="*/ 13 w 29"/>
                <a:gd name="T57" fmla="*/ 34 h 35"/>
                <a:gd name="T58" fmla="*/ 13 w 29"/>
                <a:gd name="T59" fmla="*/ 31 h 35"/>
                <a:gd name="T60" fmla="*/ 13 w 29"/>
                <a:gd name="T61" fmla="*/ 29 h 35"/>
                <a:gd name="T62" fmla="*/ 13 w 29"/>
                <a:gd name="T63" fmla="*/ 27 h 35"/>
                <a:gd name="T64" fmla="*/ 13 w 29"/>
                <a:gd name="T65" fmla="*/ 26 h 35"/>
                <a:gd name="T66" fmla="*/ 13 w 29"/>
                <a:gd name="T67" fmla="*/ 26 h 35"/>
                <a:gd name="T68" fmla="*/ 14 w 29"/>
                <a:gd name="T69" fmla="*/ 25 h 35"/>
                <a:gd name="T70" fmla="*/ 14 w 29"/>
                <a:gd name="T71" fmla="*/ 24 h 35"/>
                <a:gd name="T72" fmla="*/ 14 w 29"/>
                <a:gd name="T73" fmla="*/ 21 h 35"/>
                <a:gd name="T74" fmla="*/ 13 w 29"/>
                <a:gd name="T75" fmla="*/ 20 h 35"/>
                <a:gd name="T76" fmla="*/ 13 w 29"/>
                <a:gd name="T77" fmla="*/ 18 h 35"/>
                <a:gd name="T78" fmla="*/ 11 w 29"/>
                <a:gd name="T79" fmla="*/ 16 h 35"/>
                <a:gd name="T80" fmla="*/ 10 w 29"/>
                <a:gd name="T81" fmla="*/ 16 h 35"/>
                <a:gd name="T82" fmla="*/ 10 w 29"/>
                <a:gd name="T83" fmla="*/ 15 h 35"/>
                <a:gd name="T84" fmla="*/ 8 w 29"/>
                <a:gd name="T85" fmla="*/ 13 h 35"/>
                <a:gd name="T86" fmla="*/ 8 w 29"/>
                <a:gd name="T87" fmla="*/ 12 h 35"/>
                <a:gd name="T88" fmla="*/ 7 w 29"/>
                <a:gd name="T89" fmla="*/ 11 h 35"/>
                <a:gd name="T90" fmla="*/ 6 w 29"/>
                <a:gd name="T91" fmla="*/ 9 h 35"/>
                <a:gd name="T92" fmla="*/ 5 w 29"/>
                <a:gd name="T93" fmla="*/ 7 h 35"/>
                <a:gd name="T94" fmla="*/ 4 w 29"/>
                <a:gd name="T95" fmla="*/ 5 h 35"/>
                <a:gd name="T96" fmla="*/ 3 w 29"/>
                <a:gd name="T97" fmla="*/ 4 h 35"/>
                <a:gd name="T98" fmla="*/ 2 w 29"/>
                <a:gd name="T99" fmla="*/ 3 h 35"/>
                <a:gd name="T100" fmla="*/ 2 w 29"/>
                <a:gd name="T101" fmla="*/ 2 h 35"/>
                <a:gd name="T102" fmla="*/ 4 w 29"/>
                <a:gd name="T103" fmla="*/ 1 h 35"/>
                <a:gd name="T104" fmla="*/ 5 w 29"/>
                <a:gd name="T105" fmla="*/ 1 h 35"/>
                <a:gd name="T106" fmla="*/ 6 w 29"/>
                <a:gd name="T107" fmla="*/ 0 h 35"/>
                <a:gd name="T108" fmla="*/ 8 w 29"/>
                <a:gd name="T10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35">
                  <a:moveTo>
                    <a:pt x="9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7"/>
                  </a:lnTo>
                  <a:lnTo>
                    <a:pt x="20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2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7" name="Freeform 73"/>
            <p:cNvSpPr>
              <a:spLocks/>
            </p:cNvSpPr>
            <p:nvPr/>
          </p:nvSpPr>
          <p:spPr bwMode="auto">
            <a:xfrm>
              <a:off x="5836181" y="3757584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0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0 w 1"/>
                <a:gd name="T25" fmla="*/ 1 h 1"/>
                <a:gd name="T26" fmla="*/ 0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1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1 w 1"/>
                <a:gd name="T47" fmla="*/ 0 h 1"/>
                <a:gd name="T48" fmla="*/ 1 w 1"/>
                <a:gd name="T49" fmla="*/ 0 h 1"/>
                <a:gd name="T50" fmla="*/ 1 w 1"/>
                <a:gd name="T5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8" name="Freeform 74"/>
            <p:cNvSpPr>
              <a:spLocks/>
            </p:cNvSpPr>
            <p:nvPr/>
          </p:nvSpPr>
          <p:spPr bwMode="auto">
            <a:xfrm>
              <a:off x="5952356" y="3760340"/>
              <a:ext cx="19580" cy="26179"/>
            </a:xfrm>
            <a:custGeom>
              <a:avLst/>
              <a:gdLst>
                <a:gd name="T0" fmla="*/ 7 w 15"/>
                <a:gd name="T1" fmla="*/ 2 h 19"/>
                <a:gd name="T2" fmla="*/ 8 w 15"/>
                <a:gd name="T3" fmla="*/ 2 h 19"/>
                <a:gd name="T4" fmla="*/ 9 w 15"/>
                <a:gd name="T5" fmla="*/ 4 h 19"/>
                <a:gd name="T6" fmla="*/ 10 w 15"/>
                <a:gd name="T7" fmla="*/ 4 h 19"/>
                <a:gd name="T8" fmla="*/ 11 w 15"/>
                <a:gd name="T9" fmla="*/ 5 h 19"/>
                <a:gd name="T10" fmla="*/ 12 w 15"/>
                <a:gd name="T11" fmla="*/ 6 h 19"/>
                <a:gd name="T12" fmla="*/ 13 w 15"/>
                <a:gd name="T13" fmla="*/ 7 h 19"/>
                <a:gd name="T14" fmla="*/ 14 w 15"/>
                <a:gd name="T15" fmla="*/ 7 h 19"/>
                <a:gd name="T16" fmla="*/ 15 w 15"/>
                <a:gd name="T17" fmla="*/ 8 h 19"/>
                <a:gd name="T18" fmla="*/ 14 w 15"/>
                <a:gd name="T19" fmla="*/ 10 h 19"/>
                <a:gd name="T20" fmla="*/ 13 w 15"/>
                <a:gd name="T21" fmla="*/ 9 h 19"/>
                <a:gd name="T22" fmla="*/ 13 w 15"/>
                <a:gd name="T23" fmla="*/ 10 h 19"/>
                <a:gd name="T24" fmla="*/ 13 w 15"/>
                <a:gd name="T25" fmla="*/ 12 h 19"/>
                <a:gd name="T26" fmla="*/ 12 w 15"/>
                <a:gd name="T27" fmla="*/ 12 h 19"/>
                <a:gd name="T28" fmla="*/ 11 w 15"/>
                <a:gd name="T29" fmla="*/ 13 h 19"/>
                <a:gd name="T30" fmla="*/ 11 w 15"/>
                <a:gd name="T31" fmla="*/ 11 h 19"/>
                <a:gd name="T32" fmla="*/ 11 w 15"/>
                <a:gd name="T33" fmla="*/ 11 h 19"/>
                <a:gd name="T34" fmla="*/ 9 w 15"/>
                <a:gd name="T35" fmla="*/ 12 h 19"/>
                <a:gd name="T36" fmla="*/ 9 w 15"/>
                <a:gd name="T37" fmla="*/ 13 h 19"/>
                <a:gd name="T38" fmla="*/ 8 w 15"/>
                <a:gd name="T39" fmla="*/ 14 h 19"/>
                <a:gd name="T40" fmla="*/ 7 w 15"/>
                <a:gd name="T41" fmla="*/ 15 h 19"/>
                <a:gd name="T42" fmla="*/ 8 w 15"/>
                <a:gd name="T43" fmla="*/ 17 h 19"/>
                <a:gd name="T44" fmla="*/ 8 w 15"/>
                <a:gd name="T45" fmla="*/ 18 h 19"/>
                <a:gd name="T46" fmla="*/ 7 w 15"/>
                <a:gd name="T47" fmla="*/ 19 h 19"/>
                <a:gd name="T48" fmla="*/ 7 w 15"/>
                <a:gd name="T49" fmla="*/ 19 h 19"/>
                <a:gd name="T50" fmla="*/ 6 w 15"/>
                <a:gd name="T51" fmla="*/ 19 h 19"/>
                <a:gd name="T52" fmla="*/ 6 w 15"/>
                <a:gd name="T53" fmla="*/ 18 h 19"/>
                <a:gd name="T54" fmla="*/ 6 w 15"/>
                <a:gd name="T55" fmla="*/ 18 h 19"/>
                <a:gd name="T56" fmla="*/ 5 w 15"/>
                <a:gd name="T57" fmla="*/ 18 h 19"/>
                <a:gd name="T58" fmla="*/ 6 w 15"/>
                <a:gd name="T59" fmla="*/ 18 h 19"/>
                <a:gd name="T60" fmla="*/ 5 w 15"/>
                <a:gd name="T61" fmla="*/ 17 h 19"/>
                <a:gd name="T62" fmla="*/ 5 w 15"/>
                <a:gd name="T63" fmla="*/ 17 h 19"/>
                <a:gd name="T64" fmla="*/ 4 w 15"/>
                <a:gd name="T65" fmla="*/ 15 h 19"/>
                <a:gd name="T66" fmla="*/ 3 w 15"/>
                <a:gd name="T67" fmla="*/ 15 h 19"/>
                <a:gd name="T68" fmla="*/ 2 w 15"/>
                <a:gd name="T69" fmla="*/ 14 h 19"/>
                <a:gd name="T70" fmla="*/ 2 w 15"/>
                <a:gd name="T71" fmla="*/ 14 h 19"/>
                <a:gd name="T72" fmla="*/ 1 w 15"/>
                <a:gd name="T73" fmla="*/ 13 h 19"/>
                <a:gd name="T74" fmla="*/ 2 w 15"/>
                <a:gd name="T75" fmla="*/ 14 h 19"/>
                <a:gd name="T76" fmla="*/ 2 w 15"/>
                <a:gd name="T77" fmla="*/ 13 h 19"/>
                <a:gd name="T78" fmla="*/ 2 w 15"/>
                <a:gd name="T79" fmla="*/ 13 h 19"/>
                <a:gd name="T80" fmla="*/ 2 w 15"/>
                <a:gd name="T81" fmla="*/ 12 h 19"/>
                <a:gd name="T82" fmla="*/ 1 w 15"/>
                <a:gd name="T83" fmla="*/ 13 h 19"/>
                <a:gd name="T84" fmla="*/ 1 w 15"/>
                <a:gd name="T85" fmla="*/ 13 h 19"/>
                <a:gd name="T86" fmla="*/ 0 w 15"/>
                <a:gd name="T87" fmla="*/ 13 h 19"/>
                <a:gd name="T88" fmla="*/ 1 w 15"/>
                <a:gd name="T89" fmla="*/ 11 h 19"/>
                <a:gd name="T90" fmla="*/ 1 w 15"/>
                <a:gd name="T91" fmla="*/ 10 h 19"/>
                <a:gd name="T92" fmla="*/ 0 w 15"/>
                <a:gd name="T93" fmla="*/ 9 h 19"/>
                <a:gd name="T94" fmla="*/ 1 w 15"/>
                <a:gd name="T95" fmla="*/ 7 h 19"/>
                <a:gd name="T96" fmla="*/ 2 w 15"/>
                <a:gd name="T97" fmla="*/ 6 h 19"/>
                <a:gd name="T98" fmla="*/ 2 w 15"/>
                <a:gd name="T99" fmla="*/ 4 h 19"/>
                <a:gd name="T100" fmla="*/ 3 w 15"/>
                <a:gd name="T101" fmla="*/ 3 h 19"/>
                <a:gd name="T102" fmla="*/ 4 w 15"/>
                <a:gd name="T103" fmla="*/ 3 h 19"/>
                <a:gd name="T104" fmla="*/ 5 w 15"/>
                <a:gd name="T105" fmla="*/ 4 h 19"/>
                <a:gd name="T106" fmla="*/ 5 w 15"/>
                <a:gd name="T107" fmla="*/ 3 h 19"/>
                <a:gd name="T108" fmla="*/ 5 w 15"/>
                <a:gd name="T109" fmla="*/ 2 h 19"/>
                <a:gd name="T110" fmla="*/ 4 w 15"/>
                <a:gd name="T111" fmla="*/ 0 h 19"/>
                <a:gd name="T112" fmla="*/ 5 w 15"/>
                <a:gd name="T11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" h="19">
                  <a:moveTo>
                    <a:pt x="6" y="1"/>
                  </a:move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7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9" name="Freeform 75"/>
            <p:cNvSpPr>
              <a:spLocks/>
            </p:cNvSpPr>
            <p:nvPr/>
          </p:nvSpPr>
          <p:spPr bwMode="auto">
            <a:xfrm>
              <a:off x="5956271" y="3781007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1 w 1"/>
                <a:gd name="T8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0" name="Freeform 76"/>
            <p:cNvSpPr>
              <a:spLocks noEditPoints="1"/>
            </p:cNvSpPr>
            <p:nvPr/>
          </p:nvSpPr>
          <p:spPr bwMode="auto">
            <a:xfrm>
              <a:off x="5953660" y="3778251"/>
              <a:ext cx="5221" cy="6890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5 h 5"/>
                <a:gd name="T4" fmla="*/ 4 w 4"/>
                <a:gd name="T5" fmla="*/ 5 h 5"/>
                <a:gd name="T6" fmla="*/ 4 w 4"/>
                <a:gd name="T7" fmla="*/ 5 h 5"/>
                <a:gd name="T8" fmla="*/ 4 w 4"/>
                <a:gd name="T9" fmla="*/ 5 h 5"/>
                <a:gd name="T10" fmla="*/ 4 w 4"/>
                <a:gd name="T11" fmla="*/ 5 h 5"/>
                <a:gd name="T12" fmla="*/ 0 w 4"/>
                <a:gd name="T13" fmla="*/ 1 h 5"/>
                <a:gd name="T14" fmla="*/ 0 w 4"/>
                <a:gd name="T15" fmla="*/ 1 h 5"/>
                <a:gd name="T16" fmla="*/ 0 w 4"/>
                <a:gd name="T17" fmla="*/ 1 h 5"/>
                <a:gd name="T18" fmla="*/ 0 w 4"/>
                <a:gd name="T19" fmla="*/ 1 h 5"/>
                <a:gd name="T20" fmla="*/ 0 w 4"/>
                <a:gd name="T21" fmla="*/ 1 h 5"/>
                <a:gd name="T22" fmla="*/ 1 w 4"/>
                <a:gd name="T23" fmla="*/ 0 h 5"/>
                <a:gd name="T24" fmla="*/ 1 w 4"/>
                <a:gd name="T25" fmla="*/ 0 h 5"/>
                <a:gd name="T26" fmla="*/ 1 w 4"/>
                <a:gd name="T27" fmla="*/ 0 h 5"/>
                <a:gd name="T28" fmla="*/ 1 w 4"/>
                <a:gd name="T29" fmla="*/ 0 h 5"/>
                <a:gd name="T30" fmla="*/ 1 w 4"/>
                <a:gd name="T31" fmla="*/ 0 h 5"/>
                <a:gd name="T32" fmla="*/ 1 w 4"/>
                <a:gd name="T33" fmla="*/ 0 h 5"/>
                <a:gd name="T34" fmla="*/ 1 w 4"/>
                <a:gd name="T35" fmla="*/ 0 h 5"/>
                <a:gd name="T36" fmla="*/ 1 w 4"/>
                <a:gd name="T37" fmla="*/ 0 h 5"/>
                <a:gd name="T38" fmla="*/ 1 w 4"/>
                <a:gd name="T39" fmla="*/ 0 h 5"/>
                <a:gd name="T40" fmla="*/ 1 w 4"/>
                <a:gd name="T41" fmla="*/ 0 h 5"/>
                <a:gd name="T42" fmla="*/ 1 w 4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1" name="Freeform 77"/>
            <p:cNvSpPr>
              <a:spLocks noEditPoints="1"/>
            </p:cNvSpPr>
            <p:nvPr/>
          </p:nvSpPr>
          <p:spPr bwMode="auto">
            <a:xfrm>
              <a:off x="5794410" y="3601889"/>
              <a:ext cx="40465" cy="44091"/>
            </a:xfrm>
            <a:custGeom>
              <a:avLst/>
              <a:gdLst>
                <a:gd name="T0" fmla="*/ 4 w 31"/>
                <a:gd name="T1" fmla="*/ 25 h 32"/>
                <a:gd name="T2" fmla="*/ 6 w 31"/>
                <a:gd name="T3" fmla="*/ 25 h 32"/>
                <a:gd name="T4" fmla="*/ 4 w 31"/>
                <a:gd name="T5" fmla="*/ 27 h 32"/>
                <a:gd name="T6" fmla="*/ 0 w 31"/>
                <a:gd name="T7" fmla="*/ 25 h 32"/>
                <a:gd name="T8" fmla="*/ 7 w 31"/>
                <a:gd name="T9" fmla="*/ 25 h 32"/>
                <a:gd name="T10" fmla="*/ 12 w 31"/>
                <a:gd name="T11" fmla="*/ 20 h 32"/>
                <a:gd name="T12" fmla="*/ 12 w 31"/>
                <a:gd name="T13" fmla="*/ 20 h 32"/>
                <a:gd name="T14" fmla="*/ 7 w 31"/>
                <a:gd name="T15" fmla="*/ 25 h 32"/>
                <a:gd name="T16" fmla="*/ 3 w 31"/>
                <a:gd name="T17" fmla="*/ 24 h 32"/>
                <a:gd name="T18" fmla="*/ 3 w 31"/>
                <a:gd name="T19" fmla="*/ 22 h 32"/>
                <a:gd name="T20" fmla="*/ 3 w 31"/>
                <a:gd name="T21" fmla="*/ 23 h 32"/>
                <a:gd name="T22" fmla="*/ 6 w 31"/>
                <a:gd name="T23" fmla="*/ 24 h 32"/>
                <a:gd name="T24" fmla="*/ 6 w 31"/>
                <a:gd name="T25" fmla="*/ 22 h 32"/>
                <a:gd name="T26" fmla="*/ 6 w 31"/>
                <a:gd name="T27" fmla="*/ 22 h 32"/>
                <a:gd name="T28" fmla="*/ 4 w 31"/>
                <a:gd name="T29" fmla="*/ 20 h 32"/>
                <a:gd name="T30" fmla="*/ 6 w 31"/>
                <a:gd name="T31" fmla="*/ 18 h 32"/>
                <a:gd name="T32" fmla="*/ 8 w 31"/>
                <a:gd name="T33" fmla="*/ 19 h 32"/>
                <a:gd name="T34" fmla="*/ 8 w 31"/>
                <a:gd name="T35" fmla="*/ 21 h 32"/>
                <a:gd name="T36" fmla="*/ 16 w 31"/>
                <a:gd name="T37" fmla="*/ 18 h 32"/>
                <a:gd name="T38" fmla="*/ 13 w 31"/>
                <a:gd name="T39" fmla="*/ 19 h 32"/>
                <a:gd name="T40" fmla="*/ 13 w 31"/>
                <a:gd name="T41" fmla="*/ 18 h 32"/>
                <a:gd name="T42" fmla="*/ 8 w 31"/>
                <a:gd name="T43" fmla="*/ 21 h 32"/>
                <a:gd name="T44" fmla="*/ 12 w 31"/>
                <a:gd name="T45" fmla="*/ 20 h 32"/>
                <a:gd name="T46" fmla="*/ 14 w 31"/>
                <a:gd name="T47" fmla="*/ 20 h 32"/>
                <a:gd name="T48" fmla="*/ 15 w 31"/>
                <a:gd name="T49" fmla="*/ 19 h 32"/>
                <a:gd name="T50" fmla="*/ 14 w 31"/>
                <a:gd name="T51" fmla="*/ 17 h 32"/>
                <a:gd name="T52" fmla="*/ 10 w 31"/>
                <a:gd name="T53" fmla="*/ 18 h 32"/>
                <a:gd name="T54" fmla="*/ 8 w 31"/>
                <a:gd name="T55" fmla="*/ 19 h 32"/>
                <a:gd name="T56" fmla="*/ 6 w 31"/>
                <a:gd name="T57" fmla="*/ 18 h 32"/>
                <a:gd name="T58" fmla="*/ 10 w 31"/>
                <a:gd name="T59" fmla="*/ 12 h 32"/>
                <a:gd name="T60" fmla="*/ 12 w 31"/>
                <a:gd name="T61" fmla="*/ 12 h 32"/>
                <a:gd name="T62" fmla="*/ 15 w 31"/>
                <a:gd name="T63" fmla="*/ 12 h 32"/>
                <a:gd name="T64" fmla="*/ 17 w 31"/>
                <a:gd name="T65" fmla="*/ 11 h 32"/>
                <a:gd name="T66" fmla="*/ 19 w 31"/>
                <a:gd name="T67" fmla="*/ 7 h 32"/>
                <a:gd name="T68" fmla="*/ 16 w 31"/>
                <a:gd name="T69" fmla="*/ 5 h 32"/>
                <a:gd name="T70" fmla="*/ 14 w 31"/>
                <a:gd name="T71" fmla="*/ 7 h 32"/>
                <a:gd name="T72" fmla="*/ 14 w 31"/>
                <a:gd name="T73" fmla="*/ 10 h 32"/>
                <a:gd name="T74" fmla="*/ 14 w 31"/>
                <a:gd name="T75" fmla="*/ 12 h 32"/>
                <a:gd name="T76" fmla="*/ 12 w 31"/>
                <a:gd name="T77" fmla="*/ 12 h 32"/>
                <a:gd name="T78" fmla="*/ 10 w 31"/>
                <a:gd name="T79" fmla="*/ 9 h 32"/>
                <a:gd name="T80" fmla="*/ 12 w 31"/>
                <a:gd name="T81" fmla="*/ 7 h 32"/>
                <a:gd name="T82" fmla="*/ 17 w 31"/>
                <a:gd name="T83" fmla="*/ 3 h 32"/>
                <a:gd name="T84" fmla="*/ 21 w 31"/>
                <a:gd name="T85" fmla="*/ 0 h 32"/>
                <a:gd name="T86" fmla="*/ 28 w 31"/>
                <a:gd name="T87" fmla="*/ 0 h 32"/>
                <a:gd name="T88" fmla="*/ 30 w 31"/>
                <a:gd name="T89" fmla="*/ 2 h 32"/>
                <a:gd name="T90" fmla="*/ 30 w 31"/>
                <a:gd name="T91" fmla="*/ 7 h 32"/>
                <a:gd name="T92" fmla="*/ 27 w 31"/>
                <a:gd name="T93" fmla="*/ 11 h 32"/>
                <a:gd name="T94" fmla="*/ 29 w 31"/>
                <a:gd name="T95" fmla="*/ 15 h 32"/>
                <a:gd name="T96" fmla="*/ 28 w 31"/>
                <a:gd name="T97" fmla="*/ 18 h 32"/>
                <a:gd name="T98" fmla="*/ 24 w 31"/>
                <a:gd name="T99" fmla="*/ 19 h 32"/>
                <a:gd name="T100" fmla="*/ 21 w 31"/>
                <a:gd name="T101" fmla="*/ 20 h 32"/>
                <a:gd name="T102" fmla="*/ 23 w 31"/>
                <a:gd name="T103" fmla="*/ 24 h 32"/>
                <a:gd name="T104" fmla="*/ 22 w 31"/>
                <a:gd name="T105" fmla="*/ 28 h 32"/>
                <a:gd name="T106" fmla="*/ 21 w 31"/>
                <a:gd name="T107" fmla="*/ 30 h 32"/>
                <a:gd name="T108" fmla="*/ 19 w 31"/>
                <a:gd name="T109" fmla="*/ 31 h 32"/>
                <a:gd name="T110" fmla="*/ 20 w 31"/>
                <a:gd name="T111" fmla="*/ 28 h 32"/>
                <a:gd name="T112" fmla="*/ 16 w 31"/>
                <a:gd name="T113" fmla="*/ 26 h 32"/>
                <a:gd name="T114" fmla="*/ 13 w 31"/>
                <a:gd name="T115" fmla="*/ 25 h 32"/>
                <a:gd name="T116" fmla="*/ 10 w 31"/>
                <a:gd name="T117" fmla="*/ 24 h 32"/>
                <a:gd name="T118" fmla="*/ 8 w 31"/>
                <a:gd name="T119" fmla="*/ 25 h 32"/>
                <a:gd name="T120" fmla="*/ 8 w 31"/>
                <a:gd name="T121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" h="32"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5" y="26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4" y="25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6" y="21"/>
                  </a:move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close/>
                  <a:moveTo>
                    <a:pt x="14" y="17"/>
                  </a:move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close/>
                  <a:moveTo>
                    <a:pt x="8" y="21"/>
                  </a:move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8" y="23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2" name="Freeform 78"/>
            <p:cNvSpPr>
              <a:spLocks noEditPoints="1"/>
            </p:cNvSpPr>
            <p:nvPr/>
          </p:nvSpPr>
          <p:spPr bwMode="auto">
            <a:xfrm>
              <a:off x="5797021" y="3600511"/>
              <a:ext cx="30022" cy="31691"/>
            </a:xfrm>
            <a:custGeom>
              <a:avLst/>
              <a:gdLst>
                <a:gd name="T0" fmla="*/ 1 w 23"/>
                <a:gd name="T1" fmla="*/ 23 h 23"/>
                <a:gd name="T2" fmla="*/ 9 w 23"/>
                <a:gd name="T3" fmla="*/ 21 h 23"/>
                <a:gd name="T4" fmla="*/ 5 w 23"/>
                <a:gd name="T5" fmla="*/ 21 h 23"/>
                <a:gd name="T6" fmla="*/ 9 w 23"/>
                <a:gd name="T7" fmla="*/ 21 h 23"/>
                <a:gd name="T8" fmla="*/ 9 w 23"/>
                <a:gd name="T9" fmla="*/ 20 h 23"/>
                <a:gd name="T10" fmla="*/ 10 w 23"/>
                <a:gd name="T11" fmla="*/ 21 h 23"/>
                <a:gd name="T12" fmla="*/ 9 w 23"/>
                <a:gd name="T13" fmla="*/ 21 h 23"/>
                <a:gd name="T14" fmla="*/ 8 w 23"/>
                <a:gd name="T15" fmla="*/ 20 h 23"/>
                <a:gd name="T16" fmla="*/ 7 w 23"/>
                <a:gd name="T17" fmla="*/ 20 h 23"/>
                <a:gd name="T18" fmla="*/ 8 w 23"/>
                <a:gd name="T19" fmla="*/ 21 h 23"/>
                <a:gd name="T20" fmla="*/ 8 w 23"/>
                <a:gd name="T21" fmla="*/ 22 h 23"/>
                <a:gd name="T22" fmla="*/ 6 w 23"/>
                <a:gd name="T23" fmla="*/ 21 h 23"/>
                <a:gd name="T24" fmla="*/ 5 w 23"/>
                <a:gd name="T25" fmla="*/ 21 h 23"/>
                <a:gd name="T26" fmla="*/ 5 w 23"/>
                <a:gd name="T27" fmla="*/ 20 h 23"/>
                <a:gd name="T28" fmla="*/ 7 w 23"/>
                <a:gd name="T29" fmla="*/ 19 h 23"/>
                <a:gd name="T30" fmla="*/ 8 w 23"/>
                <a:gd name="T31" fmla="*/ 20 h 23"/>
                <a:gd name="T32" fmla="*/ 8 w 23"/>
                <a:gd name="T33" fmla="*/ 21 h 23"/>
                <a:gd name="T34" fmla="*/ 8 w 23"/>
                <a:gd name="T35" fmla="*/ 21 h 23"/>
                <a:gd name="T36" fmla="*/ 8 w 23"/>
                <a:gd name="T37" fmla="*/ 20 h 23"/>
                <a:gd name="T38" fmla="*/ 6 w 23"/>
                <a:gd name="T39" fmla="*/ 20 h 23"/>
                <a:gd name="T40" fmla="*/ 7 w 23"/>
                <a:gd name="T41" fmla="*/ 20 h 23"/>
                <a:gd name="T42" fmla="*/ 5 w 23"/>
                <a:gd name="T43" fmla="*/ 20 h 23"/>
                <a:gd name="T44" fmla="*/ 5 w 23"/>
                <a:gd name="T45" fmla="*/ 20 h 23"/>
                <a:gd name="T46" fmla="*/ 4 w 23"/>
                <a:gd name="T47" fmla="*/ 19 h 23"/>
                <a:gd name="T48" fmla="*/ 4 w 23"/>
                <a:gd name="T49" fmla="*/ 19 h 23"/>
                <a:gd name="T50" fmla="*/ 4 w 23"/>
                <a:gd name="T51" fmla="*/ 19 h 23"/>
                <a:gd name="T52" fmla="*/ 4 w 23"/>
                <a:gd name="T53" fmla="*/ 19 h 23"/>
                <a:gd name="T54" fmla="*/ 5 w 23"/>
                <a:gd name="T55" fmla="*/ 19 h 23"/>
                <a:gd name="T56" fmla="*/ 4 w 23"/>
                <a:gd name="T57" fmla="*/ 19 h 23"/>
                <a:gd name="T58" fmla="*/ 11 w 23"/>
                <a:gd name="T59" fmla="*/ 14 h 23"/>
                <a:gd name="T60" fmla="*/ 8 w 23"/>
                <a:gd name="T61" fmla="*/ 13 h 23"/>
                <a:gd name="T62" fmla="*/ 9 w 23"/>
                <a:gd name="T63" fmla="*/ 6 h 23"/>
                <a:gd name="T64" fmla="*/ 11 w 23"/>
                <a:gd name="T65" fmla="*/ 5 h 23"/>
                <a:gd name="T66" fmla="*/ 11 w 23"/>
                <a:gd name="T67" fmla="*/ 5 h 23"/>
                <a:gd name="T68" fmla="*/ 9 w 23"/>
                <a:gd name="T69" fmla="*/ 6 h 23"/>
                <a:gd name="T70" fmla="*/ 9 w 23"/>
                <a:gd name="T71" fmla="*/ 6 h 23"/>
                <a:gd name="T72" fmla="*/ 9 w 23"/>
                <a:gd name="T73" fmla="*/ 6 h 23"/>
                <a:gd name="T74" fmla="*/ 9 w 23"/>
                <a:gd name="T75" fmla="*/ 4 h 23"/>
                <a:gd name="T76" fmla="*/ 13 w 23"/>
                <a:gd name="T77" fmla="*/ 3 h 23"/>
                <a:gd name="T78" fmla="*/ 12 w 23"/>
                <a:gd name="T79" fmla="*/ 3 h 23"/>
                <a:gd name="T80" fmla="*/ 12 w 23"/>
                <a:gd name="T81" fmla="*/ 2 h 23"/>
                <a:gd name="T82" fmla="*/ 11 w 23"/>
                <a:gd name="T83" fmla="*/ 4 h 23"/>
                <a:gd name="T84" fmla="*/ 11 w 23"/>
                <a:gd name="T85" fmla="*/ 3 h 23"/>
                <a:gd name="T86" fmla="*/ 12 w 23"/>
                <a:gd name="T87" fmla="*/ 2 h 23"/>
                <a:gd name="T88" fmla="*/ 15 w 23"/>
                <a:gd name="T89" fmla="*/ 1 h 23"/>
                <a:gd name="T90" fmla="*/ 15 w 23"/>
                <a:gd name="T91" fmla="*/ 1 h 23"/>
                <a:gd name="T92" fmla="*/ 14 w 23"/>
                <a:gd name="T93" fmla="*/ 1 h 23"/>
                <a:gd name="T94" fmla="*/ 13 w 23"/>
                <a:gd name="T95" fmla="*/ 2 h 23"/>
                <a:gd name="T96" fmla="*/ 13 w 23"/>
                <a:gd name="T97" fmla="*/ 1 h 23"/>
                <a:gd name="T98" fmla="*/ 15 w 23"/>
                <a:gd name="T99" fmla="*/ 1 h 23"/>
                <a:gd name="T100" fmla="*/ 16 w 23"/>
                <a:gd name="T101" fmla="*/ 1 h 23"/>
                <a:gd name="T102" fmla="*/ 18 w 23"/>
                <a:gd name="T103" fmla="*/ 1 h 23"/>
                <a:gd name="T104" fmla="*/ 19 w 23"/>
                <a:gd name="T105" fmla="*/ 1 h 23"/>
                <a:gd name="T106" fmla="*/ 17 w 23"/>
                <a:gd name="T107" fmla="*/ 1 h 23"/>
                <a:gd name="T108" fmla="*/ 17 w 23"/>
                <a:gd name="T109" fmla="*/ 1 h 23"/>
                <a:gd name="T110" fmla="*/ 16 w 23"/>
                <a:gd name="T111" fmla="*/ 1 h 23"/>
                <a:gd name="T112" fmla="*/ 19 w 23"/>
                <a:gd name="T113" fmla="*/ 1 h 23"/>
                <a:gd name="T114" fmla="*/ 22 w 23"/>
                <a:gd name="T115" fmla="*/ 0 h 23"/>
                <a:gd name="T116" fmla="*/ 20 w 23"/>
                <a:gd name="T117" fmla="*/ 0 h 23"/>
                <a:gd name="T118" fmla="*/ 22 w 23"/>
                <a:gd name="T119" fmla="*/ 0 h 23"/>
                <a:gd name="T120" fmla="*/ 23 w 23"/>
                <a:gd name="T12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" h="23">
                  <a:moveTo>
                    <a:pt x="1" y="23"/>
                  </a:move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close/>
                  <a:moveTo>
                    <a:pt x="9" y="21"/>
                  </a:moveTo>
                  <a:lnTo>
                    <a:pt x="9" y="21"/>
                  </a:lnTo>
                  <a:lnTo>
                    <a:pt x="9" y="21"/>
                  </a:lnTo>
                  <a:close/>
                  <a:moveTo>
                    <a:pt x="5" y="21"/>
                  </a:moveTo>
                  <a:lnTo>
                    <a:pt x="6" y="21"/>
                  </a:lnTo>
                  <a:lnTo>
                    <a:pt x="5" y="21"/>
                  </a:lnTo>
                  <a:close/>
                  <a:moveTo>
                    <a:pt x="9" y="21"/>
                  </a:moveTo>
                  <a:lnTo>
                    <a:pt x="10" y="21"/>
                  </a:lnTo>
                  <a:lnTo>
                    <a:pt x="9" y="21"/>
                  </a:lnTo>
                  <a:close/>
                  <a:moveTo>
                    <a:pt x="9" y="20"/>
                  </a:moveTo>
                  <a:lnTo>
                    <a:pt x="9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9" y="20"/>
                  </a:lnTo>
                  <a:close/>
                  <a:moveTo>
                    <a:pt x="6" y="20"/>
                  </a:moveTo>
                  <a:lnTo>
                    <a:pt x="7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7" y="20"/>
                  </a:lnTo>
                  <a:lnTo>
                    <a:pt x="8" y="19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11" y="14"/>
                  </a:move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7" y="13"/>
                  </a:moveTo>
                  <a:lnTo>
                    <a:pt x="8" y="13"/>
                  </a:lnTo>
                  <a:lnTo>
                    <a:pt x="7" y="13"/>
                  </a:lnTo>
                  <a:close/>
                  <a:moveTo>
                    <a:pt x="8" y="6"/>
                  </a:moveTo>
                  <a:lnTo>
                    <a:pt x="9" y="6"/>
                  </a:lnTo>
                  <a:lnTo>
                    <a:pt x="8" y="6"/>
                  </a:lnTo>
                  <a:close/>
                  <a:moveTo>
                    <a:pt x="10" y="4"/>
                  </a:moveTo>
                  <a:lnTo>
                    <a:pt x="11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10" y="4"/>
                  </a:lnTo>
                  <a:close/>
                  <a:moveTo>
                    <a:pt x="13" y="3"/>
                  </a:moveTo>
                  <a:lnTo>
                    <a:pt x="13" y="3"/>
                  </a:lnTo>
                  <a:lnTo>
                    <a:pt x="13" y="3"/>
                  </a:lnTo>
                  <a:close/>
                  <a:moveTo>
                    <a:pt x="12" y="3"/>
                  </a:moveTo>
                  <a:lnTo>
                    <a:pt x="12" y="3"/>
                  </a:lnTo>
                  <a:lnTo>
                    <a:pt x="12" y="2"/>
                  </a:lnTo>
                  <a:lnTo>
                    <a:pt x="12" y="3"/>
                  </a:lnTo>
                  <a:close/>
                  <a:moveTo>
                    <a:pt x="12" y="2"/>
                  </a:moveTo>
                  <a:lnTo>
                    <a:pt x="12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close/>
                  <a:moveTo>
                    <a:pt x="16" y="1"/>
                  </a:move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close/>
                  <a:moveTo>
                    <a:pt x="16" y="1"/>
                  </a:move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close/>
                  <a:moveTo>
                    <a:pt x="20" y="1"/>
                  </a:moveTo>
                  <a:lnTo>
                    <a:pt x="19" y="1"/>
                  </a:lnTo>
                  <a:lnTo>
                    <a:pt x="20" y="1"/>
                  </a:lnTo>
                  <a:close/>
                  <a:moveTo>
                    <a:pt x="22" y="0"/>
                  </a:moveTo>
                  <a:lnTo>
                    <a:pt x="22" y="0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3" y="0"/>
                  </a:move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3" name="Freeform 79"/>
            <p:cNvSpPr>
              <a:spLocks noEditPoints="1"/>
            </p:cNvSpPr>
            <p:nvPr/>
          </p:nvSpPr>
          <p:spPr bwMode="auto">
            <a:xfrm>
              <a:off x="5797021" y="3614290"/>
              <a:ext cx="19580" cy="19290"/>
            </a:xfrm>
            <a:custGeom>
              <a:avLst/>
              <a:gdLst>
                <a:gd name="T0" fmla="*/ 1 w 15"/>
                <a:gd name="T1" fmla="*/ 14 h 14"/>
                <a:gd name="T2" fmla="*/ 1 w 15"/>
                <a:gd name="T3" fmla="*/ 14 h 14"/>
                <a:gd name="T4" fmla="*/ 1 w 15"/>
                <a:gd name="T5" fmla="*/ 14 h 14"/>
                <a:gd name="T6" fmla="*/ 1 w 15"/>
                <a:gd name="T7" fmla="*/ 14 h 14"/>
                <a:gd name="T8" fmla="*/ 1 w 15"/>
                <a:gd name="T9" fmla="*/ 14 h 14"/>
                <a:gd name="T10" fmla="*/ 1 w 15"/>
                <a:gd name="T11" fmla="*/ 14 h 14"/>
                <a:gd name="T12" fmla="*/ 1 w 15"/>
                <a:gd name="T13" fmla="*/ 14 h 14"/>
                <a:gd name="T14" fmla="*/ 1 w 15"/>
                <a:gd name="T15" fmla="*/ 14 h 14"/>
                <a:gd name="T16" fmla="*/ 1 w 15"/>
                <a:gd name="T17" fmla="*/ 14 h 14"/>
                <a:gd name="T18" fmla="*/ 1 w 15"/>
                <a:gd name="T19" fmla="*/ 14 h 14"/>
                <a:gd name="T20" fmla="*/ 1 w 15"/>
                <a:gd name="T21" fmla="*/ 14 h 14"/>
                <a:gd name="T22" fmla="*/ 0 w 15"/>
                <a:gd name="T23" fmla="*/ 14 h 14"/>
                <a:gd name="T24" fmla="*/ 4 w 15"/>
                <a:gd name="T25" fmla="*/ 12 h 14"/>
                <a:gd name="T26" fmla="*/ 4 w 15"/>
                <a:gd name="T27" fmla="*/ 12 h 14"/>
                <a:gd name="T28" fmla="*/ 4 w 15"/>
                <a:gd name="T29" fmla="*/ 12 h 14"/>
                <a:gd name="T30" fmla="*/ 8 w 15"/>
                <a:gd name="T31" fmla="*/ 12 h 14"/>
                <a:gd name="T32" fmla="*/ 8 w 15"/>
                <a:gd name="T33" fmla="*/ 12 h 14"/>
                <a:gd name="T34" fmla="*/ 9 w 15"/>
                <a:gd name="T35" fmla="*/ 11 h 14"/>
                <a:gd name="T36" fmla="*/ 9 w 15"/>
                <a:gd name="T37" fmla="*/ 11 h 14"/>
                <a:gd name="T38" fmla="*/ 9 w 15"/>
                <a:gd name="T39" fmla="*/ 11 h 14"/>
                <a:gd name="T40" fmla="*/ 9 w 15"/>
                <a:gd name="T41" fmla="*/ 11 h 14"/>
                <a:gd name="T42" fmla="*/ 9 w 15"/>
                <a:gd name="T43" fmla="*/ 11 h 14"/>
                <a:gd name="T44" fmla="*/ 10 w 15"/>
                <a:gd name="T45" fmla="*/ 11 h 14"/>
                <a:gd name="T46" fmla="*/ 10 w 15"/>
                <a:gd name="T47" fmla="*/ 11 h 14"/>
                <a:gd name="T48" fmla="*/ 10 w 15"/>
                <a:gd name="T49" fmla="*/ 11 h 14"/>
                <a:gd name="T50" fmla="*/ 9 w 15"/>
                <a:gd name="T51" fmla="*/ 11 h 14"/>
                <a:gd name="T52" fmla="*/ 9 w 15"/>
                <a:gd name="T53" fmla="*/ 11 h 14"/>
                <a:gd name="T54" fmla="*/ 9 w 15"/>
                <a:gd name="T55" fmla="*/ 11 h 14"/>
                <a:gd name="T56" fmla="*/ 9 w 15"/>
                <a:gd name="T57" fmla="*/ 11 h 14"/>
                <a:gd name="T58" fmla="*/ 9 w 15"/>
                <a:gd name="T59" fmla="*/ 11 h 14"/>
                <a:gd name="T60" fmla="*/ 9 w 15"/>
                <a:gd name="T61" fmla="*/ 11 h 14"/>
                <a:gd name="T62" fmla="*/ 6 w 15"/>
                <a:gd name="T63" fmla="*/ 10 h 14"/>
                <a:gd name="T64" fmla="*/ 6 w 15"/>
                <a:gd name="T65" fmla="*/ 10 h 14"/>
                <a:gd name="T66" fmla="*/ 15 w 15"/>
                <a:gd name="T67" fmla="*/ 10 h 14"/>
                <a:gd name="T68" fmla="*/ 15 w 15"/>
                <a:gd name="T69" fmla="*/ 10 h 14"/>
                <a:gd name="T70" fmla="*/ 7 w 15"/>
                <a:gd name="T71" fmla="*/ 9 h 14"/>
                <a:gd name="T72" fmla="*/ 7 w 15"/>
                <a:gd name="T73" fmla="*/ 9 h 14"/>
                <a:gd name="T74" fmla="*/ 4 w 15"/>
                <a:gd name="T75" fmla="*/ 9 h 14"/>
                <a:gd name="T76" fmla="*/ 4 w 15"/>
                <a:gd name="T77" fmla="*/ 9 h 14"/>
                <a:gd name="T78" fmla="*/ 12 w 15"/>
                <a:gd name="T79" fmla="*/ 9 h 14"/>
                <a:gd name="T80" fmla="*/ 12 w 15"/>
                <a:gd name="T81" fmla="*/ 9 h 14"/>
                <a:gd name="T82" fmla="*/ 12 w 15"/>
                <a:gd name="T83" fmla="*/ 4 h 14"/>
                <a:gd name="T84" fmla="*/ 12 w 15"/>
                <a:gd name="T85" fmla="*/ 4 h 14"/>
                <a:gd name="T86" fmla="*/ 11 w 15"/>
                <a:gd name="T87" fmla="*/ 4 h 14"/>
                <a:gd name="T88" fmla="*/ 11 w 15"/>
                <a:gd name="T89" fmla="*/ 4 h 14"/>
                <a:gd name="T90" fmla="*/ 12 w 15"/>
                <a:gd name="T91" fmla="*/ 4 h 14"/>
                <a:gd name="T92" fmla="*/ 12 w 15"/>
                <a:gd name="T93" fmla="*/ 4 h 14"/>
                <a:gd name="T94" fmla="*/ 10 w 15"/>
                <a:gd name="T95" fmla="*/ 3 h 14"/>
                <a:gd name="T96" fmla="*/ 8 w 15"/>
                <a:gd name="T97" fmla="*/ 3 h 14"/>
                <a:gd name="T98" fmla="*/ 8 w 15"/>
                <a:gd name="T99" fmla="*/ 3 h 14"/>
                <a:gd name="T100" fmla="*/ 8 w 15"/>
                <a:gd name="T101" fmla="*/ 3 h 14"/>
                <a:gd name="T102" fmla="*/ 8 w 15"/>
                <a:gd name="T103" fmla="*/ 3 h 14"/>
                <a:gd name="T104" fmla="*/ 15 w 15"/>
                <a:gd name="T105" fmla="*/ 2 h 14"/>
                <a:gd name="T106" fmla="*/ 15 w 15"/>
                <a:gd name="T107" fmla="*/ 2 h 14"/>
                <a:gd name="T108" fmla="*/ 13 w 15"/>
                <a:gd name="T109" fmla="*/ 0 h 14"/>
                <a:gd name="T110" fmla="*/ 13 w 15"/>
                <a:gd name="T111" fmla="*/ 0 h 14"/>
                <a:gd name="T112" fmla="*/ 13 w 15"/>
                <a:gd name="T113" fmla="*/ 0 h 14"/>
                <a:gd name="T114" fmla="*/ 13 w 15"/>
                <a:gd name="T1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" h="14"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7" y="9"/>
                  </a:move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2" y="9"/>
                  </a:move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1" y="4"/>
                  </a:move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0" y="3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15" y="2"/>
                  </a:move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4" name="Freeform 80"/>
            <p:cNvSpPr>
              <a:spLocks noEditPoints="1"/>
            </p:cNvSpPr>
            <p:nvPr/>
          </p:nvSpPr>
          <p:spPr bwMode="auto">
            <a:xfrm>
              <a:off x="5944524" y="3075558"/>
              <a:ext cx="100510" cy="73025"/>
            </a:xfrm>
            <a:custGeom>
              <a:avLst/>
              <a:gdLst>
                <a:gd name="T0" fmla="*/ 47 w 77"/>
                <a:gd name="T1" fmla="*/ 42 h 53"/>
                <a:gd name="T2" fmla="*/ 52 w 77"/>
                <a:gd name="T3" fmla="*/ 44 h 53"/>
                <a:gd name="T4" fmla="*/ 48 w 77"/>
                <a:gd name="T5" fmla="*/ 48 h 53"/>
                <a:gd name="T6" fmla="*/ 41 w 77"/>
                <a:gd name="T7" fmla="*/ 52 h 53"/>
                <a:gd name="T8" fmla="*/ 40 w 77"/>
                <a:gd name="T9" fmla="*/ 49 h 53"/>
                <a:gd name="T10" fmla="*/ 43 w 77"/>
                <a:gd name="T11" fmla="*/ 48 h 53"/>
                <a:gd name="T12" fmla="*/ 40 w 77"/>
                <a:gd name="T13" fmla="*/ 47 h 53"/>
                <a:gd name="T14" fmla="*/ 40 w 77"/>
                <a:gd name="T15" fmla="*/ 46 h 53"/>
                <a:gd name="T16" fmla="*/ 38 w 77"/>
                <a:gd name="T17" fmla="*/ 47 h 53"/>
                <a:gd name="T18" fmla="*/ 34 w 77"/>
                <a:gd name="T19" fmla="*/ 48 h 53"/>
                <a:gd name="T20" fmla="*/ 26 w 77"/>
                <a:gd name="T21" fmla="*/ 49 h 53"/>
                <a:gd name="T22" fmla="*/ 29 w 77"/>
                <a:gd name="T23" fmla="*/ 44 h 53"/>
                <a:gd name="T24" fmla="*/ 27 w 77"/>
                <a:gd name="T25" fmla="*/ 41 h 53"/>
                <a:gd name="T26" fmla="*/ 32 w 77"/>
                <a:gd name="T27" fmla="*/ 37 h 53"/>
                <a:gd name="T28" fmla="*/ 41 w 77"/>
                <a:gd name="T29" fmla="*/ 37 h 53"/>
                <a:gd name="T30" fmla="*/ 43 w 77"/>
                <a:gd name="T31" fmla="*/ 7 h 53"/>
                <a:gd name="T32" fmla="*/ 45 w 77"/>
                <a:gd name="T33" fmla="*/ 6 h 53"/>
                <a:gd name="T34" fmla="*/ 48 w 77"/>
                <a:gd name="T35" fmla="*/ 6 h 53"/>
                <a:gd name="T36" fmla="*/ 49 w 77"/>
                <a:gd name="T37" fmla="*/ 4 h 53"/>
                <a:gd name="T38" fmla="*/ 53 w 77"/>
                <a:gd name="T39" fmla="*/ 3 h 53"/>
                <a:gd name="T40" fmla="*/ 55 w 77"/>
                <a:gd name="T41" fmla="*/ 3 h 53"/>
                <a:gd name="T42" fmla="*/ 57 w 77"/>
                <a:gd name="T43" fmla="*/ 4 h 53"/>
                <a:gd name="T44" fmla="*/ 61 w 77"/>
                <a:gd name="T45" fmla="*/ 4 h 53"/>
                <a:gd name="T46" fmla="*/ 66 w 77"/>
                <a:gd name="T47" fmla="*/ 6 h 53"/>
                <a:gd name="T48" fmla="*/ 74 w 77"/>
                <a:gd name="T49" fmla="*/ 6 h 53"/>
                <a:gd name="T50" fmla="*/ 75 w 77"/>
                <a:gd name="T51" fmla="*/ 11 h 53"/>
                <a:gd name="T52" fmla="*/ 68 w 77"/>
                <a:gd name="T53" fmla="*/ 14 h 53"/>
                <a:gd name="T54" fmla="*/ 60 w 77"/>
                <a:gd name="T55" fmla="*/ 19 h 53"/>
                <a:gd name="T56" fmla="*/ 51 w 77"/>
                <a:gd name="T57" fmla="*/ 21 h 53"/>
                <a:gd name="T58" fmla="*/ 41 w 77"/>
                <a:gd name="T59" fmla="*/ 20 h 53"/>
                <a:gd name="T60" fmla="*/ 36 w 77"/>
                <a:gd name="T61" fmla="*/ 19 h 53"/>
                <a:gd name="T62" fmla="*/ 25 w 77"/>
                <a:gd name="T63" fmla="*/ 18 h 53"/>
                <a:gd name="T64" fmla="*/ 17 w 77"/>
                <a:gd name="T65" fmla="*/ 15 h 53"/>
                <a:gd name="T66" fmla="*/ 24 w 77"/>
                <a:gd name="T67" fmla="*/ 15 h 53"/>
                <a:gd name="T68" fmla="*/ 24 w 77"/>
                <a:gd name="T69" fmla="*/ 15 h 53"/>
                <a:gd name="T70" fmla="*/ 32 w 77"/>
                <a:gd name="T71" fmla="*/ 14 h 53"/>
                <a:gd name="T72" fmla="*/ 30 w 77"/>
                <a:gd name="T73" fmla="*/ 11 h 53"/>
                <a:gd name="T74" fmla="*/ 21 w 77"/>
                <a:gd name="T75" fmla="*/ 12 h 53"/>
                <a:gd name="T76" fmla="*/ 14 w 77"/>
                <a:gd name="T77" fmla="*/ 13 h 53"/>
                <a:gd name="T78" fmla="*/ 9 w 77"/>
                <a:gd name="T79" fmla="*/ 13 h 53"/>
                <a:gd name="T80" fmla="*/ 6 w 77"/>
                <a:gd name="T81" fmla="*/ 12 h 53"/>
                <a:gd name="T82" fmla="*/ 8 w 77"/>
                <a:gd name="T83" fmla="*/ 9 h 53"/>
                <a:gd name="T84" fmla="*/ 9 w 77"/>
                <a:gd name="T85" fmla="*/ 8 h 53"/>
                <a:gd name="T86" fmla="*/ 4 w 77"/>
                <a:gd name="T87" fmla="*/ 7 h 53"/>
                <a:gd name="T88" fmla="*/ 2 w 77"/>
                <a:gd name="T89" fmla="*/ 6 h 53"/>
                <a:gd name="T90" fmla="*/ 7 w 77"/>
                <a:gd name="T91" fmla="*/ 6 h 53"/>
                <a:gd name="T92" fmla="*/ 11 w 77"/>
                <a:gd name="T93" fmla="*/ 6 h 53"/>
                <a:gd name="T94" fmla="*/ 13 w 77"/>
                <a:gd name="T95" fmla="*/ 6 h 53"/>
                <a:gd name="T96" fmla="*/ 14 w 77"/>
                <a:gd name="T97" fmla="*/ 4 h 53"/>
                <a:gd name="T98" fmla="*/ 17 w 77"/>
                <a:gd name="T99" fmla="*/ 3 h 53"/>
                <a:gd name="T100" fmla="*/ 15 w 77"/>
                <a:gd name="T101" fmla="*/ 0 h 53"/>
                <a:gd name="T102" fmla="*/ 19 w 77"/>
                <a:gd name="T103" fmla="*/ 2 h 53"/>
                <a:gd name="T104" fmla="*/ 25 w 77"/>
                <a:gd name="T105" fmla="*/ 3 h 53"/>
                <a:gd name="T106" fmla="*/ 30 w 77"/>
                <a:gd name="T107" fmla="*/ 5 h 53"/>
                <a:gd name="T108" fmla="*/ 32 w 77"/>
                <a:gd name="T109" fmla="*/ 6 h 53"/>
                <a:gd name="T110" fmla="*/ 36 w 77"/>
                <a:gd name="T111" fmla="*/ 9 h 53"/>
                <a:gd name="T112" fmla="*/ 38 w 77"/>
                <a:gd name="T113" fmla="*/ 7 h 53"/>
                <a:gd name="T114" fmla="*/ 38 w 77"/>
                <a:gd name="T115" fmla="*/ 3 h 53"/>
                <a:gd name="T116" fmla="*/ 41 w 77"/>
                <a:gd name="T117" fmla="*/ 1 h 53"/>
                <a:gd name="T118" fmla="*/ 44 w 77"/>
                <a:gd name="T11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7" h="53">
                  <a:moveTo>
                    <a:pt x="42" y="37"/>
                  </a:moveTo>
                  <a:lnTo>
                    <a:pt x="43" y="37"/>
                  </a:lnTo>
                  <a:lnTo>
                    <a:pt x="43" y="37"/>
                  </a:lnTo>
                  <a:lnTo>
                    <a:pt x="44" y="37"/>
                  </a:lnTo>
                  <a:lnTo>
                    <a:pt x="44" y="38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3" y="3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5" y="40"/>
                  </a:lnTo>
                  <a:lnTo>
                    <a:pt x="45" y="41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6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3" y="42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49" y="47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3" y="51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9" y="53"/>
                  </a:lnTo>
                  <a:lnTo>
                    <a:pt x="39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39" y="51"/>
                  </a:lnTo>
                  <a:lnTo>
                    <a:pt x="40" y="51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2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1" y="45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8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1" y="49"/>
                  </a:lnTo>
                  <a:lnTo>
                    <a:pt x="30" y="49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9" y="45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4" y="38"/>
                  </a:lnTo>
                  <a:lnTo>
                    <a:pt x="35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42" y="37"/>
                  </a:lnTo>
                  <a:close/>
                  <a:moveTo>
                    <a:pt x="45" y="3"/>
                  </a:moveTo>
                  <a:lnTo>
                    <a:pt x="45" y="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2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5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5" y="5"/>
                  </a:lnTo>
                  <a:lnTo>
                    <a:pt x="66" y="6"/>
                  </a:lnTo>
                  <a:lnTo>
                    <a:pt x="65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5" y="8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8" y="14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7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9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9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5" name="Freeform 81"/>
            <p:cNvSpPr>
              <a:spLocks noEditPoints="1"/>
            </p:cNvSpPr>
            <p:nvPr/>
          </p:nvSpPr>
          <p:spPr bwMode="auto">
            <a:xfrm>
              <a:off x="5663877" y="3079691"/>
              <a:ext cx="446422" cy="400949"/>
            </a:xfrm>
            <a:custGeom>
              <a:avLst/>
              <a:gdLst>
                <a:gd name="T0" fmla="*/ 117 w 342"/>
                <a:gd name="T1" fmla="*/ 290 h 291"/>
                <a:gd name="T2" fmla="*/ 118 w 342"/>
                <a:gd name="T3" fmla="*/ 287 h 291"/>
                <a:gd name="T4" fmla="*/ 191 w 342"/>
                <a:gd name="T5" fmla="*/ 185 h 291"/>
                <a:gd name="T6" fmla="*/ 191 w 342"/>
                <a:gd name="T7" fmla="*/ 185 h 291"/>
                <a:gd name="T8" fmla="*/ 190 w 342"/>
                <a:gd name="T9" fmla="*/ 185 h 291"/>
                <a:gd name="T10" fmla="*/ 189 w 342"/>
                <a:gd name="T11" fmla="*/ 184 h 291"/>
                <a:gd name="T12" fmla="*/ 191 w 342"/>
                <a:gd name="T13" fmla="*/ 183 h 291"/>
                <a:gd name="T14" fmla="*/ 193 w 342"/>
                <a:gd name="T15" fmla="*/ 182 h 291"/>
                <a:gd name="T16" fmla="*/ 201 w 342"/>
                <a:gd name="T17" fmla="*/ 173 h 291"/>
                <a:gd name="T18" fmla="*/ 198 w 342"/>
                <a:gd name="T19" fmla="*/ 176 h 291"/>
                <a:gd name="T20" fmla="*/ 200 w 342"/>
                <a:gd name="T21" fmla="*/ 172 h 291"/>
                <a:gd name="T22" fmla="*/ 225 w 342"/>
                <a:gd name="T23" fmla="*/ 164 h 291"/>
                <a:gd name="T24" fmla="*/ 218 w 342"/>
                <a:gd name="T25" fmla="*/ 165 h 291"/>
                <a:gd name="T26" fmla="*/ 221 w 342"/>
                <a:gd name="T27" fmla="*/ 164 h 291"/>
                <a:gd name="T28" fmla="*/ 221 w 342"/>
                <a:gd name="T29" fmla="*/ 163 h 291"/>
                <a:gd name="T30" fmla="*/ 223 w 342"/>
                <a:gd name="T31" fmla="*/ 163 h 291"/>
                <a:gd name="T32" fmla="*/ 231 w 342"/>
                <a:gd name="T33" fmla="*/ 161 h 291"/>
                <a:gd name="T34" fmla="*/ 225 w 342"/>
                <a:gd name="T35" fmla="*/ 162 h 291"/>
                <a:gd name="T36" fmla="*/ 226 w 342"/>
                <a:gd name="T37" fmla="*/ 159 h 291"/>
                <a:gd name="T38" fmla="*/ 238 w 342"/>
                <a:gd name="T39" fmla="*/ 159 h 291"/>
                <a:gd name="T40" fmla="*/ 231 w 342"/>
                <a:gd name="T41" fmla="*/ 156 h 291"/>
                <a:gd name="T42" fmla="*/ 234 w 342"/>
                <a:gd name="T43" fmla="*/ 158 h 291"/>
                <a:gd name="T44" fmla="*/ 230 w 342"/>
                <a:gd name="T45" fmla="*/ 157 h 291"/>
                <a:gd name="T46" fmla="*/ 262 w 342"/>
                <a:gd name="T47" fmla="*/ 154 h 291"/>
                <a:gd name="T48" fmla="*/ 259 w 342"/>
                <a:gd name="T49" fmla="*/ 154 h 291"/>
                <a:gd name="T50" fmla="*/ 259 w 342"/>
                <a:gd name="T51" fmla="*/ 153 h 291"/>
                <a:gd name="T52" fmla="*/ 261 w 342"/>
                <a:gd name="T53" fmla="*/ 152 h 291"/>
                <a:gd name="T54" fmla="*/ 264 w 342"/>
                <a:gd name="T55" fmla="*/ 150 h 291"/>
                <a:gd name="T56" fmla="*/ 265 w 342"/>
                <a:gd name="T57" fmla="*/ 152 h 291"/>
                <a:gd name="T58" fmla="*/ 9 w 342"/>
                <a:gd name="T59" fmla="*/ 145 h 291"/>
                <a:gd name="T60" fmla="*/ 0 w 342"/>
                <a:gd name="T61" fmla="*/ 148 h 291"/>
                <a:gd name="T62" fmla="*/ 6 w 342"/>
                <a:gd name="T63" fmla="*/ 144 h 291"/>
                <a:gd name="T64" fmla="*/ 281 w 342"/>
                <a:gd name="T65" fmla="*/ 143 h 291"/>
                <a:gd name="T66" fmla="*/ 282 w 342"/>
                <a:gd name="T67" fmla="*/ 145 h 291"/>
                <a:gd name="T68" fmla="*/ 281 w 342"/>
                <a:gd name="T69" fmla="*/ 146 h 291"/>
                <a:gd name="T70" fmla="*/ 278 w 342"/>
                <a:gd name="T71" fmla="*/ 145 h 291"/>
                <a:gd name="T72" fmla="*/ 277 w 342"/>
                <a:gd name="T73" fmla="*/ 144 h 291"/>
                <a:gd name="T74" fmla="*/ 279 w 342"/>
                <a:gd name="T75" fmla="*/ 143 h 291"/>
                <a:gd name="T76" fmla="*/ 225 w 342"/>
                <a:gd name="T77" fmla="*/ 93 h 291"/>
                <a:gd name="T78" fmla="*/ 247 w 342"/>
                <a:gd name="T79" fmla="*/ 29 h 291"/>
                <a:gd name="T80" fmla="*/ 251 w 342"/>
                <a:gd name="T81" fmla="*/ 32 h 291"/>
                <a:gd name="T82" fmla="*/ 241 w 342"/>
                <a:gd name="T83" fmla="*/ 34 h 291"/>
                <a:gd name="T84" fmla="*/ 239 w 342"/>
                <a:gd name="T85" fmla="*/ 33 h 291"/>
                <a:gd name="T86" fmla="*/ 238 w 342"/>
                <a:gd name="T87" fmla="*/ 30 h 291"/>
                <a:gd name="T88" fmla="*/ 290 w 342"/>
                <a:gd name="T89" fmla="*/ 26 h 291"/>
                <a:gd name="T90" fmla="*/ 288 w 342"/>
                <a:gd name="T91" fmla="*/ 26 h 291"/>
                <a:gd name="T92" fmla="*/ 160 w 342"/>
                <a:gd name="T93" fmla="*/ 26 h 291"/>
                <a:gd name="T94" fmla="*/ 163 w 342"/>
                <a:gd name="T95" fmla="*/ 29 h 291"/>
                <a:gd name="T96" fmla="*/ 168 w 342"/>
                <a:gd name="T97" fmla="*/ 32 h 291"/>
                <a:gd name="T98" fmla="*/ 167 w 342"/>
                <a:gd name="T99" fmla="*/ 33 h 291"/>
                <a:gd name="T100" fmla="*/ 162 w 342"/>
                <a:gd name="T101" fmla="*/ 30 h 291"/>
                <a:gd name="T102" fmla="*/ 158 w 342"/>
                <a:gd name="T103" fmla="*/ 25 h 291"/>
                <a:gd name="T104" fmla="*/ 309 w 342"/>
                <a:gd name="T105" fmla="*/ 23 h 291"/>
                <a:gd name="T106" fmla="*/ 305 w 342"/>
                <a:gd name="T107" fmla="*/ 23 h 291"/>
                <a:gd name="T108" fmla="*/ 296 w 342"/>
                <a:gd name="T109" fmla="*/ 24 h 291"/>
                <a:gd name="T110" fmla="*/ 236 w 342"/>
                <a:gd name="T111" fmla="*/ 20 h 291"/>
                <a:gd name="T112" fmla="*/ 236 w 342"/>
                <a:gd name="T113" fmla="*/ 22 h 291"/>
                <a:gd name="T114" fmla="*/ 341 w 342"/>
                <a:gd name="T115" fmla="*/ 3 h 291"/>
                <a:gd name="T116" fmla="*/ 332 w 342"/>
                <a:gd name="T117" fmla="*/ 4 h 291"/>
                <a:gd name="T118" fmla="*/ 326 w 342"/>
                <a:gd name="T119" fmla="*/ 3 h 291"/>
                <a:gd name="T120" fmla="*/ 336 w 342"/>
                <a:gd name="T121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2" h="291">
                  <a:moveTo>
                    <a:pt x="118" y="288"/>
                  </a:moveTo>
                  <a:lnTo>
                    <a:pt x="119" y="287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9"/>
                  </a:lnTo>
                  <a:lnTo>
                    <a:pt x="119" y="290"/>
                  </a:lnTo>
                  <a:lnTo>
                    <a:pt x="119" y="290"/>
                  </a:lnTo>
                  <a:lnTo>
                    <a:pt x="119" y="291"/>
                  </a:lnTo>
                  <a:lnTo>
                    <a:pt x="118" y="291"/>
                  </a:lnTo>
                  <a:lnTo>
                    <a:pt x="118" y="290"/>
                  </a:lnTo>
                  <a:lnTo>
                    <a:pt x="118" y="291"/>
                  </a:lnTo>
                  <a:lnTo>
                    <a:pt x="118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0"/>
                  </a:lnTo>
                  <a:lnTo>
                    <a:pt x="116" y="290"/>
                  </a:lnTo>
                  <a:lnTo>
                    <a:pt x="116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8"/>
                  </a:lnTo>
                  <a:lnTo>
                    <a:pt x="118" y="288"/>
                  </a:lnTo>
                  <a:lnTo>
                    <a:pt x="118" y="289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7"/>
                  </a:lnTo>
                  <a:lnTo>
                    <a:pt x="118" y="288"/>
                  </a:lnTo>
                  <a:close/>
                  <a:moveTo>
                    <a:pt x="195" y="182"/>
                  </a:moveTo>
                  <a:lnTo>
                    <a:pt x="195" y="182"/>
                  </a:lnTo>
                  <a:lnTo>
                    <a:pt x="195" y="182"/>
                  </a:lnTo>
                  <a:lnTo>
                    <a:pt x="195" y="182"/>
                  </a:lnTo>
                  <a:lnTo>
                    <a:pt x="195" y="183"/>
                  </a:lnTo>
                  <a:lnTo>
                    <a:pt x="194" y="183"/>
                  </a:lnTo>
                  <a:lnTo>
                    <a:pt x="193" y="183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2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8" y="186"/>
                  </a:lnTo>
                  <a:lnTo>
                    <a:pt x="188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7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3"/>
                  </a:lnTo>
                  <a:lnTo>
                    <a:pt x="188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2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4" y="182"/>
                  </a:lnTo>
                  <a:lnTo>
                    <a:pt x="195" y="182"/>
                  </a:lnTo>
                  <a:lnTo>
                    <a:pt x="195" y="182"/>
                  </a:lnTo>
                  <a:close/>
                  <a:moveTo>
                    <a:pt x="203" y="170"/>
                  </a:moveTo>
                  <a:lnTo>
                    <a:pt x="203" y="170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1" y="172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199" y="174"/>
                  </a:lnTo>
                  <a:lnTo>
                    <a:pt x="199" y="175"/>
                  </a:lnTo>
                  <a:lnTo>
                    <a:pt x="199" y="174"/>
                  </a:lnTo>
                  <a:lnTo>
                    <a:pt x="198" y="174"/>
                  </a:lnTo>
                  <a:lnTo>
                    <a:pt x="197" y="174"/>
                  </a:lnTo>
                  <a:lnTo>
                    <a:pt x="198" y="174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5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3" y="170"/>
                  </a:lnTo>
                  <a:close/>
                  <a:moveTo>
                    <a:pt x="223" y="162"/>
                  </a:moveTo>
                  <a:lnTo>
                    <a:pt x="224" y="162"/>
                  </a:lnTo>
                  <a:lnTo>
                    <a:pt x="224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65"/>
                  </a:lnTo>
                  <a:lnTo>
                    <a:pt x="224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4" y="165"/>
                  </a:lnTo>
                  <a:lnTo>
                    <a:pt x="224" y="166"/>
                  </a:lnTo>
                  <a:lnTo>
                    <a:pt x="223" y="166"/>
                  </a:lnTo>
                  <a:lnTo>
                    <a:pt x="223" y="166"/>
                  </a:lnTo>
                  <a:lnTo>
                    <a:pt x="222" y="166"/>
                  </a:lnTo>
                  <a:lnTo>
                    <a:pt x="222" y="166"/>
                  </a:lnTo>
                  <a:lnTo>
                    <a:pt x="221" y="166"/>
                  </a:lnTo>
                  <a:lnTo>
                    <a:pt x="221" y="167"/>
                  </a:lnTo>
                  <a:lnTo>
                    <a:pt x="220" y="167"/>
                  </a:lnTo>
                  <a:lnTo>
                    <a:pt x="219" y="167"/>
                  </a:lnTo>
                  <a:lnTo>
                    <a:pt x="219" y="167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8" y="165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6"/>
                  </a:lnTo>
                  <a:lnTo>
                    <a:pt x="220" y="166"/>
                  </a:lnTo>
                  <a:lnTo>
                    <a:pt x="221" y="165"/>
                  </a:lnTo>
                  <a:lnTo>
                    <a:pt x="220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19" y="164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20" y="165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2" y="164"/>
                  </a:lnTo>
                  <a:lnTo>
                    <a:pt x="222" y="165"/>
                  </a:lnTo>
                  <a:lnTo>
                    <a:pt x="222" y="165"/>
                  </a:lnTo>
                  <a:lnTo>
                    <a:pt x="222" y="164"/>
                  </a:lnTo>
                  <a:lnTo>
                    <a:pt x="222" y="164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0" y="164"/>
                  </a:lnTo>
                  <a:lnTo>
                    <a:pt x="220" y="163"/>
                  </a:lnTo>
                  <a:lnTo>
                    <a:pt x="220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3" y="164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4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close/>
                  <a:moveTo>
                    <a:pt x="227" y="159"/>
                  </a:moveTo>
                  <a:lnTo>
                    <a:pt x="227" y="159"/>
                  </a:lnTo>
                  <a:lnTo>
                    <a:pt x="228" y="159"/>
                  </a:lnTo>
                  <a:lnTo>
                    <a:pt x="227" y="159"/>
                  </a:lnTo>
                  <a:lnTo>
                    <a:pt x="228" y="159"/>
                  </a:lnTo>
                  <a:lnTo>
                    <a:pt x="228" y="160"/>
                  </a:lnTo>
                  <a:lnTo>
                    <a:pt x="229" y="160"/>
                  </a:lnTo>
                  <a:lnTo>
                    <a:pt x="229" y="159"/>
                  </a:lnTo>
                  <a:lnTo>
                    <a:pt x="229" y="159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0" y="160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1" y="160"/>
                  </a:lnTo>
                  <a:lnTo>
                    <a:pt x="231" y="161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8" y="163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4" y="162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5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59"/>
                  </a:lnTo>
                  <a:lnTo>
                    <a:pt x="225" y="159"/>
                  </a:lnTo>
                  <a:lnTo>
                    <a:pt x="225" y="159"/>
                  </a:lnTo>
                  <a:lnTo>
                    <a:pt x="225" y="160"/>
                  </a:lnTo>
                  <a:lnTo>
                    <a:pt x="225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59"/>
                  </a:lnTo>
                  <a:close/>
                  <a:moveTo>
                    <a:pt x="239" y="157"/>
                  </a:moveTo>
                  <a:lnTo>
                    <a:pt x="240" y="157"/>
                  </a:lnTo>
                  <a:lnTo>
                    <a:pt x="240" y="157"/>
                  </a:lnTo>
                  <a:lnTo>
                    <a:pt x="240" y="158"/>
                  </a:lnTo>
                  <a:lnTo>
                    <a:pt x="240" y="158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39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8"/>
                  </a:lnTo>
                  <a:lnTo>
                    <a:pt x="238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8"/>
                  </a:lnTo>
                  <a:lnTo>
                    <a:pt x="237" y="158"/>
                  </a:lnTo>
                  <a:lnTo>
                    <a:pt x="237" y="157"/>
                  </a:lnTo>
                  <a:lnTo>
                    <a:pt x="237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9" y="157"/>
                  </a:lnTo>
                  <a:close/>
                  <a:moveTo>
                    <a:pt x="230" y="156"/>
                  </a:moveTo>
                  <a:lnTo>
                    <a:pt x="231" y="156"/>
                  </a:lnTo>
                  <a:lnTo>
                    <a:pt x="231" y="157"/>
                  </a:lnTo>
                  <a:lnTo>
                    <a:pt x="232" y="157"/>
                  </a:lnTo>
                  <a:lnTo>
                    <a:pt x="232" y="157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1" y="159"/>
                  </a:lnTo>
                  <a:lnTo>
                    <a:pt x="231" y="158"/>
                  </a:lnTo>
                  <a:lnTo>
                    <a:pt x="232" y="158"/>
                  </a:lnTo>
                  <a:lnTo>
                    <a:pt x="231" y="158"/>
                  </a:lnTo>
                  <a:lnTo>
                    <a:pt x="231" y="158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6"/>
                  </a:lnTo>
                  <a:lnTo>
                    <a:pt x="230" y="156"/>
                  </a:lnTo>
                  <a:close/>
                  <a:moveTo>
                    <a:pt x="261" y="151"/>
                  </a:move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1" y="154"/>
                  </a:lnTo>
                  <a:lnTo>
                    <a:pt x="262" y="154"/>
                  </a:lnTo>
                  <a:lnTo>
                    <a:pt x="262" y="155"/>
                  </a:lnTo>
                  <a:lnTo>
                    <a:pt x="261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8" y="156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9" y="154"/>
                  </a:lnTo>
                  <a:lnTo>
                    <a:pt x="258" y="154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7" y="153"/>
                  </a:lnTo>
                  <a:lnTo>
                    <a:pt x="257" y="154"/>
                  </a:lnTo>
                  <a:lnTo>
                    <a:pt x="257" y="153"/>
                  </a:lnTo>
                  <a:lnTo>
                    <a:pt x="258" y="153"/>
                  </a:lnTo>
                  <a:lnTo>
                    <a:pt x="258" y="152"/>
                  </a:lnTo>
                  <a:lnTo>
                    <a:pt x="258" y="152"/>
                  </a:lnTo>
                  <a:lnTo>
                    <a:pt x="259" y="152"/>
                  </a:lnTo>
                  <a:lnTo>
                    <a:pt x="259" y="153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60" y="152"/>
                  </a:lnTo>
                  <a:lnTo>
                    <a:pt x="260" y="153"/>
                  </a:lnTo>
                  <a:lnTo>
                    <a:pt x="259" y="153"/>
                  </a:lnTo>
                  <a:lnTo>
                    <a:pt x="260" y="153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3" y="149"/>
                  </a:moveTo>
                  <a:lnTo>
                    <a:pt x="264" y="149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5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2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close/>
                  <a:moveTo>
                    <a:pt x="9" y="143"/>
                  </a:move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5"/>
                  </a:lnTo>
                  <a:lnTo>
                    <a:pt x="9" y="146"/>
                  </a:lnTo>
                  <a:lnTo>
                    <a:pt x="8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2" y="147"/>
                  </a:lnTo>
                  <a:lnTo>
                    <a:pt x="2" y="147"/>
                  </a:lnTo>
                  <a:lnTo>
                    <a:pt x="2" y="148"/>
                  </a:lnTo>
                  <a:lnTo>
                    <a:pt x="1" y="148"/>
                  </a:lnTo>
                  <a:lnTo>
                    <a:pt x="0" y="148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1" y="147"/>
                  </a:lnTo>
                  <a:lnTo>
                    <a:pt x="1" y="147"/>
                  </a:lnTo>
                  <a:lnTo>
                    <a:pt x="2" y="147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4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7" y="144"/>
                  </a:lnTo>
                  <a:lnTo>
                    <a:pt x="7" y="143"/>
                  </a:lnTo>
                  <a:lnTo>
                    <a:pt x="7" y="143"/>
                  </a:lnTo>
                  <a:lnTo>
                    <a:pt x="8" y="143"/>
                  </a:lnTo>
                  <a:lnTo>
                    <a:pt x="9" y="143"/>
                  </a:lnTo>
                  <a:lnTo>
                    <a:pt x="9" y="143"/>
                  </a:lnTo>
                  <a:close/>
                  <a:moveTo>
                    <a:pt x="279" y="143"/>
                  </a:moveTo>
                  <a:lnTo>
                    <a:pt x="279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4"/>
                  </a:lnTo>
                  <a:lnTo>
                    <a:pt x="279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2" y="143"/>
                  </a:lnTo>
                  <a:lnTo>
                    <a:pt x="282" y="144"/>
                  </a:lnTo>
                  <a:lnTo>
                    <a:pt x="282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3" y="145"/>
                  </a:lnTo>
                  <a:lnTo>
                    <a:pt x="283" y="144"/>
                  </a:lnTo>
                  <a:lnTo>
                    <a:pt x="284" y="144"/>
                  </a:lnTo>
                  <a:lnTo>
                    <a:pt x="284" y="145"/>
                  </a:lnTo>
                  <a:lnTo>
                    <a:pt x="283" y="145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8" y="146"/>
                  </a:lnTo>
                  <a:lnTo>
                    <a:pt x="279" y="146"/>
                  </a:lnTo>
                  <a:lnTo>
                    <a:pt x="278" y="147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close/>
                  <a:moveTo>
                    <a:pt x="227" y="93"/>
                  </a:moveTo>
                  <a:lnTo>
                    <a:pt x="227" y="93"/>
                  </a:lnTo>
                  <a:lnTo>
                    <a:pt x="227" y="94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6" y="95"/>
                  </a:lnTo>
                  <a:lnTo>
                    <a:pt x="226" y="95"/>
                  </a:lnTo>
                  <a:lnTo>
                    <a:pt x="225" y="95"/>
                  </a:lnTo>
                  <a:lnTo>
                    <a:pt x="225" y="95"/>
                  </a:lnTo>
                  <a:lnTo>
                    <a:pt x="225" y="94"/>
                  </a:lnTo>
                  <a:lnTo>
                    <a:pt x="224" y="94"/>
                  </a:lnTo>
                  <a:lnTo>
                    <a:pt x="224" y="93"/>
                  </a:lnTo>
                  <a:lnTo>
                    <a:pt x="223" y="93"/>
                  </a:lnTo>
                  <a:lnTo>
                    <a:pt x="224" y="93"/>
                  </a:lnTo>
                  <a:lnTo>
                    <a:pt x="224" y="93"/>
                  </a:lnTo>
                  <a:lnTo>
                    <a:pt x="225" y="93"/>
                  </a:lnTo>
                  <a:lnTo>
                    <a:pt x="225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7" y="93"/>
                  </a:lnTo>
                  <a:close/>
                  <a:moveTo>
                    <a:pt x="243" y="29"/>
                  </a:move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6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30"/>
                  </a:lnTo>
                  <a:lnTo>
                    <a:pt x="250" y="30"/>
                  </a:lnTo>
                  <a:lnTo>
                    <a:pt x="251" y="30"/>
                  </a:lnTo>
                  <a:lnTo>
                    <a:pt x="251" y="31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51" y="34"/>
                  </a:lnTo>
                  <a:lnTo>
                    <a:pt x="250" y="34"/>
                  </a:lnTo>
                  <a:lnTo>
                    <a:pt x="249" y="34"/>
                  </a:lnTo>
                  <a:lnTo>
                    <a:pt x="248" y="34"/>
                  </a:lnTo>
                  <a:lnTo>
                    <a:pt x="248" y="34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6" y="34"/>
                  </a:lnTo>
                  <a:lnTo>
                    <a:pt x="245" y="34"/>
                  </a:lnTo>
                  <a:lnTo>
                    <a:pt x="245" y="34"/>
                  </a:lnTo>
                  <a:lnTo>
                    <a:pt x="244" y="34"/>
                  </a:lnTo>
                  <a:lnTo>
                    <a:pt x="243" y="34"/>
                  </a:lnTo>
                  <a:lnTo>
                    <a:pt x="243" y="34"/>
                  </a:lnTo>
                  <a:lnTo>
                    <a:pt x="242" y="34"/>
                  </a:lnTo>
                  <a:lnTo>
                    <a:pt x="242" y="35"/>
                  </a:lnTo>
                  <a:lnTo>
                    <a:pt x="241" y="35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39" y="32"/>
                  </a:lnTo>
                  <a:lnTo>
                    <a:pt x="239" y="32"/>
                  </a:lnTo>
                  <a:lnTo>
                    <a:pt x="238" y="32"/>
                  </a:lnTo>
                  <a:lnTo>
                    <a:pt x="238" y="31"/>
                  </a:lnTo>
                  <a:lnTo>
                    <a:pt x="238" y="31"/>
                  </a:lnTo>
                  <a:lnTo>
                    <a:pt x="237" y="31"/>
                  </a:lnTo>
                  <a:lnTo>
                    <a:pt x="237" y="30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6" y="30"/>
                  </a:lnTo>
                  <a:lnTo>
                    <a:pt x="237" y="30"/>
                  </a:lnTo>
                  <a:lnTo>
                    <a:pt x="237" y="30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39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1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3" y="29"/>
                  </a:lnTo>
                  <a:close/>
                  <a:moveTo>
                    <a:pt x="288" y="26"/>
                  </a:moveTo>
                  <a:lnTo>
                    <a:pt x="289" y="26"/>
                  </a:lnTo>
                  <a:lnTo>
                    <a:pt x="289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7"/>
                  </a:lnTo>
                  <a:lnTo>
                    <a:pt x="289" y="28"/>
                  </a:lnTo>
                  <a:lnTo>
                    <a:pt x="289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7"/>
                  </a:lnTo>
                  <a:lnTo>
                    <a:pt x="287" y="27"/>
                  </a:lnTo>
                  <a:lnTo>
                    <a:pt x="286" y="27"/>
                  </a:lnTo>
                  <a:lnTo>
                    <a:pt x="286" y="26"/>
                  </a:lnTo>
                  <a:lnTo>
                    <a:pt x="285" y="26"/>
                  </a:lnTo>
                  <a:lnTo>
                    <a:pt x="285" y="26"/>
                  </a:lnTo>
                  <a:lnTo>
                    <a:pt x="285" y="25"/>
                  </a:lnTo>
                  <a:lnTo>
                    <a:pt x="285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7" y="25"/>
                  </a:lnTo>
                  <a:lnTo>
                    <a:pt x="287" y="25"/>
                  </a:lnTo>
                  <a:lnTo>
                    <a:pt x="288" y="26"/>
                  </a:lnTo>
                  <a:lnTo>
                    <a:pt x="288" y="26"/>
                  </a:lnTo>
                  <a:close/>
                  <a:moveTo>
                    <a:pt x="158" y="23"/>
                  </a:moveTo>
                  <a:lnTo>
                    <a:pt x="158" y="23"/>
                  </a:lnTo>
                  <a:lnTo>
                    <a:pt x="159" y="23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0" y="26"/>
                  </a:lnTo>
                  <a:lnTo>
                    <a:pt x="161" y="26"/>
                  </a:lnTo>
                  <a:lnTo>
                    <a:pt x="162" y="26"/>
                  </a:lnTo>
                  <a:lnTo>
                    <a:pt x="161" y="26"/>
                  </a:lnTo>
                  <a:lnTo>
                    <a:pt x="161" y="25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63" y="26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3" y="28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30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66" y="31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68" y="31"/>
                  </a:lnTo>
                  <a:lnTo>
                    <a:pt x="169" y="31"/>
                  </a:lnTo>
                  <a:lnTo>
                    <a:pt x="168" y="31"/>
                  </a:lnTo>
                  <a:lnTo>
                    <a:pt x="168" y="32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70" y="33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5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7" y="34"/>
                  </a:lnTo>
                  <a:lnTo>
                    <a:pt x="168" y="34"/>
                  </a:lnTo>
                  <a:lnTo>
                    <a:pt x="168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6" y="33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5" y="31"/>
                  </a:lnTo>
                  <a:lnTo>
                    <a:pt x="164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2" y="30"/>
                  </a:lnTo>
                  <a:lnTo>
                    <a:pt x="162" y="30"/>
                  </a:lnTo>
                  <a:lnTo>
                    <a:pt x="161" y="30"/>
                  </a:lnTo>
                  <a:lnTo>
                    <a:pt x="161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59" y="28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7" y="26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4"/>
                  </a:lnTo>
                  <a:lnTo>
                    <a:pt x="157" y="23"/>
                  </a:lnTo>
                  <a:lnTo>
                    <a:pt x="158" y="23"/>
                  </a:lnTo>
                  <a:close/>
                  <a:moveTo>
                    <a:pt x="301" y="22"/>
                  </a:moveTo>
                  <a:lnTo>
                    <a:pt x="302" y="22"/>
                  </a:lnTo>
                  <a:lnTo>
                    <a:pt x="303" y="22"/>
                  </a:lnTo>
                  <a:lnTo>
                    <a:pt x="303" y="22"/>
                  </a:lnTo>
                  <a:lnTo>
                    <a:pt x="304" y="22"/>
                  </a:lnTo>
                  <a:lnTo>
                    <a:pt x="304" y="22"/>
                  </a:lnTo>
                  <a:lnTo>
                    <a:pt x="305" y="22"/>
                  </a:lnTo>
                  <a:lnTo>
                    <a:pt x="305" y="22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09" y="24"/>
                  </a:lnTo>
                  <a:lnTo>
                    <a:pt x="308" y="24"/>
                  </a:lnTo>
                  <a:lnTo>
                    <a:pt x="308" y="25"/>
                  </a:lnTo>
                  <a:lnTo>
                    <a:pt x="308" y="25"/>
                  </a:lnTo>
                  <a:lnTo>
                    <a:pt x="308" y="24"/>
                  </a:lnTo>
                  <a:lnTo>
                    <a:pt x="307" y="24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6" y="23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3" y="23"/>
                  </a:lnTo>
                  <a:lnTo>
                    <a:pt x="303" y="23"/>
                  </a:lnTo>
                  <a:lnTo>
                    <a:pt x="303" y="24"/>
                  </a:lnTo>
                  <a:lnTo>
                    <a:pt x="303" y="23"/>
                  </a:lnTo>
                  <a:lnTo>
                    <a:pt x="302" y="23"/>
                  </a:lnTo>
                  <a:lnTo>
                    <a:pt x="301" y="23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8" y="25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7" y="24"/>
                  </a:lnTo>
                  <a:lnTo>
                    <a:pt x="298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300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close/>
                  <a:moveTo>
                    <a:pt x="236" y="20"/>
                  </a:moveTo>
                  <a:lnTo>
                    <a:pt x="236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8" y="20"/>
                  </a:lnTo>
                  <a:lnTo>
                    <a:pt x="239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39" y="21"/>
                  </a:lnTo>
                  <a:lnTo>
                    <a:pt x="238" y="22"/>
                  </a:lnTo>
                  <a:lnTo>
                    <a:pt x="238" y="21"/>
                  </a:lnTo>
                  <a:lnTo>
                    <a:pt x="237" y="22"/>
                  </a:lnTo>
                  <a:lnTo>
                    <a:pt x="237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5" y="22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5" y="20"/>
                  </a:lnTo>
                  <a:lnTo>
                    <a:pt x="234" y="20"/>
                  </a:lnTo>
                  <a:lnTo>
                    <a:pt x="235" y="20"/>
                  </a:lnTo>
                  <a:lnTo>
                    <a:pt x="236" y="20"/>
                  </a:lnTo>
                  <a:close/>
                  <a:moveTo>
                    <a:pt x="341" y="1"/>
                  </a:moveTo>
                  <a:lnTo>
                    <a:pt x="342" y="1"/>
                  </a:lnTo>
                  <a:lnTo>
                    <a:pt x="342" y="2"/>
                  </a:lnTo>
                  <a:lnTo>
                    <a:pt x="341" y="2"/>
                  </a:lnTo>
                  <a:lnTo>
                    <a:pt x="342" y="2"/>
                  </a:lnTo>
                  <a:lnTo>
                    <a:pt x="342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0" y="3"/>
                  </a:lnTo>
                  <a:lnTo>
                    <a:pt x="340" y="3"/>
                  </a:lnTo>
                  <a:lnTo>
                    <a:pt x="339" y="3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37" y="3"/>
                  </a:lnTo>
                  <a:lnTo>
                    <a:pt x="337" y="3"/>
                  </a:lnTo>
                  <a:lnTo>
                    <a:pt x="336" y="3"/>
                  </a:lnTo>
                  <a:lnTo>
                    <a:pt x="336" y="3"/>
                  </a:lnTo>
                  <a:lnTo>
                    <a:pt x="336" y="4"/>
                  </a:lnTo>
                  <a:lnTo>
                    <a:pt x="335" y="4"/>
                  </a:lnTo>
                  <a:lnTo>
                    <a:pt x="334" y="4"/>
                  </a:lnTo>
                  <a:lnTo>
                    <a:pt x="333" y="4"/>
                  </a:lnTo>
                  <a:lnTo>
                    <a:pt x="333" y="4"/>
                  </a:lnTo>
                  <a:lnTo>
                    <a:pt x="332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0" y="4"/>
                  </a:lnTo>
                  <a:lnTo>
                    <a:pt x="330" y="4"/>
                  </a:lnTo>
                  <a:lnTo>
                    <a:pt x="329" y="4"/>
                  </a:lnTo>
                  <a:lnTo>
                    <a:pt x="328" y="4"/>
                  </a:lnTo>
                  <a:lnTo>
                    <a:pt x="328" y="5"/>
                  </a:lnTo>
                  <a:lnTo>
                    <a:pt x="327" y="5"/>
                  </a:lnTo>
                  <a:lnTo>
                    <a:pt x="327" y="5"/>
                  </a:lnTo>
                  <a:lnTo>
                    <a:pt x="327" y="4"/>
                  </a:lnTo>
                  <a:lnTo>
                    <a:pt x="326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7" y="3"/>
                  </a:lnTo>
                  <a:lnTo>
                    <a:pt x="327" y="3"/>
                  </a:lnTo>
                  <a:lnTo>
                    <a:pt x="327" y="2"/>
                  </a:lnTo>
                  <a:lnTo>
                    <a:pt x="328" y="2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1"/>
                  </a:lnTo>
                  <a:lnTo>
                    <a:pt x="330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2" y="1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4" y="0"/>
                  </a:lnTo>
                  <a:lnTo>
                    <a:pt x="335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9" y="0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6" name="Freeform 82"/>
            <p:cNvSpPr>
              <a:spLocks noEditPoints="1"/>
            </p:cNvSpPr>
            <p:nvPr/>
          </p:nvSpPr>
          <p:spPr bwMode="auto">
            <a:xfrm>
              <a:off x="5807464" y="3085203"/>
              <a:ext cx="276730" cy="439528"/>
            </a:xfrm>
            <a:custGeom>
              <a:avLst/>
              <a:gdLst>
                <a:gd name="T0" fmla="*/ 7 w 212"/>
                <a:gd name="T1" fmla="*/ 264 h 319"/>
                <a:gd name="T2" fmla="*/ 53 w 212"/>
                <a:gd name="T3" fmla="*/ 227 h 319"/>
                <a:gd name="T4" fmla="*/ 63 w 212"/>
                <a:gd name="T5" fmla="*/ 213 h 319"/>
                <a:gd name="T6" fmla="*/ 86 w 212"/>
                <a:gd name="T7" fmla="*/ 176 h 319"/>
                <a:gd name="T8" fmla="*/ 91 w 212"/>
                <a:gd name="T9" fmla="*/ 179 h 319"/>
                <a:gd name="T10" fmla="*/ 86 w 212"/>
                <a:gd name="T11" fmla="*/ 172 h 319"/>
                <a:gd name="T12" fmla="*/ 105 w 212"/>
                <a:gd name="T13" fmla="*/ 168 h 319"/>
                <a:gd name="T14" fmla="*/ 106 w 212"/>
                <a:gd name="T15" fmla="*/ 163 h 319"/>
                <a:gd name="T16" fmla="*/ 145 w 212"/>
                <a:gd name="T17" fmla="*/ 151 h 319"/>
                <a:gd name="T18" fmla="*/ 150 w 212"/>
                <a:gd name="T19" fmla="*/ 144 h 319"/>
                <a:gd name="T20" fmla="*/ 197 w 212"/>
                <a:gd name="T21" fmla="*/ 156 h 319"/>
                <a:gd name="T22" fmla="*/ 181 w 212"/>
                <a:gd name="T23" fmla="*/ 157 h 319"/>
                <a:gd name="T24" fmla="*/ 93 w 212"/>
                <a:gd name="T25" fmla="*/ 199 h 319"/>
                <a:gd name="T26" fmla="*/ 55 w 212"/>
                <a:gd name="T27" fmla="*/ 305 h 319"/>
                <a:gd name="T28" fmla="*/ 46 w 212"/>
                <a:gd name="T29" fmla="*/ 297 h 319"/>
                <a:gd name="T30" fmla="*/ 39 w 212"/>
                <a:gd name="T31" fmla="*/ 306 h 319"/>
                <a:gd name="T32" fmla="*/ 22 w 212"/>
                <a:gd name="T33" fmla="*/ 318 h 319"/>
                <a:gd name="T34" fmla="*/ 10 w 212"/>
                <a:gd name="T35" fmla="*/ 306 h 319"/>
                <a:gd name="T36" fmla="*/ 10 w 212"/>
                <a:gd name="T37" fmla="*/ 298 h 319"/>
                <a:gd name="T38" fmla="*/ 12 w 212"/>
                <a:gd name="T39" fmla="*/ 292 h 319"/>
                <a:gd name="T40" fmla="*/ 8 w 212"/>
                <a:gd name="T41" fmla="*/ 290 h 319"/>
                <a:gd name="T42" fmla="*/ 5 w 212"/>
                <a:gd name="T43" fmla="*/ 284 h 319"/>
                <a:gd name="T44" fmla="*/ 15 w 212"/>
                <a:gd name="T45" fmla="*/ 279 h 319"/>
                <a:gd name="T46" fmla="*/ 9 w 212"/>
                <a:gd name="T47" fmla="*/ 277 h 319"/>
                <a:gd name="T48" fmla="*/ 4 w 212"/>
                <a:gd name="T49" fmla="*/ 272 h 319"/>
                <a:gd name="T50" fmla="*/ 6 w 212"/>
                <a:gd name="T51" fmla="*/ 266 h 319"/>
                <a:gd name="T52" fmla="*/ 19 w 212"/>
                <a:gd name="T53" fmla="*/ 265 h 319"/>
                <a:gd name="T54" fmla="*/ 23 w 212"/>
                <a:gd name="T55" fmla="*/ 258 h 319"/>
                <a:gd name="T56" fmla="*/ 27 w 212"/>
                <a:gd name="T57" fmla="*/ 253 h 319"/>
                <a:gd name="T58" fmla="*/ 37 w 212"/>
                <a:gd name="T59" fmla="*/ 248 h 319"/>
                <a:gd name="T60" fmla="*/ 55 w 212"/>
                <a:gd name="T61" fmla="*/ 242 h 319"/>
                <a:gd name="T62" fmla="*/ 41 w 212"/>
                <a:gd name="T63" fmla="*/ 242 h 319"/>
                <a:gd name="T64" fmla="*/ 52 w 212"/>
                <a:gd name="T65" fmla="*/ 232 h 319"/>
                <a:gd name="T66" fmla="*/ 63 w 212"/>
                <a:gd name="T67" fmla="*/ 228 h 319"/>
                <a:gd name="T68" fmla="*/ 62 w 212"/>
                <a:gd name="T69" fmla="*/ 224 h 319"/>
                <a:gd name="T70" fmla="*/ 64 w 212"/>
                <a:gd name="T71" fmla="*/ 217 h 319"/>
                <a:gd name="T72" fmla="*/ 70 w 212"/>
                <a:gd name="T73" fmla="*/ 208 h 319"/>
                <a:gd name="T74" fmla="*/ 73 w 212"/>
                <a:gd name="T75" fmla="*/ 201 h 319"/>
                <a:gd name="T76" fmla="*/ 85 w 212"/>
                <a:gd name="T77" fmla="*/ 195 h 319"/>
                <a:gd name="T78" fmla="*/ 86 w 212"/>
                <a:gd name="T79" fmla="*/ 190 h 319"/>
                <a:gd name="T80" fmla="*/ 87 w 212"/>
                <a:gd name="T81" fmla="*/ 184 h 319"/>
                <a:gd name="T82" fmla="*/ 95 w 212"/>
                <a:gd name="T83" fmla="*/ 183 h 319"/>
                <a:gd name="T84" fmla="*/ 97 w 212"/>
                <a:gd name="T85" fmla="*/ 177 h 319"/>
                <a:gd name="T86" fmla="*/ 112 w 212"/>
                <a:gd name="T87" fmla="*/ 166 h 319"/>
                <a:gd name="T88" fmla="*/ 122 w 212"/>
                <a:gd name="T89" fmla="*/ 161 h 319"/>
                <a:gd name="T90" fmla="*/ 138 w 212"/>
                <a:gd name="T91" fmla="*/ 158 h 319"/>
                <a:gd name="T92" fmla="*/ 146 w 212"/>
                <a:gd name="T93" fmla="*/ 154 h 319"/>
                <a:gd name="T94" fmla="*/ 161 w 212"/>
                <a:gd name="T95" fmla="*/ 146 h 319"/>
                <a:gd name="T96" fmla="*/ 165 w 212"/>
                <a:gd name="T97" fmla="*/ 150 h 319"/>
                <a:gd name="T98" fmla="*/ 178 w 212"/>
                <a:gd name="T99" fmla="*/ 149 h 319"/>
                <a:gd name="T100" fmla="*/ 191 w 212"/>
                <a:gd name="T101" fmla="*/ 144 h 319"/>
                <a:gd name="T102" fmla="*/ 198 w 212"/>
                <a:gd name="T103" fmla="*/ 145 h 319"/>
                <a:gd name="T104" fmla="*/ 98 w 212"/>
                <a:gd name="T105" fmla="*/ 36 h 319"/>
                <a:gd name="T106" fmla="*/ 89 w 212"/>
                <a:gd name="T107" fmla="*/ 29 h 319"/>
                <a:gd name="T108" fmla="*/ 80 w 212"/>
                <a:gd name="T109" fmla="*/ 24 h 319"/>
                <a:gd name="T110" fmla="*/ 61 w 212"/>
                <a:gd name="T111" fmla="*/ 25 h 319"/>
                <a:gd name="T112" fmla="*/ 50 w 212"/>
                <a:gd name="T113" fmla="*/ 12 h 319"/>
                <a:gd name="T114" fmla="*/ 66 w 212"/>
                <a:gd name="T115" fmla="*/ 5 h 319"/>
                <a:gd name="T116" fmla="*/ 78 w 212"/>
                <a:gd name="T117" fmla="*/ 6 h 319"/>
                <a:gd name="T118" fmla="*/ 99 w 212"/>
                <a:gd name="T119" fmla="*/ 3 h 319"/>
                <a:gd name="T120" fmla="*/ 135 w 212"/>
                <a:gd name="T121" fmla="*/ 21 h 319"/>
                <a:gd name="T122" fmla="*/ 104 w 212"/>
                <a:gd name="T123" fmla="*/ 43 h 319"/>
                <a:gd name="T124" fmla="*/ 91 w 212"/>
                <a:gd name="T125" fmla="*/ 5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" h="319">
                  <a:moveTo>
                    <a:pt x="4" y="290"/>
                  </a:moveTo>
                  <a:lnTo>
                    <a:pt x="4" y="291"/>
                  </a:lnTo>
                  <a:lnTo>
                    <a:pt x="4" y="290"/>
                  </a:lnTo>
                  <a:lnTo>
                    <a:pt x="4" y="291"/>
                  </a:lnTo>
                  <a:lnTo>
                    <a:pt x="3" y="290"/>
                  </a:lnTo>
                  <a:lnTo>
                    <a:pt x="3" y="291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1" y="282"/>
                  </a:moveTo>
                  <a:lnTo>
                    <a:pt x="2" y="282"/>
                  </a:lnTo>
                  <a:lnTo>
                    <a:pt x="1" y="282"/>
                  </a:lnTo>
                  <a:lnTo>
                    <a:pt x="2" y="282"/>
                  </a:lnTo>
                  <a:lnTo>
                    <a:pt x="1" y="282"/>
                  </a:lnTo>
                  <a:close/>
                  <a:moveTo>
                    <a:pt x="1" y="277"/>
                  </a:moveTo>
                  <a:lnTo>
                    <a:pt x="1" y="278"/>
                  </a:lnTo>
                  <a:lnTo>
                    <a:pt x="1" y="277"/>
                  </a:lnTo>
                  <a:close/>
                  <a:moveTo>
                    <a:pt x="1" y="278"/>
                  </a:moveTo>
                  <a:lnTo>
                    <a:pt x="1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7"/>
                  </a:lnTo>
                  <a:lnTo>
                    <a:pt x="1" y="278"/>
                  </a:lnTo>
                  <a:close/>
                  <a:moveTo>
                    <a:pt x="1" y="277"/>
                  </a:moveTo>
                  <a:lnTo>
                    <a:pt x="1" y="277"/>
                  </a:lnTo>
                  <a:lnTo>
                    <a:pt x="1" y="277"/>
                  </a:lnTo>
                  <a:close/>
                  <a:moveTo>
                    <a:pt x="0" y="276"/>
                  </a:moveTo>
                  <a:lnTo>
                    <a:pt x="0" y="276"/>
                  </a:lnTo>
                  <a:lnTo>
                    <a:pt x="0" y="276"/>
                  </a:lnTo>
                  <a:close/>
                  <a:moveTo>
                    <a:pt x="7" y="263"/>
                  </a:move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7" y="263"/>
                  </a:lnTo>
                  <a:lnTo>
                    <a:pt x="7" y="263"/>
                  </a:lnTo>
                  <a:close/>
                  <a:moveTo>
                    <a:pt x="26" y="249"/>
                  </a:move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49"/>
                  </a:lnTo>
                  <a:close/>
                  <a:moveTo>
                    <a:pt x="27" y="247"/>
                  </a:move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8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7" y="247"/>
                  </a:lnTo>
                  <a:close/>
                  <a:moveTo>
                    <a:pt x="34" y="244"/>
                  </a:move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7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4" y="244"/>
                  </a:lnTo>
                  <a:lnTo>
                    <a:pt x="33" y="244"/>
                  </a:lnTo>
                  <a:lnTo>
                    <a:pt x="34" y="244"/>
                  </a:lnTo>
                  <a:close/>
                  <a:moveTo>
                    <a:pt x="31" y="242"/>
                  </a:move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close/>
                  <a:moveTo>
                    <a:pt x="48" y="228"/>
                  </a:moveTo>
                  <a:lnTo>
                    <a:pt x="48" y="228"/>
                  </a:lnTo>
                  <a:lnTo>
                    <a:pt x="48" y="228"/>
                  </a:lnTo>
                  <a:lnTo>
                    <a:pt x="48" y="228"/>
                  </a:lnTo>
                  <a:lnTo>
                    <a:pt x="49" y="228"/>
                  </a:lnTo>
                  <a:lnTo>
                    <a:pt x="48" y="228"/>
                  </a:lnTo>
                  <a:close/>
                  <a:moveTo>
                    <a:pt x="52" y="227"/>
                  </a:move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8"/>
                  </a:lnTo>
                  <a:lnTo>
                    <a:pt x="54" y="227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7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1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3" y="227"/>
                  </a:lnTo>
                  <a:lnTo>
                    <a:pt x="52" y="227"/>
                  </a:lnTo>
                  <a:close/>
                  <a:moveTo>
                    <a:pt x="50" y="226"/>
                  </a:move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7"/>
                  </a:lnTo>
                  <a:lnTo>
                    <a:pt x="50" y="226"/>
                  </a:lnTo>
                  <a:close/>
                  <a:moveTo>
                    <a:pt x="51" y="226"/>
                  </a:moveTo>
                  <a:lnTo>
                    <a:pt x="52" y="226"/>
                  </a:lnTo>
                  <a:lnTo>
                    <a:pt x="51" y="226"/>
                  </a:lnTo>
                  <a:lnTo>
                    <a:pt x="52" y="226"/>
                  </a:lnTo>
                  <a:lnTo>
                    <a:pt x="51" y="226"/>
                  </a:lnTo>
                  <a:close/>
                  <a:moveTo>
                    <a:pt x="59" y="217"/>
                  </a:move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7" y="218"/>
                  </a:lnTo>
                  <a:lnTo>
                    <a:pt x="57" y="217"/>
                  </a:lnTo>
                  <a:lnTo>
                    <a:pt x="58" y="217"/>
                  </a:lnTo>
                  <a:lnTo>
                    <a:pt x="59" y="216"/>
                  </a:lnTo>
                  <a:lnTo>
                    <a:pt x="59" y="217"/>
                  </a:lnTo>
                  <a:close/>
                  <a:moveTo>
                    <a:pt x="58" y="214"/>
                  </a:moveTo>
                  <a:lnTo>
                    <a:pt x="57" y="214"/>
                  </a:lnTo>
                  <a:lnTo>
                    <a:pt x="58" y="214"/>
                  </a:lnTo>
                  <a:lnTo>
                    <a:pt x="57" y="214"/>
                  </a:lnTo>
                  <a:lnTo>
                    <a:pt x="58" y="214"/>
                  </a:lnTo>
                  <a:close/>
                  <a:moveTo>
                    <a:pt x="58" y="214"/>
                  </a:moveTo>
                  <a:lnTo>
                    <a:pt x="58" y="214"/>
                  </a:lnTo>
                  <a:lnTo>
                    <a:pt x="58" y="214"/>
                  </a:lnTo>
                  <a:close/>
                  <a:moveTo>
                    <a:pt x="61" y="214"/>
                  </a:moveTo>
                  <a:lnTo>
                    <a:pt x="60" y="214"/>
                  </a:lnTo>
                  <a:lnTo>
                    <a:pt x="60" y="213"/>
                  </a:lnTo>
                  <a:lnTo>
                    <a:pt x="60" y="214"/>
                  </a:lnTo>
                  <a:lnTo>
                    <a:pt x="60" y="213"/>
                  </a:lnTo>
                  <a:lnTo>
                    <a:pt x="61" y="213"/>
                  </a:lnTo>
                  <a:lnTo>
                    <a:pt x="61" y="214"/>
                  </a:lnTo>
                  <a:close/>
                  <a:moveTo>
                    <a:pt x="61" y="213"/>
                  </a:moveTo>
                  <a:lnTo>
                    <a:pt x="61" y="214"/>
                  </a:lnTo>
                  <a:lnTo>
                    <a:pt x="61" y="213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2" y="213"/>
                  </a:lnTo>
                  <a:lnTo>
                    <a:pt x="61" y="213"/>
                  </a:lnTo>
                  <a:lnTo>
                    <a:pt x="61" y="212"/>
                  </a:lnTo>
                  <a:lnTo>
                    <a:pt x="61" y="213"/>
                  </a:lnTo>
                  <a:lnTo>
                    <a:pt x="62" y="213"/>
                  </a:ln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7" y="212"/>
                  </a:lnTo>
                  <a:lnTo>
                    <a:pt x="67" y="213"/>
                  </a:lnTo>
                  <a:lnTo>
                    <a:pt x="66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4" y="213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4" y="213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4" y="213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3" y="207"/>
                  </a:moveTo>
                  <a:lnTo>
                    <a:pt x="63" y="207"/>
                  </a:lnTo>
                  <a:lnTo>
                    <a:pt x="62" y="207"/>
                  </a:lnTo>
                  <a:lnTo>
                    <a:pt x="63" y="207"/>
                  </a:lnTo>
                  <a:lnTo>
                    <a:pt x="62" y="207"/>
                  </a:lnTo>
                  <a:lnTo>
                    <a:pt x="62" y="207"/>
                  </a:lnTo>
                  <a:lnTo>
                    <a:pt x="63" y="207"/>
                  </a:lnTo>
                  <a:close/>
                  <a:moveTo>
                    <a:pt x="61" y="204"/>
                  </a:moveTo>
                  <a:lnTo>
                    <a:pt x="61" y="205"/>
                  </a:lnTo>
                  <a:lnTo>
                    <a:pt x="61" y="204"/>
                  </a:lnTo>
                  <a:lnTo>
                    <a:pt x="61" y="205"/>
                  </a:lnTo>
                  <a:lnTo>
                    <a:pt x="61" y="205"/>
                  </a:lnTo>
                  <a:lnTo>
                    <a:pt x="61" y="204"/>
                  </a:lnTo>
                  <a:close/>
                  <a:moveTo>
                    <a:pt x="65" y="204"/>
                  </a:moveTo>
                  <a:lnTo>
                    <a:pt x="65" y="205"/>
                  </a:lnTo>
                  <a:lnTo>
                    <a:pt x="65" y="204"/>
                  </a:lnTo>
                  <a:close/>
                  <a:moveTo>
                    <a:pt x="81" y="182"/>
                  </a:moveTo>
                  <a:lnTo>
                    <a:pt x="81" y="183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2"/>
                  </a:lnTo>
                  <a:close/>
                  <a:moveTo>
                    <a:pt x="76" y="180"/>
                  </a:moveTo>
                  <a:lnTo>
                    <a:pt x="77" y="180"/>
                  </a:lnTo>
                  <a:lnTo>
                    <a:pt x="78" y="180"/>
                  </a:lnTo>
                  <a:lnTo>
                    <a:pt x="78" y="181"/>
                  </a:lnTo>
                  <a:lnTo>
                    <a:pt x="77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5" y="182"/>
                  </a:lnTo>
                  <a:lnTo>
                    <a:pt x="75" y="181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3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4"/>
                  </a:lnTo>
                  <a:lnTo>
                    <a:pt x="72" y="183"/>
                  </a:lnTo>
                  <a:lnTo>
                    <a:pt x="71" y="184"/>
                  </a:lnTo>
                  <a:lnTo>
                    <a:pt x="72" y="184"/>
                  </a:lnTo>
                  <a:lnTo>
                    <a:pt x="71" y="184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1" y="182"/>
                  </a:lnTo>
                  <a:lnTo>
                    <a:pt x="72" y="182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3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close/>
                  <a:moveTo>
                    <a:pt x="85" y="171"/>
                  </a:moveTo>
                  <a:lnTo>
                    <a:pt x="86" y="171"/>
                  </a:lnTo>
                  <a:lnTo>
                    <a:pt x="86" y="172"/>
                  </a:lnTo>
                  <a:lnTo>
                    <a:pt x="85" y="171"/>
                  </a:lnTo>
                  <a:close/>
                  <a:moveTo>
                    <a:pt x="85" y="180"/>
                  </a:moveTo>
                  <a:lnTo>
                    <a:pt x="84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81"/>
                  </a:lnTo>
                  <a:lnTo>
                    <a:pt x="83" y="181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5" y="178"/>
                  </a:lnTo>
                  <a:lnTo>
                    <a:pt x="85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8" y="176"/>
                  </a:lnTo>
                  <a:lnTo>
                    <a:pt x="89" y="176"/>
                  </a:lnTo>
                  <a:lnTo>
                    <a:pt x="88" y="176"/>
                  </a:lnTo>
                  <a:lnTo>
                    <a:pt x="87" y="176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8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9" y="173"/>
                  </a:lnTo>
                  <a:lnTo>
                    <a:pt x="88" y="173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3"/>
                  </a:lnTo>
                  <a:lnTo>
                    <a:pt x="91" y="173"/>
                  </a:lnTo>
                  <a:lnTo>
                    <a:pt x="91" y="173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5"/>
                  </a:lnTo>
                  <a:lnTo>
                    <a:pt x="90" y="175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7"/>
                  </a:lnTo>
                  <a:lnTo>
                    <a:pt x="89" y="177"/>
                  </a:lnTo>
                  <a:lnTo>
                    <a:pt x="90" y="177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1" y="175"/>
                  </a:lnTo>
                  <a:lnTo>
                    <a:pt x="91" y="175"/>
                  </a:lnTo>
                  <a:lnTo>
                    <a:pt x="92" y="175"/>
                  </a:lnTo>
                  <a:lnTo>
                    <a:pt x="92" y="176"/>
                  </a:lnTo>
                  <a:lnTo>
                    <a:pt x="92" y="175"/>
                  </a:lnTo>
                  <a:lnTo>
                    <a:pt x="91" y="175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4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4" y="176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8"/>
                  </a:lnTo>
                  <a:lnTo>
                    <a:pt x="91" y="178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8"/>
                  </a:lnTo>
                  <a:lnTo>
                    <a:pt x="90" y="177"/>
                  </a:lnTo>
                  <a:lnTo>
                    <a:pt x="90" y="178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8" y="180"/>
                  </a:lnTo>
                  <a:lnTo>
                    <a:pt x="88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8"/>
                  </a:lnTo>
                  <a:lnTo>
                    <a:pt x="88" y="178"/>
                  </a:lnTo>
                  <a:lnTo>
                    <a:pt x="88" y="177"/>
                  </a:lnTo>
                  <a:lnTo>
                    <a:pt x="87" y="177"/>
                  </a:lnTo>
                  <a:lnTo>
                    <a:pt x="88" y="177"/>
                  </a:lnTo>
                  <a:lnTo>
                    <a:pt x="87" y="178"/>
                  </a:lnTo>
                  <a:lnTo>
                    <a:pt x="87" y="178"/>
                  </a:lnTo>
                  <a:lnTo>
                    <a:pt x="87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close/>
                  <a:moveTo>
                    <a:pt x="79" y="174"/>
                  </a:move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3"/>
                  </a:lnTo>
                  <a:lnTo>
                    <a:pt x="85" y="173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5"/>
                  </a:lnTo>
                  <a:lnTo>
                    <a:pt x="86" y="175"/>
                  </a:lnTo>
                  <a:lnTo>
                    <a:pt x="86" y="175"/>
                  </a:lnTo>
                  <a:lnTo>
                    <a:pt x="86" y="176"/>
                  </a:lnTo>
                  <a:lnTo>
                    <a:pt x="85" y="176"/>
                  </a:lnTo>
                  <a:lnTo>
                    <a:pt x="85" y="176"/>
                  </a:lnTo>
                  <a:lnTo>
                    <a:pt x="84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4" y="174"/>
                  </a:lnTo>
                  <a:lnTo>
                    <a:pt x="85" y="174"/>
                  </a:lnTo>
                  <a:lnTo>
                    <a:pt x="85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8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79" y="174"/>
                  </a:lnTo>
                  <a:close/>
                  <a:moveTo>
                    <a:pt x="107" y="164"/>
                  </a:moveTo>
                  <a:lnTo>
                    <a:pt x="107" y="164"/>
                  </a:lnTo>
                  <a:lnTo>
                    <a:pt x="107" y="164"/>
                  </a:lnTo>
                  <a:lnTo>
                    <a:pt x="107" y="165"/>
                  </a:lnTo>
                  <a:lnTo>
                    <a:pt x="108" y="165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7" y="165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6" y="168"/>
                  </a:lnTo>
                  <a:lnTo>
                    <a:pt x="105" y="168"/>
                  </a:lnTo>
                  <a:lnTo>
                    <a:pt x="105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8" y="170"/>
                  </a:lnTo>
                  <a:lnTo>
                    <a:pt x="98" y="170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99" y="168"/>
                  </a:lnTo>
                  <a:lnTo>
                    <a:pt x="98" y="168"/>
                  </a:lnTo>
                  <a:lnTo>
                    <a:pt x="99" y="168"/>
                  </a:lnTo>
                  <a:lnTo>
                    <a:pt x="99" y="167"/>
                  </a:lnTo>
                  <a:lnTo>
                    <a:pt x="98" y="167"/>
                  </a:lnTo>
                  <a:lnTo>
                    <a:pt x="99" y="167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1" y="167"/>
                  </a:lnTo>
                  <a:lnTo>
                    <a:pt x="100" y="167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98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6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99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9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3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1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2" y="163"/>
                  </a:lnTo>
                  <a:lnTo>
                    <a:pt x="103" y="163"/>
                  </a:lnTo>
                  <a:lnTo>
                    <a:pt x="104" y="163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4"/>
                  </a:lnTo>
                  <a:lnTo>
                    <a:pt x="104" y="164"/>
                  </a:lnTo>
                  <a:lnTo>
                    <a:pt x="105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5" y="164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4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6" y="163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8" y="163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7" y="164"/>
                  </a:lnTo>
                  <a:close/>
                  <a:moveTo>
                    <a:pt x="206" y="158"/>
                  </a:move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60"/>
                  </a:lnTo>
                  <a:lnTo>
                    <a:pt x="207" y="161"/>
                  </a:lnTo>
                  <a:lnTo>
                    <a:pt x="206" y="161"/>
                  </a:lnTo>
                  <a:lnTo>
                    <a:pt x="207" y="161"/>
                  </a:lnTo>
                  <a:lnTo>
                    <a:pt x="208" y="161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9" y="159"/>
                  </a:lnTo>
                  <a:lnTo>
                    <a:pt x="208" y="159"/>
                  </a:lnTo>
                  <a:lnTo>
                    <a:pt x="209" y="158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1" y="159"/>
                  </a:lnTo>
                  <a:lnTo>
                    <a:pt x="211" y="160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1" y="161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1" y="162"/>
                  </a:lnTo>
                  <a:lnTo>
                    <a:pt x="210" y="162"/>
                  </a:lnTo>
                  <a:lnTo>
                    <a:pt x="210" y="163"/>
                  </a:lnTo>
                  <a:lnTo>
                    <a:pt x="210" y="163"/>
                  </a:lnTo>
                  <a:lnTo>
                    <a:pt x="209" y="162"/>
                  </a:lnTo>
                  <a:lnTo>
                    <a:pt x="208" y="162"/>
                  </a:lnTo>
                  <a:lnTo>
                    <a:pt x="207" y="162"/>
                  </a:lnTo>
                  <a:lnTo>
                    <a:pt x="206" y="161"/>
                  </a:lnTo>
                  <a:lnTo>
                    <a:pt x="206" y="161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0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3" y="159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9"/>
                  </a:lnTo>
                  <a:lnTo>
                    <a:pt x="204" y="158"/>
                  </a:lnTo>
                  <a:lnTo>
                    <a:pt x="205" y="158"/>
                  </a:lnTo>
                  <a:lnTo>
                    <a:pt x="205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3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7"/>
                  </a:lnTo>
                  <a:lnTo>
                    <a:pt x="203" y="157"/>
                  </a:lnTo>
                  <a:lnTo>
                    <a:pt x="204" y="157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close/>
                  <a:moveTo>
                    <a:pt x="143" y="151"/>
                  </a:moveTo>
                  <a:lnTo>
                    <a:pt x="144" y="151"/>
                  </a:lnTo>
                  <a:lnTo>
                    <a:pt x="144" y="150"/>
                  </a:lnTo>
                  <a:lnTo>
                    <a:pt x="144" y="151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6" y="150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7" y="151"/>
                  </a:lnTo>
                  <a:lnTo>
                    <a:pt x="147" y="152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8" y="152"/>
                  </a:lnTo>
                  <a:lnTo>
                    <a:pt x="148" y="153"/>
                  </a:lnTo>
                  <a:lnTo>
                    <a:pt x="147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2"/>
                  </a:lnTo>
                  <a:lnTo>
                    <a:pt x="144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close/>
                  <a:moveTo>
                    <a:pt x="141" y="148"/>
                  </a:moveTo>
                  <a:lnTo>
                    <a:pt x="141" y="148"/>
                  </a:lnTo>
                  <a:lnTo>
                    <a:pt x="141" y="148"/>
                  </a:lnTo>
                  <a:lnTo>
                    <a:pt x="142" y="148"/>
                  </a:lnTo>
                  <a:lnTo>
                    <a:pt x="141" y="148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6"/>
                  </a:lnTo>
                  <a:lnTo>
                    <a:pt x="142" y="146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3" y="147"/>
                  </a:lnTo>
                  <a:lnTo>
                    <a:pt x="142" y="147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6" y="147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8" y="146"/>
                  </a:lnTo>
                  <a:lnTo>
                    <a:pt x="148" y="147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8" y="145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50" y="144"/>
                  </a:lnTo>
                  <a:lnTo>
                    <a:pt x="150" y="145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1" y="145"/>
                  </a:lnTo>
                  <a:lnTo>
                    <a:pt x="151" y="146"/>
                  </a:lnTo>
                  <a:lnTo>
                    <a:pt x="150" y="146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8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7" y="148"/>
                  </a:lnTo>
                  <a:lnTo>
                    <a:pt x="147" y="147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4" y="148"/>
                  </a:lnTo>
                  <a:lnTo>
                    <a:pt x="144" y="149"/>
                  </a:lnTo>
                  <a:lnTo>
                    <a:pt x="144" y="148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3" y="149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0" y="149"/>
                  </a:lnTo>
                  <a:lnTo>
                    <a:pt x="141" y="149"/>
                  </a:lnTo>
                  <a:lnTo>
                    <a:pt x="141" y="148"/>
                  </a:lnTo>
                  <a:close/>
                  <a:moveTo>
                    <a:pt x="207" y="148"/>
                  </a:moveTo>
                  <a:lnTo>
                    <a:pt x="206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9"/>
                  </a:lnTo>
                  <a:lnTo>
                    <a:pt x="209" y="149"/>
                  </a:lnTo>
                  <a:lnTo>
                    <a:pt x="210" y="149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10" y="150"/>
                  </a:lnTo>
                  <a:lnTo>
                    <a:pt x="211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6" y="153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5" y="154"/>
                  </a:lnTo>
                  <a:lnTo>
                    <a:pt x="205" y="154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4" y="155"/>
                  </a:lnTo>
                  <a:lnTo>
                    <a:pt x="204" y="155"/>
                  </a:lnTo>
                  <a:lnTo>
                    <a:pt x="203" y="155"/>
                  </a:lnTo>
                  <a:lnTo>
                    <a:pt x="202" y="155"/>
                  </a:lnTo>
                  <a:lnTo>
                    <a:pt x="202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4"/>
                  </a:lnTo>
                  <a:lnTo>
                    <a:pt x="200" y="155"/>
                  </a:lnTo>
                  <a:lnTo>
                    <a:pt x="199" y="155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4"/>
                  </a:lnTo>
                  <a:lnTo>
                    <a:pt x="197" y="154"/>
                  </a:lnTo>
                  <a:lnTo>
                    <a:pt x="197" y="154"/>
                  </a:lnTo>
                  <a:lnTo>
                    <a:pt x="196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5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7" y="156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1" y="156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1" y="160"/>
                  </a:lnTo>
                  <a:lnTo>
                    <a:pt x="201" y="160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3" y="159"/>
                  </a:lnTo>
                  <a:lnTo>
                    <a:pt x="203" y="160"/>
                  </a:lnTo>
                  <a:lnTo>
                    <a:pt x="203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3" y="160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2"/>
                  </a:lnTo>
                  <a:lnTo>
                    <a:pt x="205" y="162"/>
                  </a:lnTo>
                  <a:lnTo>
                    <a:pt x="205" y="163"/>
                  </a:lnTo>
                  <a:lnTo>
                    <a:pt x="205" y="163"/>
                  </a:lnTo>
                  <a:lnTo>
                    <a:pt x="205" y="164"/>
                  </a:lnTo>
                  <a:lnTo>
                    <a:pt x="204" y="164"/>
                  </a:lnTo>
                  <a:lnTo>
                    <a:pt x="204" y="165"/>
                  </a:lnTo>
                  <a:lnTo>
                    <a:pt x="204" y="165"/>
                  </a:lnTo>
                  <a:lnTo>
                    <a:pt x="203" y="165"/>
                  </a:lnTo>
                  <a:lnTo>
                    <a:pt x="203" y="164"/>
                  </a:lnTo>
                  <a:lnTo>
                    <a:pt x="202" y="164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1" y="165"/>
                  </a:lnTo>
                  <a:lnTo>
                    <a:pt x="201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7" y="169"/>
                  </a:lnTo>
                  <a:lnTo>
                    <a:pt x="197" y="170"/>
                  </a:lnTo>
                  <a:lnTo>
                    <a:pt x="196" y="170"/>
                  </a:lnTo>
                  <a:lnTo>
                    <a:pt x="195" y="170"/>
                  </a:lnTo>
                  <a:lnTo>
                    <a:pt x="195" y="169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8"/>
                  </a:lnTo>
                  <a:lnTo>
                    <a:pt x="194" y="168"/>
                  </a:lnTo>
                  <a:lnTo>
                    <a:pt x="194" y="167"/>
                  </a:lnTo>
                  <a:lnTo>
                    <a:pt x="196" y="166"/>
                  </a:lnTo>
                  <a:lnTo>
                    <a:pt x="197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7" y="161"/>
                  </a:lnTo>
                  <a:lnTo>
                    <a:pt x="195" y="160"/>
                  </a:lnTo>
                  <a:lnTo>
                    <a:pt x="193" y="159"/>
                  </a:lnTo>
                  <a:lnTo>
                    <a:pt x="191" y="159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88" y="156"/>
                  </a:lnTo>
                  <a:lnTo>
                    <a:pt x="187" y="156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5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2" y="156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1" y="157"/>
                  </a:lnTo>
                  <a:lnTo>
                    <a:pt x="181" y="157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77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4" y="158"/>
                  </a:lnTo>
                  <a:lnTo>
                    <a:pt x="174" y="159"/>
                  </a:lnTo>
                  <a:lnTo>
                    <a:pt x="174" y="159"/>
                  </a:lnTo>
                  <a:lnTo>
                    <a:pt x="173" y="159"/>
                  </a:lnTo>
                  <a:lnTo>
                    <a:pt x="173" y="160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4"/>
                  </a:lnTo>
                  <a:lnTo>
                    <a:pt x="170" y="164"/>
                  </a:lnTo>
                  <a:lnTo>
                    <a:pt x="170" y="164"/>
                  </a:lnTo>
                  <a:lnTo>
                    <a:pt x="170" y="165"/>
                  </a:lnTo>
                  <a:lnTo>
                    <a:pt x="171" y="165"/>
                  </a:lnTo>
                  <a:lnTo>
                    <a:pt x="170" y="165"/>
                  </a:lnTo>
                  <a:lnTo>
                    <a:pt x="170" y="165"/>
                  </a:lnTo>
                  <a:lnTo>
                    <a:pt x="170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7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69" y="169"/>
                  </a:lnTo>
                  <a:lnTo>
                    <a:pt x="169" y="169"/>
                  </a:lnTo>
                  <a:lnTo>
                    <a:pt x="169" y="170"/>
                  </a:lnTo>
                  <a:lnTo>
                    <a:pt x="170" y="170"/>
                  </a:lnTo>
                  <a:lnTo>
                    <a:pt x="170" y="170"/>
                  </a:lnTo>
                  <a:lnTo>
                    <a:pt x="169" y="170"/>
                  </a:lnTo>
                  <a:lnTo>
                    <a:pt x="169" y="171"/>
                  </a:lnTo>
                  <a:lnTo>
                    <a:pt x="169" y="171"/>
                  </a:lnTo>
                  <a:lnTo>
                    <a:pt x="169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6" y="172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4"/>
                  </a:lnTo>
                  <a:lnTo>
                    <a:pt x="165" y="174"/>
                  </a:lnTo>
                  <a:lnTo>
                    <a:pt x="164" y="174"/>
                  </a:lnTo>
                  <a:lnTo>
                    <a:pt x="165" y="174"/>
                  </a:lnTo>
                  <a:lnTo>
                    <a:pt x="164" y="175"/>
                  </a:lnTo>
                  <a:lnTo>
                    <a:pt x="165" y="175"/>
                  </a:lnTo>
                  <a:lnTo>
                    <a:pt x="165" y="176"/>
                  </a:lnTo>
                  <a:lnTo>
                    <a:pt x="164" y="176"/>
                  </a:lnTo>
                  <a:lnTo>
                    <a:pt x="164" y="176"/>
                  </a:lnTo>
                  <a:lnTo>
                    <a:pt x="163" y="176"/>
                  </a:lnTo>
                  <a:lnTo>
                    <a:pt x="163" y="176"/>
                  </a:lnTo>
                  <a:lnTo>
                    <a:pt x="163" y="177"/>
                  </a:lnTo>
                  <a:lnTo>
                    <a:pt x="163" y="177"/>
                  </a:lnTo>
                  <a:lnTo>
                    <a:pt x="163" y="176"/>
                  </a:lnTo>
                  <a:lnTo>
                    <a:pt x="162" y="176"/>
                  </a:lnTo>
                  <a:lnTo>
                    <a:pt x="161" y="175"/>
                  </a:lnTo>
                  <a:lnTo>
                    <a:pt x="161" y="175"/>
                  </a:lnTo>
                  <a:lnTo>
                    <a:pt x="158" y="174"/>
                  </a:lnTo>
                  <a:lnTo>
                    <a:pt x="157" y="174"/>
                  </a:lnTo>
                  <a:lnTo>
                    <a:pt x="157" y="174"/>
                  </a:lnTo>
                  <a:lnTo>
                    <a:pt x="157" y="173"/>
                  </a:lnTo>
                  <a:lnTo>
                    <a:pt x="156" y="173"/>
                  </a:lnTo>
                  <a:lnTo>
                    <a:pt x="156" y="173"/>
                  </a:lnTo>
                  <a:lnTo>
                    <a:pt x="154" y="173"/>
                  </a:lnTo>
                  <a:lnTo>
                    <a:pt x="154" y="173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1" y="174"/>
                  </a:lnTo>
                  <a:lnTo>
                    <a:pt x="150" y="175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8" y="174"/>
                  </a:lnTo>
                  <a:lnTo>
                    <a:pt x="146" y="175"/>
                  </a:lnTo>
                  <a:lnTo>
                    <a:pt x="144" y="174"/>
                  </a:lnTo>
                  <a:lnTo>
                    <a:pt x="143" y="174"/>
                  </a:lnTo>
                  <a:lnTo>
                    <a:pt x="142" y="173"/>
                  </a:lnTo>
                  <a:lnTo>
                    <a:pt x="141" y="172"/>
                  </a:lnTo>
                  <a:lnTo>
                    <a:pt x="141" y="171"/>
                  </a:lnTo>
                  <a:lnTo>
                    <a:pt x="140" y="170"/>
                  </a:lnTo>
                  <a:lnTo>
                    <a:pt x="139" y="169"/>
                  </a:lnTo>
                  <a:lnTo>
                    <a:pt x="138" y="168"/>
                  </a:lnTo>
                  <a:lnTo>
                    <a:pt x="137" y="166"/>
                  </a:lnTo>
                  <a:lnTo>
                    <a:pt x="134" y="166"/>
                  </a:lnTo>
                  <a:lnTo>
                    <a:pt x="133" y="166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29" y="169"/>
                  </a:lnTo>
                  <a:lnTo>
                    <a:pt x="128" y="169"/>
                  </a:lnTo>
                  <a:lnTo>
                    <a:pt x="127" y="169"/>
                  </a:lnTo>
                  <a:lnTo>
                    <a:pt x="124" y="170"/>
                  </a:lnTo>
                  <a:lnTo>
                    <a:pt x="124" y="170"/>
                  </a:lnTo>
                  <a:lnTo>
                    <a:pt x="126" y="172"/>
                  </a:lnTo>
                  <a:lnTo>
                    <a:pt x="126" y="173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3" y="177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6" y="177"/>
                  </a:lnTo>
                  <a:lnTo>
                    <a:pt x="123" y="179"/>
                  </a:lnTo>
                  <a:lnTo>
                    <a:pt x="123" y="180"/>
                  </a:lnTo>
                  <a:lnTo>
                    <a:pt x="115" y="177"/>
                  </a:lnTo>
                  <a:lnTo>
                    <a:pt x="112" y="177"/>
                  </a:lnTo>
                  <a:lnTo>
                    <a:pt x="111" y="176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9" y="181"/>
                  </a:lnTo>
                  <a:lnTo>
                    <a:pt x="108" y="183"/>
                  </a:lnTo>
                  <a:lnTo>
                    <a:pt x="107" y="184"/>
                  </a:lnTo>
                  <a:lnTo>
                    <a:pt x="107" y="185"/>
                  </a:lnTo>
                  <a:lnTo>
                    <a:pt x="107" y="185"/>
                  </a:lnTo>
                  <a:lnTo>
                    <a:pt x="105" y="184"/>
                  </a:lnTo>
                  <a:lnTo>
                    <a:pt x="105" y="184"/>
                  </a:lnTo>
                  <a:lnTo>
                    <a:pt x="104" y="184"/>
                  </a:lnTo>
                  <a:lnTo>
                    <a:pt x="102" y="183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98" y="185"/>
                  </a:lnTo>
                  <a:lnTo>
                    <a:pt x="97" y="185"/>
                  </a:lnTo>
                  <a:lnTo>
                    <a:pt x="97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3" y="191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3" y="194"/>
                  </a:lnTo>
                  <a:lnTo>
                    <a:pt x="94" y="195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1" y="200"/>
                  </a:lnTo>
                  <a:lnTo>
                    <a:pt x="89" y="204"/>
                  </a:lnTo>
                  <a:lnTo>
                    <a:pt x="87" y="205"/>
                  </a:lnTo>
                  <a:lnTo>
                    <a:pt x="86" y="206"/>
                  </a:lnTo>
                  <a:lnTo>
                    <a:pt x="87" y="207"/>
                  </a:lnTo>
                  <a:lnTo>
                    <a:pt x="87" y="208"/>
                  </a:lnTo>
                  <a:lnTo>
                    <a:pt x="87" y="209"/>
                  </a:lnTo>
                  <a:lnTo>
                    <a:pt x="86" y="209"/>
                  </a:lnTo>
                  <a:lnTo>
                    <a:pt x="84" y="210"/>
                  </a:lnTo>
                  <a:lnTo>
                    <a:pt x="83" y="210"/>
                  </a:lnTo>
                  <a:lnTo>
                    <a:pt x="82" y="210"/>
                  </a:lnTo>
                  <a:lnTo>
                    <a:pt x="80" y="210"/>
                  </a:lnTo>
                  <a:lnTo>
                    <a:pt x="79" y="210"/>
                  </a:lnTo>
                  <a:lnTo>
                    <a:pt x="80" y="212"/>
                  </a:lnTo>
                  <a:lnTo>
                    <a:pt x="80" y="213"/>
                  </a:lnTo>
                  <a:lnTo>
                    <a:pt x="80" y="214"/>
                  </a:lnTo>
                  <a:lnTo>
                    <a:pt x="81" y="215"/>
                  </a:lnTo>
                  <a:lnTo>
                    <a:pt x="80" y="217"/>
                  </a:lnTo>
                  <a:lnTo>
                    <a:pt x="79" y="219"/>
                  </a:lnTo>
                  <a:lnTo>
                    <a:pt x="79" y="221"/>
                  </a:lnTo>
                  <a:lnTo>
                    <a:pt x="79" y="222"/>
                  </a:lnTo>
                  <a:lnTo>
                    <a:pt x="78" y="223"/>
                  </a:lnTo>
                  <a:lnTo>
                    <a:pt x="78" y="225"/>
                  </a:lnTo>
                  <a:lnTo>
                    <a:pt x="78" y="225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5" y="228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2" y="232"/>
                  </a:lnTo>
                  <a:lnTo>
                    <a:pt x="74" y="232"/>
                  </a:lnTo>
                  <a:lnTo>
                    <a:pt x="75" y="233"/>
                  </a:lnTo>
                  <a:lnTo>
                    <a:pt x="75" y="233"/>
                  </a:lnTo>
                  <a:lnTo>
                    <a:pt x="76" y="233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7"/>
                  </a:lnTo>
                  <a:lnTo>
                    <a:pt x="76" y="238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3" y="239"/>
                  </a:lnTo>
                  <a:lnTo>
                    <a:pt x="72" y="239"/>
                  </a:lnTo>
                  <a:lnTo>
                    <a:pt x="71" y="239"/>
                  </a:lnTo>
                  <a:lnTo>
                    <a:pt x="69" y="239"/>
                  </a:lnTo>
                  <a:lnTo>
                    <a:pt x="68" y="239"/>
                  </a:lnTo>
                  <a:lnTo>
                    <a:pt x="67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4" y="241"/>
                  </a:lnTo>
                  <a:lnTo>
                    <a:pt x="63" y="242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5"/>
                  </a:lnTo>
                  <a:lnTo>
                    <a:pt x="61" y="247"/>
                  </a:lnTo>
                  <a:lnTo>
                    <a:pt x="60" y="249"/>
                  </a:lnTo>
                  <a:lnTo>
                    <a:pt x="59" y="249"/>
                  </a:lnTo>
                  <a:lnTo>
                    <a:pt x="59" y="250"/>
                  </a:lnTo>
                  <a:lnTo>
                    <a:pt x="59" y="250"/>
                  </a:lnTo>
                  <a:lnTo>
                    <a:pt x="60" y="251"/>
                  </a:lnTo>
                  <a:lnTo>
                    <a:pt x="61" y="253"/>
                  </a:lnTo>
                  <a:lnTo>
                    <a:pt x="61" y="253"/>
                  </a:lnTo>
                  <a:lnTo>
                    <a:pt x="60" y="254"/>
                  </a:lnTo>
                  <a:lnTo>
                    <a:pt x="60" y="256"/>
                  </a:lnTo>
                  <a:lnTo>
                    <a:pt x="60" y="257"/>
                  </a:lnTo>
                  <a:lnTo>
                    <a:pt x="60" y="258"/>
                  </a:lnTo>
                  <a:lnTo>
                    <a:pt x="61" y="262"/>
                  </a:lnTo>
                  <a:lnTo>
                    <a:pt x="61" y="262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0" y="269"/>
                  </a:lnTo>
                  <a:lnTo>
                    <a:pt x="60" y="270"/>
                  </a:lnTo>
                  <a:lnTo>
                    <a:pt x="61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4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3" y="279"/>
                  </a:lnTo>
                  <a:lnTo>
                    <a:pt x="63" y="279"/>
                  </a:lnTo>
                  <a:lnTo>
                    <a:pt x="61" y="279"/>
                  </a:lnTo>
                  <a:lnTo>
                    <a:pt x="61" y="280"/>
                  </a:lnTo>
                  <a:lnTo>
                    <a:pt x="62" y="281"/>
                  </a:lnTo>
                  <a:lnTo>
                    <a:pt x="62" y="282"/>
                  </a:lnTo>
                  <a:lnTo>
                    <a:pt x="63" y="283"/>
                  </a:lnTo>
                  <a:lnTo>
                    <a:pt x="63" y="284"/>
                  </a:lnTo>
                  <a:lnTo>
                    <a:pt x="63" y="285"/>
                  </a:lnTo>
                  <a:lnTo>
                    <a:pt x="64" y="286"/>
                  </a:lnTo>
                  <a:lnTo>
                    <a:pt x="64" y="286"/>
                  </a:lnTo>
                  <a:lnTo>
                    <a:pt x="64" y="287"/>
                  </a:lnTo>
                  <a:lnTo>
                    <a:pt x="64" y="288"/>
                  </a:lnTo>
                  <a:lnTo>
                    <a:pt x="63" y="288"/>
                  </a:lnTo>
                  <a:lnTo>
                    <a:pt x="63" y="289"/>
                  </a:lnTo>
                  <a:lnTo>
                    <a:pt x="63" y="290"/>
                  </a:lnTo>
                  <a:lnTo>
                    <a:pt x="64" y="290"/>
                  </a:lnTo>
                  <a:lnTo>
                    <a:pt x="64" y="290"/>
                  </a:lnTo>
                  <a:lnTo>
                    <a:pt x="63" y="291"/>
                  </a:lnTo>
                  <a:lnTo>
                    <a:pt x="63" y="291"/>
                  </a:lnTo>
                  <a:lnTo>
                    <a:pt x="63" y="292"/>
                  </a:lnTo>
                  <a:lnTo>
                    <a:pt x="63" y="292"/>
                  </a:lnTo>
                  <a:lnTo>
                    <a:pt x="63" y="293"/>
                  </a:lnTo>
                  <a:lnTo>
                    <a:pt x="62" y="293"/>
                  </a:lnTo>
                  <a:lnTo>
                    <a:pt x="62" y="293"/>
                  </a:lnTo>
                  <a:lnTo>
                    <a:pt x="61" y="293"/>
                  </a:lnTo>
                  <a:lnTo>
                    <a:pt x="61" y="294"/>
                  </a:lnTo>
                  <a:lnTo>
                    <a:pt x="61" y="294"/>
                  </a:lnTo>
                  <a:lnTo>
                    <a:pt x="60" y="294"/>
                  </a:lnTo>
                  <a:lnTo>
                    <a:pt x="60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8" y="295"/>
                  </a:lnTo>
                  <a:lnTo>
                    <a:pt x="59" y="295"/>
                  </a:lnTo>
                  <a:lnTo>
                    <a:pt x="59" y="295"/>
                  </a:lnTo>
                  <a:lnTo>
                    <a:pt x="59" y="296"/>
                  </a:lnTo>
                  <a:lnTo>
                    <a:pt x="59" y="297"/>
                  </a:lnTo>
                  <a:lnTo>
                    <a:pt x="58" y="297"/>
                  </a:lnTo>
                  <a:lnTo>
                    <a:pt x="57" y="297"/>
                  </a:lnTo>
                  <a:lnTo>
                    <a:pt x="57" y="297"/>
                  </a:lnTo>
                  <a:lnTo>
                    <a:pt x="57" y="298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300"/>
                  </a:lnTo>
                  <a:lnTo>
                    <a:pt x="57" y="301"/>
                  </a:lnTo>
                  <a:lnTo>
                    <a:pt x="58" y="301"/>
                  </a:lnTo>
                  <a:lnTo>
                    <a:pt x="58" y="302"/>
                  </a:lnTo>
                  <a:lnTo>
                    <a:pt x="57" y="303"/>
                  </a:lnTo>
                  <a:lnTo>
                    <a:pt x="57" y="304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7"/>
                  </a:lnTo>
                  <a:lnTo>
                    <a:pt x="55" y="307"/>
                  </a:lnTo>
                  <a:lnTo>
                    <a:pt x="55" y="306"/>
                  </a:lnTo>
                  <a:lnTo>
                    <a:pt x="55" y="306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4"/>
                  </a:lnTo>
                  <a:lnTo>
                    <a:pt x="54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2" y="303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50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8" y="301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4"/>
                  </a:lnTo>
                  <a:lnTo>
                    <a:pt x="49" y="294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7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7" y="295"/>
                  </a:lnTo>
                  <a:lnTo>
                    <a:pt x="48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6"/>
                  </a:lnTo>
                  <a:lnTo>
                    <a:pt x="48" y="295"/>
                  </a:lnTo>
                  <a:lnTo>
                    <a:pt x="48" y="296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9"/>
                  </a:lnTo>
                  <a:lnTo>
                    <a:pt x="47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7"/>
                  </a:lnTo>
                  <a:lnTo>
                    <a:pt x="47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3" y="296"/>
                  </a:lnTo>
                  <a:lnTo>
                    <a:pt x="43" y="295"/>
                  </a:lnTo>
                  <a:lnTo>
                    <a:pt x="43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5" y="298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8" y="301"/>
                  </a:lnTo>
                  <a:lnTo>
                    <a:pt x="48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6" y="304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3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6"/>
                  </a:lnTo>
                  <a:lnTo>
                    <a:pt x="43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1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10"/>
                  </a:lnTo>
                  <a:lnTo>
                    <a:pt x="37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4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0" y="315"/>
                  </a:lnTo>
                  <a:lnTo>
                    <a:pt x="31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5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6" y="317"/>
                  </a:lnTo>
                  <a:lnTo>
                    <a:pt x="26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3" y="318"/>
                  </a:lnTo>
                  <a:lnTo>
                    <a:pt x="23" y="319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1" y="317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9"/>
                  </a:lnTo>
                  <a:lnTo>
                    <a:pt x="19" y="319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19" y="317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5" y="317"/>
                  </a:lnTo>
                  <a:lnTo>
                    <a:pt x="16" y="317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8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7" y="315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6" y="315"/>
                  </a:lnTo>
                  <a:lnTo>
                    <a:pt x="16" y="314"/>
                  </a:lnTo>
                  <a:lnTo>
                    <a:pt x="16" y="315"/>
                  </a:lnTo>
                  <a:lnTo>
                    <a:pt x="16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4" y="315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2" y="314"/>
                  </a:lnTo>
                  <a:lnTo>
                    <a:pt x="12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0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0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8" y="312"/>
                  </a:lnTo>
                  <a:lnTo>
                    <a:pt x="8" y="311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7" y="310"/>
                  </a:lnTo>
                  <a:lnTo>
                    <a:pt x="8" y="310"/>
                  </a:lnTo>
                  <a:lnTo>
                    <a:pt x="7" y="309"/>
                  </a:lnTo>
                  <a:lnTo>
                    <a:pt x="8" y="309"/>
                  </a:lnTo>
                  <a:lnTo>
                    <a:pt x="7" y="309"/>
                  </a:lnTo>
                  <a:lnTo>
                    <a:pt x="7" y="309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7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6"/>
                  </a:lnTo>
                  <a:lnTo>
                    <a:pt x="10" y="306"/>
                  </a:lnTo>
                  <a:lnTo>
                    <a:pt x="10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8"/>
                  </a:lnTo>
                  <a:lnTo>
                    <a:pt x="12" y="308"/>
                  </a:lnTo>
                  <a:lnTo>
                    <a:pt x="13" y="308"/>
                  </a:lnTo>
                  <a:lnTo>
                    <a:pt x="14" y="308"/>
                  </a:lnTo>
                  <a:lnTo>
                    <a:pt x="13" y="308"/>
                  </a:lnTo>
                  <a:lnTo>
                    <a:pt x="12" y="308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3" y="305"/>
                  </a:lnTo>
                  <a:lnTo>
                    <a:pt x="13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2" y="306"/>
                  </a:lnTo>
                  <a:lnTo>
                    <a:pt x="12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0" y="305"/>
                  </a:lnTo>
                  <a:lnTo>
                    <a:pt x="10" y="304"/>
                  </a:lnTo>
                  <a:lnTo>
                    <a:pt x="11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3"/>
                  </a:lnTo>
                  <a:lnTo>
                    <a:pt x="12" y="303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6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4" y="301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3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1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2" y="302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0"/>
                  </a:lnTo>
                  <a:lnTo>
                    <a:pt x="13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6" y="298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1" y="299"/>
                  </a:lnTo>
                  <a:lnTo>
                    <a:pt x="11" y="299"/>
                  </a:lnTo>
                  <a:lnTo>
                    <a:pt x="10" y="299"/>
                  </a:lnTo>
                  <a:lnTo>
                    <a:pt x="10" y="299"/>
                  </a:lnTo>
                  <a:lnTo>
                    <a:pt x="10" y="298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9" y="301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0"/>
                  </a:lnTo>
                  <a:lnTo>
                    <a:pt x="10" y="301"/>
                  </a:lnTo>
                  <a:lnTo>
                    <a:pt x="10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1"/>
                  </a:lnTo>
                  <a:lnTo>
                    <a:pt x="7" y="302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0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5" y="301"/>
                  </a:lnTo>
                  <a:lnTo>
                    <a:pt x="5" y="301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6" y="298"/>
                  </a:lnTo>
                  <a:lnTo>
                    <a:pt x="6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6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8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0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6"/>
                  </a:lnTo>
                  <a:lnTo>
                    <a:pt x="11" y="296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3" y="295"/>
                  </a:lnTo>
                  <a:lnTo>
                    <a:pt x="13" y="295"/>
                  </a:lnTo>
                  <a:lnTo>
                    <a:pt x="14" y="295"/>
                  </a:lnTo>
                  <a:lnTo>
                    <a:pt x="14" y="295"/>
                  </a:lnTo>
                  <a:lnTo>
                    <a:pt x="14" y="294"/>
                  </a:lnTo>
                  <a:lnTo>
                    <a:pt x="14" y="294"/>
                  </a:lnTo>
                  <a:lnTo>
                    <a:pt x="14" y="295"/>
                  </a:lnTo>
                  <a:lnTo>
                    <a:pt x="13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4"/>
                  </a:lnTo>
                  <a:lnTo>
                    <a:pt x="11" y="294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0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8" y="295"/>
                  </a:lnTo>
                  <a:lnTo>
                    <a:pt x="9" y="295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10" y="294"/>
                  </a:lnTo>
                  <a:lnTo>
                    <a:pt x="10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2"/>
                  </a:lnTo>
                  <a:lnTo>
                    <a:pt x="12" y="292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3" y="291"/>
                  </a:lnTo>
                  <a:lnTo>
                    <a:pt x="14" y="291"/>
                  </a:lnTo>
                  <a:lnTo>
                    <a:pt x="14" y="291"/>
                  </a:lnTo>
                  <a:lnTo>
                    <a:pt x="14" y="290"/>
                  </a:lnTo>
                  <a:lnTo>
                    <a:pt x="14" y="291"/>
                  </a:lnTo>
                  <a:lnTo>
                    <a:pt x="13" y="291"/>
                  </a:lnTo>
                  <a:lnTo>
                    <a:pt x="13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3" y="289"/>
                  </a:lnTo>
                  <a:lnTo>
                    <a:pt x="13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5" y="288"/>
                  </a:lnTo>
                  <a:lnTo>
                    <a:pt x="15" y="288"/>
                  </a:lnTo>
                  <a:lnTo>
                    <a:pt x="15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9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5" y="290"/>
                  </a:lnTo>
                  <a:lnTo>
                    <a:pt x="15" y="291"/>
                  </a:lnTo>
                  <a:lnTo>
                    <a:pt x="15" y="291"/>
                  </a:lnTo>
                  <a:lnTo>
                    <a:pt x="15" y="292"/>
                  </a:lnTo>
                  <a:lnTo>
                    <a:pt x="15" y="291"/>
                  </a:lnTo>
                  <a:lnTo>
                    <a:pt x="16" y="291"/>
                  </a:lnTo>
                  <a:lnTo>
                    <a:pt x="16" y="291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6" y="289"/>
                  </a:lnTo>
                  <a:lnTo>
                    <a:pt x="16" y="289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7"/>
                  </a:lnTo>
                  <a:lnTo>
                    <a:pt x="17" y="288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8" y="287"/>
                  </a:lnTo>
                  <a:lnTo>
                    <a:pt x="18" y="287"/>
                  </a:lnTo>
                  <a:lnTo>
                    <a:pt x="19" y="287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7"/>
                  </a:lnTo>
                  <a:lnTo>
                    <a:pt x="20" y="287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8" y="285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7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6" y="286"/>
                  </a:lnTo>
                  <a:lnTo>
                    <a:pt x="16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4" y="287"/>
                  </a:lnTo>
                  <a:lnTo>
                    <a:pt x="14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4" y="287"/>
                  </a:lnTo>
                  <a:lnTo>
                    <a:pt x="14" y="288"/>
                  </a:lnTo>
                  <a:lnTo>
                    <a:pt x="13" y="288"/>
                  </a:lnTo>
                  <a:lnTo>
                    <a:pt x="13" y="287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2" y="289"/>
                  </a:lnTo>
                  <a:lnTo>
                    <a:pt x="13" y="289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1" y="289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1" y="292"/>
                  </a:lnTo>
                  <a:lnTo>
                    <a:pt x="10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10" y="291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1"/>
                  </a:lnTo>
                  <a:lnTo>
                    <a:pt x="9" y="291"/>
                  </a:lnTo>
                  <a:lnTo>
                    <a:pt x="8" y="291"/>
                  </a:lnTo>
                  <a:lnTo>
                    <a:pt x="8" y="291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9" y="288"/>
                  </a:lnTo>
                  <a:lnTo>
                    <a:pt x="9" y="288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8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7" y="290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6" y="290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0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6" y="289"/>
                  </a:lnTo>
                  <a:lnTo>
                    <a:pt x="5" y="289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8"/>
                  </a:lnTo>
                  <a:lnTo>
                    <a:pt x="6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6" y="286"/>
                  </a:lnTo>
                  <a:lnTo>
                    <a:pt x="7" y="286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9" y="287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85"/>
                  </a:lnTo>
                  <a:lnTo>
                    <a:pt x="9" y="284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6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2" y="283"/>
                  </a:lnTo>
                  <a:lnTo>
                    <a:pt x="3" y="284"/>
                  </a:lnTo>
                  <a:lnTo>
                    <a:pt x="2" y="284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5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6" y="284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5" y="283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2"/>
                  </a:lnTo>
                  <a:lnTo>
                    <a:pt x="8" y="282"/>
                  </a:lnTo>
                  <a:lnTo>
                    <a:pt x="8" y="281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6" y="281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6" y="279"/>
                  </a:lnTo>
                  <a:lnTo>
                    <a:pt x="7" y="279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1" y="278"/>
                  </a:lnTo>
                  <a:lnTo>
                    <a:pt x="11" y="278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13" y="278"/>
                  </a:lnTo>
                  <a:lnTo>
                    <a:pt x="14" y="278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5" y="280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8"/>
                  </a:lnTo>
                  <a:lnTo>
                    <a:pt x="16" y="278"/>
                  </a:lnTo>
                  <a:lnTo>
                    <a:pt x="16" y="279"/>
                  </a:lnTo>
                  <a:lnTo>
                    <a:pt x="16" y="278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7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8"/>
                  </a:lnTo>
                  <a:lnTo>
                    <a:pt x="18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8" y="280"/>
                  </a:lnTo>
                  <a:lnTo>
                    <a:pt x="18" y="281"/>
                  </a:lnTo>
                  <a:lnTo>
                    <a:pt x="18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1"/>
                  </a:lnTo>
                  <a:lnTo>
                    <a:pt x="20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20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8"/>
                  </a:lnTo>
                  <a:lnTo>
                    <a:pt x="20" y="278"/>
                  </a:lnTo>
                  <a:lnTo>
                    <a:pt x="20" y="278"/>
                  </a:lnTo>
                  <a:lnTo>
                    <a:pt x="21" y="278"/>
                  </a:lnTo>
                  <a:lnTo>
                    <a:pt x="21" y="277"/>
                  </a:lnTo>
                  <a:lnTo>
                    <a:pt x="22" y="277"/>
                  </a:lnTo>
                  <a:lnTo>
                    <a:pt x="22" y="278"/>
                  </a:lnTo>
                  <a:lnTo>
                    <a:pt x="22" y="278"/>
                  </a:lnTo>
                  <a:lnTo>
                    <a:pt x="23" y="278"/>
                  </a:lnTo>
                  <a:lnTo>
                    <a:pt x="22" y="278"/>
                  </a:lnTo>
                  <a:lnTo>
                    <a:pt x="22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5" y="277"/>
                  </a:lnTo>
                  <a:lnTo>
                    <a:pt x="25" y="276"/>
                  </a:lnTo>
                  <a:lnTo>
                    <a:pt x="24" y="276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2" y="277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3" y="275"/>
                  </a:lnTo>
                  <a:lnTo>
                    <a:pt x="23" y="274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3" y="273"/>
                  </a:lnTo>
                  <a:lnTo>
                    <a:pt x="23" y="274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6"/>
                  </a:lnTo>
                  <a:lnTo>
                    <a:pt x="21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1" y="277"/>
                  </a:lnTo>
                  <a:lnTo>
                    <a:pt x="20" y="277"/>
                  </a:lnTo>
                  <a:lnTo>
                    <a:pt x="20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7" y="274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6" y="275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7"/>
                  </a:lnTo>
                  <a:lnTo>
                    <a:pt x="16" y="277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8"/>
                  </a:lnTo>
                  <a:lnTo>
                    <a:pt x="15" y="278"/>
                  </a:lnTo>
                  <a:lnTo>
                    <a:pt x="14" y="278"/>
                  </a:lnTo>
                  <a:lnTo>
                    <a:pt x="14" y="278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0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8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7" y="278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6" y="279"/>
                  </a:lnTo>
                  <a:lnTo>
                    <a:pt x="6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7"/>
                  </a:lnTo>
                  <a:lnTo>
                    <a:pt x="5" y="278"/>
                  </a:lnTo>
                  <a:lnTo>
                    <a:pt x="4" y="278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4" y="276"/>
                  </a:lnTo>
                  <a:lnTo>
                    <a:pt x="5" y="276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4" y="275"/>
                  </a:lnTo>
                  <a:lnTo>
                    <a:pt x="4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4" y="275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3" y="274"/>
                  </a:lnTo>
                  <a:lnTo>
                    <a:pt x="3" y="275"/>
                  </a:lnTo>
                  <a:lnTo>
                    <a:pt x="3" y="274"/>
                  </a:lnTo>
                  <a:lnTo>
                    <a:pt x="4" y="274"/>
                  </a:lnTo>
                  <a:lnTo>
                    <a:pt x="4" y="273"/>
                  </a:lnTo>
                  <a:lnTo>
                    <a:pt x="4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7" y="272"/>
                  </a:lnTo>
                  <a:lnTo>
                    <a:pt x="7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7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5" y="271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0"/>
                  </a:lnTo>
                  <a:lnTo>
                    <a:pt x="3" y="270"/>
                  </a:lnTo>
                  <a:lnTo>
                    <a:pt x="3" y="269"/>
                  </a:lnTo>
                  <a:lnTo>
                    <a:pt x="4" y="269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5" y="270"/>
                  </a:lnTo>
                  <a:lnTo>
                    <a:pt x="4" y="270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9"/>
                  </a:lnTo>
                  <a:lnTo>
                    <a:pt x="8" y="269"/>
                  </a:lnTo>
                  <a:lnTo>
                    <a:pt x="9" y="269"/>
                  </a:lnTo>
                  <a:lnTo>
                    <a:pt x="9" y="269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70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8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3" y="268"/>
                  </a:lnTo>
                  <a:lnTo>
                    <a:pt x="14" y="268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6" y="269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7" y="268"/>
                  </a:lnTo>
                  <a:lnTo>
                    <a:pt x="18" y="268"/>
                  </a:lnTo>
                  <a:lnTo>
                    <a:pt x="18" y="269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7" y="268"/>
                  </a:lnTo>
                  <a:lnTo>
                    <a:pt x="17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5" y="268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4" y="269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3" y="26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4" y="268"/>
                  </a:lnTo>
                  <a:lnTo>
                    <a:pt x="4" y="267"/>
                  </a:lnTo>
                  <a:lnTo>
                    <a:pt x="4" y="266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5"/>
                  </a:lnTo>
                  <a:lnTo>
                    <a:pt x="6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8" y="265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8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10" y="264"/>
                  </a:lnTo>
                  <a:lnTo>
                    <a:pt x="11" y="264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0" y="265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1" y="266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2" y="265"/>
                  </a:lnTo>
                  <a:lnTo>
                    <a:pt x="12" y="266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3" y="265"/>
                  </a:lnTo>
                  <a:lnTo>
                    <a:pt x="14" y="265"/>
                  </a:lnTo>
                  <a:lnTo>
                    <a:pt x="14" y="266"/>
                  </a:lnTo>
                  <a:lnTo>
                    <a:pt x="14" y="265"/>
                  </a:lnTo>
                  <a:lnTo>
                    <a:pt x="13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1" y="264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3" y="262"/>
                  </a:lnTo>
                  <a:lnTo>
                    <a:pt x="14" y="262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2"/>
                  </a:lnTo>
                  <a:lnTo>
                    <a:pt x="14" y="262"/>
                  </a:lnTo>
                  <a:lnTo>
                    <a:pt x="15" y="262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6" y="264"/>
                  </a:lnTo>
                  <a:lnTo>
                    <a:pt x="16" y="265"/>
                  </a:lnTo>
                  <a:lnTo>
                    <a:pt x="15" y="265"/>
                  </a:lnTo>
                  <a:lnTo>
                    <a:pt x="15" y="265"/>
                  </a:lnTo>
                  <a:lnTo>
                    <a:pt x="16" y="265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5" y="264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2"/>
                  </a:lnTo>
                  <a:lnTo>
                    <a:pt x="15" y="262"/>
                  </a:lnTo>
                  <a:lnTo>
                    <a:pt x="14" y="262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2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1"/>
                  </a:lnTo>
                  <a:lnTo>
                    <a:pt x="17" y="261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3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5"/>
                  </a:lnTo>
                  <a:lnTo>
                    <a:pt x="18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1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20" y="263"/>
                  </a:lnTo>
                  <a:lnTo>
                    <a:pt x="20" y="263"/>
                  </a:lnTo>
                  <a:lnTo>
                    <a:pt x="21" y="263"/>
                  </a:lnTo>
                  <a:lnTo>
                    <a:pt x="21" y="262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3"/>
                  </a:lnTo>
                  <a:lnTo>
                    <a:pt x="22" y="264"/>
                  </a:lnTo>
                  <a:lnTo>
                    <a:pt x="23" y="264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2"/>
                  </a:lnTo>
                  <a:lnTo>
                    <a:pt x="21" y="262"/>
                  </a:lnTo>
                  <a:lnTo>
                    <a:pt x="20" y="262"/>
                  </a:lnTo>
                  <a:lnTo>
                    <a:pt x="20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0"/>
                  </a:lnTo>
                  <a:lnTo>
                    <a:pt x="18" y="260"/>
                  </a:lnTo>
                  <a:lnTo>
                    <a:pt x="17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3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3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1"/>
                  </a:lnTo>
                  <a:lnTo>
                    <a:pt x="13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1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59"/>
                  </a:lnTo>
                  <a:lnTo>
                    <a:pt x="13" y="259"/>
                  </a:lnTo>
                  <a:lnTo>
                    <a:pt x="14" y="258"/>
                  </a:lnTo>
                  <a:lnTo>
                    <a:pt x="14" y="258"/>
                  </a:lnTo>
                  <a:lnTo>
                    <a:pt x="15" y="258"/>
                  </a:lnTo>
                  <a:lnTo>
                    <a:pt x="15" y="259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6" y="258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7" y="258"/>
                  </a:lnTo>
                  <a:lnTo>
                    <a:pt x="18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9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0" y="259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1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2" y="259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6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8" y="257"/>
                  </a:lnTo>
                  <a:lnTo>
                    <a:pt x="29" y="257"/>
                  </a:lnTo>
                  <a:lnTo>
                    <a:pt x="28" y="257"/>
                  </a:lnTo>
                  <a:lnTo>
                    <a:pt x="28" y="257"/>
                  </a:lnTo>
                  <a:lnTo>
                    <a:pt x="27" y="257"/>
                  </a:lnTo>
                  <a:lnTo>
                    <a:pt x="27" y="256"/>
                  </a:lnTo>
                  <a:lnTo>
                    <a:pt x="28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6" y="256"/>
                  </a:lnTo>
                  <a:lnTo>
                    <a:pt x="26" y="257"/>
                  </a:lnTo>
                  <a:lnTo>
                    <a:pt x="25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5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1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6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20" y="253"/>
                  </a:lnTo>
                  <a:lnTo>
                    <a:pt x="20" y="253"/>
                  </a:lnTo>
                  <a:lnTo>
                    <a:pt x="21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8" y="254"/>
                  </a:lnTo>
                  <a:lnTo>
                    <a:pt x="28" y="254"/>
                  </a:lnTo>
                  <a:lnTo>
                    <a:pt x="28" y="255"/>
                  </a:lnTo>
                  <a:lnTo>
                    <a:pt x="28" y="255"/>
                  </a:lnTo>
                  <a:lnTo>
                    <a:pt x="29" y="255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4"/>
                  </a:lnTo>
                  <a:lnTo>
                    <a:pt x="29" y="254"/>
                  </a:lnTo>
                  <a:lnTo>
                    <a:pt x="28" y="254"/>
                  </a:lnTo>
                  <a:lnTo>
                    <a:pt x="27" y="254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6" y="253"/>
                  </a:lnTo>
                  <a:lnTo>
                    <a:pt x="26" y="253"/>
                  </a:lnTo>
                  <a:lnTo>
                    <a:pt x="27" y="253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8" y="251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4"/>
                  </a:lnTo>
                  <a:lnTo>
                    <a:pt x="29" y="253"/>
                  </a:lnTo>
                  <a:lnTo>
                    <a:pt x="30" y="253"/>
                  </a:lnTo>
                  <a:lnTo>
                    <a:pt x="30" y="254"/>
                  </a:lnTo>
                  <a:lnTo>
                    <a:pt x="30" y="254"/>
                  </a:lnTo>
                  <a:lnTo>
                    <a:pt x="30" y="255"/>
                  </a:lnTo>
                  <a:lnTo>
                    <a:pt x="30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2" y="254"/>
                  </a:lnTo>
                  <a:lnTo>
                    <a:pt x="33" y="254"/>
                  </a:lnTo>
                  <a:lnTo>
                    <a:pt x="33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4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2"/>
                  </a:lnTo>
                  <a:lnTo>
                    <a:pt x="29" y="252"/>
                  </a:lnTo>
                  <a:lnTo>
                    <a:pt x="29" y="251"/>
                  </a:lnTo>
                  <a:lnTo>
                    <a:pt x="29" y="251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30" y="251"/>
                  </a:lnTo>
                  <a:lnTo>
                    <a:pt x="29" y="251"/>
                  </a:lnTo>
                  <a:lnTo>
                    <a:pt x="30" y="251"/>
                  </a:lnTo>
                  <a:lnTo>
                    <a:pt x="30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2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5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3" y="250"/>
                  </a:lnTo>
                  <a:lnTo>
                    <a:pt x="33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49"/>
                  </a:lnTo>
                  <a:lnTo>
                    <a:pt x="32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4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8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5" y="247"/>
                  </a:lnTo>
                  <a:lnTo>
                    <a:pt x="35" y="248"/>
                  </a:lnTo>
                  <a:lnTo>
                    <a:pt x="35" y="248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6" y="247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6" y="249"/>
                  </a:lnTo>
                  <a:lnTo>
                    <a:pt x="36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8" y="249"/>
                  </a:lnTo>
                  <a:lnTo>
                    <a:pt x="38" y="249"/>
                  </a:lnTo>
                  <a:lnTo>
                    <a:pt x="38" y="248"/>
                  </a:lnTo>
                  <a:lnTo>
                    <a:pt x="39" y="248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7" y="248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9" y="247"/>
                  </a:lnTo>
                  <a:lnTo>
                    <a:pt x="40" y="247"/>
                  </a:lnTo>
                  <a:lnTo>
                    <a:pt x="39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5"/>
                  </a:lnTo>
                  <a:lnTo>
                    <a:pt x="40" y="246"/>
                  </a:lnTo>
                  <a:lnTo>
                    <a:pt x="39" y="246"/>
                  </a:lnTo>
                  <a:lnTo>
                    <a:pt x="40" y="245"/>
                  </a:lnTo>
                  <a:lnTo>
                    <a:pt x="40" y="245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1" y="245"/>
                  </a:lnTo>
                  <a:lnTo>
                    <a:pt x="41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7"/>
                  </a:lnTo>
                  <a:lnTo>
                    <a:pt x="42" y="247"/>
                  </a:lnTo>
                  <a:lnTo>
                    <a:pt x="43" y="247"/>
                  </a:lnTo>
                  <a:lnTo>
                    <a:pt x="43" y="247"/>
                  </a:lnTo>
                  <a:lnTo>
                    <a:pt x="43" y="248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3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4" y="249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7"/>
                  </a:lnTo>
                  <a:lnTo>
                    <a:pt x="45" y="247"/>
                  </a:lnTo>
                  <a:lnTo>
                    <a:pt x="45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7" y="247"/>
                  </a:lnTo>
                  <a:lnTo>
                    <a:pt x="47" y="247"/>
                  </a:lnTo>
                  <a:lnTo>
                    <a:pt x="48" y="247"/>
                  </a:lnTo>
                  <a:lnTo>
                    <a:pt x="48" y="247"/>
                  </a:lnTo>
                  <a:lnTo>
                    <a:pt x="49" y="247"/>
                  </a:lnTo>
                  <a:lnTo>
                    <a:pt x="49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1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49" y="247"/>
                  </a:lnTo>
                  <a:lnTo>
                    <a:pt x="49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5"/>
                  </a:lnTo>
                  <a:lnTo>
                    <a:pt x="50" y="245"/>
                  </a:lnTo>
                  <a:lnTo>
                    <a:pt x="50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1" y="244"/>
                  </a:lnTo>
                  <a:lnTo>
                    <a:pt x="51" y="243"/>
                  </a:lnTo>
                  <a:lnTo>
                    <a:pt x="51" y="244"/>
                  </a:lnTo>
                  <a:lnTo>
                    <a:pt x="52" y="243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5" y="242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4" y="241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3" y="242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3" y="241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5" y="238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1" y="240"/>
                  </a:lnTo>
                  <a:lnTo>
                    <a:pt x="51" y="241"/>
                  </a:lnTo>
                  <a:lnTo>
                    <a:pt x="50" y="241"/>
                  </a:lnTo>
                  <a:lnTo>
                    <a:pt x="50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48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0" y="241"/>
                  </a:lnTo>
                  <a:lnTo>
                    <a:pt x="51" y="241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1" y="242"/>
                  </a:lnTo>
                  <a:lnTo>
                    <a:pt x="51" y="243"/>
                  </a:lnTo>
                  <a:lnTo>
                    <a:pt x="51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6" y="246"/>
                  </a:lnTo>
                  <a:lnTo>
                    <a:pt x="46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4" y="246"/>
                  </a:lnTo>
                  <a:lnTo>
                    <a:pt x="44" y="247"/>
                  </a:lnTo>
                  <a:lnTo>
                    <a:pt x="44" y="247"/>
                  </a:lnTo>
                  <a:lnTo>
                    <a:pt x="43" y="247"/>
                  </a:lnTo>
                  <a:lnTo>
                    <a:pt x="43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5"/>
                  </a:lnTo>
                  <a:lnTo>
                    <a:pt x="42" y="245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3" y="243"/>
                  </a:lnTo>
                  <a:lnTo>
                    <a:pt x="43" y="243"/>
                  </a:lnTo>
                  <a:lnTo>
                    <a:pt x="42" y="243"/>
                  </a:lnTo>
                  <a:lnTo>
                    <a:pt x="42" y="243"/>
                  </a:lnTo>
                  <a:lnTo>
                    <a:pt x="42" y="244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2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2" y="242"/>
                  </a:lnTo>
                  <a:lnTo>
                    <a:pt x="43" y="242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5" y="240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40"/>
                  </a:lnTo>
                  <a:lnTo>
                    <a:pt x="44" y="239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8"/>
                  </a:lnTo>
                  <a:lnTo>
                    <a:pt x="44" y="238"/>
                  </a:lnTo>
                  <a:lnTo>
                    <a:pt x="44" y="239"/>
                  </a:lnTo>
                  <a:lnTo>
                    <a:pt x="45" y="239"/>
                  </a:lnTo>
                  <a:lnTo>
                    <a:pt x="45" y="239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4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5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7" y="236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5"/>
                  </a:lnTo>
                  <a:lnTo>
                    <a:pt x="50" y="235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4"/>
                  </a:lnTo>
                  <a:lnTo>
                    <a:pt x="50" y="233"/>
                  </a:lnTo>
                  <a:lnTo>
                    <a:pt x="51" y="233"/>
                  </a:lnTo>
                  <a:lnTo>
                    <a:pt x="51" y="232"/>
                  </a:lnTo>
                  <a:lnTo>
                    <a:pt x="50" y="232"/>
                  </a:lnTo>
                  <a:lnTo>
                    <a:pt x="50" y="232"/>
                  </a:lnTo>
                  <a:lnTo>
                    <a:pt x="51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2" y="233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3" y="233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6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4" y="235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5"/>
                  </a:lnTo>
                  <a:lnTo>
                    <a:pt x="55" y="234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8" y="234"/>
                  </a:lnTo>
                  <a:lnTo>
                    <a:pt x="59" y="234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4"/>
                  </a:lnTo>
                  <a:lnTo>
                    <a:pt x="58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1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6" y="232"/>
                  </a:lnTo>
                  <a:lnTo>
                    <a:pt x="56" y="231"/>
                  </a:lnTo>
                  <a:lnTo>
                    <a:pt x="56" y="231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1"/>
                  </a:lnTo>
                  <a:lnTo>
                    <a:pt x="55" y="230"/>
                  </a:lnTo>
                  <a:lnTo>
                    <a:pt x="55" y="230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2" y="227"/>
                  </a:lnTo>
                  <a:lnTo>
                    <a:pt x="63" y="227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lnTo>
                    <a:pt x="62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8" y="227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5" y="228"/>
                  </a:lnTo>
                  <a:lnTo>
                    <a:pt x="55" y="227"/>
                  </a:lnTo>
                  <a:lnTo>
                    <a:pt x="55" y="227"/>
                  </a:lnTo>
                  <a:lnTo>
                    <a:pt x="55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5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6" y="227"/>
                  </a:lnTo>
                  <a:lnTo>
                    <a:pt x="56" y="226"/>
                  </a:lnTo>
                  <a:lnTo>
                    <a:pt x="57" y="226"/>
                  </a:lnTo>
                  <a:lnTo>
                    <a:pt x="57" y="226"/>
                  </a:lnTo>
                  <a:lnTo>
                    <a:pt x="57" y="227"/>
                  </a:lnTo>
                  <a:lnTo>
                    <a:pt x="57" y="226"/>
                  </a:lnTo>
                  <a:lnTo>
                    <a:pt x="58" y="226"/>
                  </a:lnTo>
                  <a:lnTo>
                    <a:pt x="58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8" y="225"/>
                  </a:lnTo>
                  <a:lnTo>
                    <a:pt x="58" y="226"/>
                  </a:lnTo>
                  <a:lnTo>
                    <a:pt x="57" y="226"/>
                  </a:lnTo>
                  <a:lnTo>
                    <a:pt x="57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1" y="224"/>
                  </a:lnTo>
                  <a:lnTo>
                    <a:pt x="60" y="224"/>
                  </a:lnTo>
                  <a:lnTo>
                    <a:pt x="60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5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7" y="223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1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2" y="221"/>
                  </a:lnTo>
                  <a:lnTo>
                    <a:pt x="62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2" y="218"/>
                  </a:lnTo>
                  <a:lnTo>
                    <a:pt x="62" y="219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3" y="218"/>
                  </a:lnTo>
                  <a:lnTo>
                    <a:pt x="63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17"/>
                  </a:lnTo>
                  <a:lnTo>
                    <a:pt x="63" y="217"/>
                  </a:lnTo>
                  <a:lnTo>
                    <a:pt x="63" y="217"/>
                  </a:lnTo>
                  <a:lnTo>
                    <a:pt x="63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5"/>
                  </a:lnTo>
                  <a:lnTo>
                    <a:pt x="65" y="215"/>
                  </a:lnTo>
                  <a:lnTo>
                    <a:pt x="65" y="216"/>
                  </a:lnTo>
                  <a:lnTo>
                    <a:pt x="65" y="215"/>
                  </a:lnTo>
                  <a:lnTo>
                    <a:pt x="65" y="214"/>
                  </a:lnTo>
                  <a:lnTo>
                    <a:pt x="65" y="215"/>
                  </a:lnTo>
                  <a:lnTo>
                    <a:pt x="64" y="215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4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8" y="213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5"/>
                  </a:lnTo>
                  <a:lnTo>
                    <a:pt x="69" y="216"/>
                  </a:lnTo>
                  <a:lnTo>
                    <a:pt x="69" y="215"/>
                  </a:lnTo>
                  <a:lnTo>
                    <a:pt x="69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3"/>
                  </a:lnTo>
                  <a:lnTo>
                    <a:pt x="68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8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1"/>
                  </a:lnTo>
                  <a:lnTo>
                    <a:pt x="65" y="211"/>
                  </a:lnTo>
                  <a:lnTo>
                    <a:pt x="66" y="211"/>
                  </a:lnTo>
                  <a:lnTo>
                    <a:pt x="66" y="210"/>
                  </a:lnTo>
                  <a:lnTo>
                    <a:pt x="67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1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1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1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3" y="210"/>
                  </a:lnTo>
                  <a:lnTo>
                    <a:pt x="72" y="210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10"/>
                  </a:lnTo>
                  <a:lnTo>
                    <a:pt x="74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6" y="207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5" y="208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70" y="209"/>
                  </a:lnTo>
                  <a:lnTo>
                    <a:pt x="70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2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8"/>
                  </a:lnTo>
                  <a:lnTo>
                    <a:pt x="70" y="208"/>
                  </a:lnTo>
                  <a:lnTo>
                    <a:pt x="69" y="208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9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7" y="206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9" y="205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3" y="204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1" y="204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69" y="203"/>
                  </a:lnTo>
                  <a:lnTo>
                    <a:pt x="69" y="204"/>
                  </a:lnTo>
                  <a:lnTo>
                    <a:pt x="69" y="203"/>
                  </a:lnTo>
                  <a:lnTo>
                    <a:pt x="68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69" y="203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3" y="203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5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3" y="202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1" y="201"/>
                  </a:lnTo>
                  <a:lnTo>
                    <a:pt x="72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2"/>
                  </a:lnTo>
                  <a:lnTo>
                    <a:pt x="74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0"/>
                  </a:lnTo>
                  <a:lnTo>
                    <a:pt x="72" y="200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5" y="199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7" y="199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9" y="197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1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7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7" y="197"/>
                  </a:lnTo>
                  <a:lnTo>
                    <a:pt x="78" y="197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80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0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8" y="196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6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2" y="196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7" y="196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6" y="198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4" y="195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2" y="194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8" y="195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4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3" y="191"/>
                  </a:lnTo>
                  <a:lnTo>
                    <a:pt x="83" y="190"/>
                  </a:lnTo>
                  <a:lnTo>
                    <a:pt x="84" y="190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5" y="191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3"/>
                  </a:lnTo>
                  <a:lnTo>
                    <a:pt x="88" y="193"/>
                  </a:lnTo>
                  <a:lnTo>
                    <a:pt x="87" y="193"/>
                  </a:lnTo>
                  <a:lnTo>
                    <a:pt x="88" y="194"/>
                  </a:lnTo>
                  <a:lnTo>
                    <a:pt x="89" y="194"/>
                  </a:lnTo>
                  <a:lnTo>
                    <a:pt x="88" y="194"/>
                  </a:lnTo>
                  <a:lnTo>
                    <a:pt x="88" y="193"/>
                  </a:lnTo>
                  <a:lnTo>
                    <a:pt x="89" y="193"/>
                  </a:lnTo>
                  <a:lnTo>
                    <a:pt x="89" y="192"/>
                  </a:lnTo>
                  <a:lnTo>
                    <a:pt x="89" y="193"/>
                  </a:lnTo>
                  <a:lnTo>
                    <a:pt x="88" y="193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0" y="190"/>
                  </a:lnTo>
                  <a:lnTo>
                    <a:pt x="90" y="190"/>
                  </a:lnTo>
                  <a:lnTo>
                    <a:pt x="90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7" y="191"/>
                  </a:lnTo>
                  <a:lnTo>
                    <a:pt x="87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5" y="191"/>
                  </a:lnTo>
                  <a:lnTo>
                    <a:pt x="85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5" y="189"/>
                  </a:lnTo>
                  <a:lnTo>
                    <a:pt x="86" y="188"/>
                  </a:lnTo>
                  <a:lnTo>
                    <a:pt x="86" y="188"/>
                  </a:lnTo>
                  <a:lnTo>
                    <a:pt x="87" y="188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8" y="189"/>
                  </a:lnTo>
                  <a:lnTo>
                    <a:pt x="89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6"/>
                  </a:lnTo>
                  <a:lnTo>
                    <a:pt x="87" y="187"/>
                  </a:lnTo>
                  <a:lnTo>
                    <a:pt x="86" y="187"/>
                  </a:lnTo>
                  <a:lnTo>
                    <a:pt x="86" y="186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9"/>
                  </a:lnTo>
                  <a:lnTo>
                    <a:pt x="84" y="189"/>
                  </a:lnTo>
                  <a:lnTo>
                    <a:pt x="84" y="188"/>
                  </a:lnTo>
                  <a:lnTo>
                    <a:pt x="84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2" y="190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8"/>
                  </a:lnTo>
                  <a:lnTo>
                    <a:pt x="85" y="188"/>
                  </a:lnTo>
                  <a:lnTo>
                    <a:pt x="84" y="188"/>
                  </a:lnTo>
                  <a:lnTo>
                    <a:pt x="83" y="188"/>
                  </a:lnTo>
                  <a:lnTo>
                    <a:pt x="83" y="187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2" y="186"/>
                  </a:lnTo>
                  <a:lnTo>
                    <a:pt x="83" y="186"/>
                  </a:lnTo>
                  <a:lnTo>
                    <a:pt x="83" y="186"/>
                  </a:lnTo>
                  <a:lnTo>
                    <a:pt x="84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7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2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8" y="184"/>
                  </a:lnTo>
                  <a:lnTo>
                    <a:pt x="89" y="184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1" y="183"/>
                  </a:lnTo>
                  <a:lnTo>
                    <a:pt x="91" y="182"/>
                  </a:lnTo>
                  <a:lnTo>
                    <a:pt x="90" y="183"/>
                  </a:lnTo>
                  <a:lnTo>
                    <a:pt x="90" y="182"/>
                  </a:lnTo>
                  <a:lnTo>
                    <a:pt x="90" y="181"/>
                  </a:lnTo>
                  <a:lnTo>
                    <a:pt x="90" y="182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2" y="181"/>
                  </a:lnTo>
                  <a:lnTo>
                    <a:pt x="92" y="181"/>
                  </a:lnTo>
                  <a:lnTo>
                    <a:pt x="93" y="181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1" y="182"/>
                  </a:lnTo>
                  <a:lnTo>
                    <a:pt x="92" y="182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3" y="182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3" y="184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6"/>
                  </a:lnTo>
                  <a:lnTo>
                    <a:pt x="94" y="186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6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4" y="187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3" y="186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4" y="184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5" y="184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5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5" y="181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6" y="180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8" y="183"/>
                  </a:lnTo>
                  <a:lnTo>
                    <a:pt x="98" y="182"/>
                  </a:lnTo>
                  <a:lnTo>
                    <a:pt x="97" y="182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79"/>
                  </a:lnTo>
                  <a:lnTo>
                    <a:pt x="94" y="179"/>
                  </a:lnTo>
                  <a:lnTo>
                    <a:pt x="95" y="179"/>
                  </a:lnTo>
                  <a:lnTo>
                    <a:pt x="95" y="179"/>
                  </a:lnTo>
                  <a:lnTo>
                    <a:pt x="96" y="179"/>
                  </a:lnTo>
                  <a:lnTo>
                    <a:pt x="96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9" y="180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79"/>
                  </a:lnTo>
                  <a:lnTo>
                    <a:pt x="102" y="179"/>
                  </a:lnTo>
                  <a:lnTo>
                    <a:pt x="102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2" y="179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6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3" y="178"/>
                  </a:lnTo>
                  <a:lnTo>
                    <a:pt x="103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2" y="178"/>
                  </a:lnTo>
                  <a:lnTo>
                    <a:pt x="101" y="178"/>
                  </a:lnTo>
                  <a:lnTo>
                    <a:pt x="101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8" y="178"/>
                  </a:lnTo>
                  <a:lnTo>
                    <a:pt x="98" y="17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96" y="178"/>
                  </a:lnTo>
                  <a:lnTo>
                    <a:pt x="96" y="178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6" y="177"/>
                  </a:lnTo>
                  <a:lnTo>
                    <a:pt x="97" y="177"/>
                  </a:lnTo>
                  <a:lnTo>
                    <a:pt x="97" y="176"/>
                  </a:lnTo>
                  <a:lnTo>
                    <a:pt x="97" y="177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7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9" y="174"/>
                  </a:lnTo>
                  <a:lnTo>
                    <a:pt x="100" y="174"/>
                  </a:lnTo>
                  <a:lnTo>
                    <a:pt x="100" y="175"/>
                  </a:lnTo>
                  <a:lnTo>
                    <a:pt x="100" y="174"/>
                  </a:lnTo>
                  <a:lnTo>
                    <a:pt x="101" y="174"/>
                  </a:lnTo>
                  <a:lnTo>
                    <a:pt x="101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4" y="175"/>
                  </a:lnTo>
                  <a:lnTo>
                    <a:pt x="104" y="175"/>
                  </a:lnTo>
                  <a:lnTo>
                    <a:pt x="104" y="174"/>
                  </a:lnTo>
                  <a:lnTo>
                    <a:pt x="105" y="175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4" y="175"/>
                  </a:lnTo>
                  <a:lnTo>
                    <a:pt x="103" y="174"/>
                  </a:lnTo>
                  <a:lnTo>
                    <a:pt x="103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1" y="174"/>
                  </a:lnTo>
                  <a:lnTo>
                    <a:pt x="101" y="173"/>
                  </a:lnTo>
                  <a:lnTo>
                    <a:pt x="102" y="173"/>
                  </a:lnTo>
                  <a:lnTo>
                    <a:pt x="102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4"/>
                  </a:lnTo>
                  <a:lnTo>
                    <a:pt x="106" y="174"/>
                  </a:lnTo>
                  <a:lnTo>
                    <a:pt x="106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6" y="172"/>
                  </a:lnTo>
                  <a:lnTo>
                    <a:pt x="107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5" y="172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3" y="172"/>
                  </a:lnTo>
                  <a:lnTo>
                    <a:pt x="103" y="171"/>
                  </a:lnTo>
                  <a:lnTo>
                    <a:pt x="104" y="171"/>
                  </a:lnTo>
                  <a:lnTo>
                    <a:pt x="104" y="170"/>
                  </a:lnTo>
                  <a:lnTo>
                    <a:pt x="103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6" y="169"/>
                  </a:lnTo>
                  <a:lnTo>
                    <a:pt x="107" y="169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9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7" y="167"/>
                  </a:lnTo>
                  <a:lnTo>
                    <a:pt x="108" y="167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9" y="165"/>
                  </a:lnTo>
                  <a:lnTo>
                    <a:pt x="109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9" y="164"/>
                  </a:lnTo>
                  <a:lnTo>
                    <a:pt x="109" y="164"/>
                  </a:lnTo>
                  <a:lnTo>
                    <a:pt x="110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2" y="165"/>
                  </a:lnTo>
                  <a:lnTo>
                    <a:pt x="111" y="165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7"/>
                  </a:lnTo>
                  <a:lnTo>
                    <a:pt x="111" y="167"/>
                  </a:lnTo>
                  <a:lnTo>
                    <a:pt x="111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1" y="168"/>
                  </a:lnTo>
                  <a:lnTo>
                    <a:pt x="111" y="167"/>
                  </a:lnTo>
                  <a:lnTo>
                    <a:pt x="112" y="167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5"/>
                  </a:lnTo>
                  <a:lnTo>
                    <a:pt x="112" y="165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3" y="166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3" y="165"/>
                  </a:lnTo>
                  <a:lnTo>
                    <a:pt x="113" y="165"/>
                  </a:lnTo>
                  <a:lnTo>
                    <a:pt x="112" y="165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3"/>
                  </a:lnTo>
                  <a:lnTo>
                    <a:pt x="112" y="163"/>
                  </a:lnTo>
                  <a:lnTo>
                    <a:pt x="112" y="163"/>
                  </a:lnTo>
                  <a:lnTo>
                    <a:pt x="113" y="163"/>
                  </a:lnTo>
                  <a:lnTo>
                    <a:pt x="113" y="162"/>
                  </a:lnTo>
                  <a:lnTo>
                    <a:pt x="113" y="162"/>
                  </a:lnTo>
                  <a:lnTo>
                    <a:pt x="114" y="162"/>
                  </a:lnTo>
                  <a:lnTo>
                    <a:pt x="115" y="162"/>
                  </a:lnTo>
                  <a:lnTo>
                    <a:pt x="115" y="163"/>
                  </a:lnTo>
                  <a:lnTo>
                    <a:pt x="114" y="163"/>
                  </a:lnTo>
                  <a:lnTo>
                    <a:pt x="114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6" y="165"/>
                  </a:lnTo>
                  <a:lnTo>
                    <a:pt x="115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8" y="165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8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3"/>
                  </a:lnTo>
                  <a:lnTo>
                    <a:pt x="116" y="163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7" y="162"/>
                  </a:lnTo>
                  <a:lnTo>
                    <a:pt x="117" y="163"/>
                  </a:lnTo>
                  <a:lnTo>
                    <a:pt x="117" y="163"/>
                  </a:lnTo>
                  <a:lnTo>
                    <a:pt x="117" y="162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6" y="163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1"/>
                  </a:lnTo>
                  <a:lnTo>
                    <a:pt x="116" y="161"/>
                  </a:lnTo>
                  <a:lnTo>
                    <a:pt x="116" y="161"/>
                  </a:lnTo>
                  <a:lnTo>
                    <a:pt x="116" y="160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1" y="159"/>
                  </a:lnTo>
                  <a:lnTo>
                    <a:pt x="121" y="160"/>
                  </a:lnTo>
                  <a:lnTo>
                    <a:pt x="121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1" y="161"/>
                  </a:lnTo>
                  <a:lnTo>
                    <a:pt x="121" y="161"/>
                  </a:lnTo>
                  <a:lnTo>
                    <a:pt x="122" y="161"/>
                  </a:lnTo>
                  <a:lnTo>
                    <a:pt x="121" y="161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0" y="162"/>
                  </a:lnTo>
                  <a:lnTo>
                    <a:pt x="120" y="163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5"/>
                  </a:lnTo>
                  <a:lnTo>
                    <a:pt x="119" y="165"/>
                  </a:lnTo>
                  <a:lnTo>
                    <a:pt x="120" y="165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0" y="165"/>
                  </a:lnTo>
                  <a:lnTo>
                    <a:pt x="121" y="165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2" y="162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58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58"/>
                  </a:lnTo>
                  <a:lnTo>
                    <a:pt x="124" y="158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7" y="157"/>
                  </a:lnTo>
                  <a:lnTo>
                    <a:pt x="127" y="158"/>
                  </a:lnTo>
                  <a:lnTo>
                    <a:pt x="127" y="158"/>
                  </a:lnTo>
                  <a:lnTo>
                    <a:pt x="126" y="158"/>
                  </a:lnTo>
                  <a:lnTo>
                    <a:pt x="126" y="159"/>
                  </a:lnTo>
                  <a:lnTo>
                    <a:pt x="126" y="159"/>
                  </a:lnTo>
                  <a:lnTo>
                    <a:pt x="126" y="160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6" y="163"/>
                  </a:lnTo>
                  <a:lnTo>
                    <a:pt x="126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5" y="165"/>
                  </a:lnTo>
                  <a:lnTo>
                    <a:pt x="126" y="165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3"/>
                  </a:lnTo>
                  <a:lnTo>
                    <a:pt x="127" y="163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3"/>
                  </a:lnTo>
                  <a:lnTo>
                    <a:pt x="129" y="163"/>
                  </a:lnTo>
                  <a:lnTo>
                    <a:pt x="130" y="163"/>
                  </a:lnTo>
                  <a:lnTo>
                    <a:pt x="130" y="164"/>
                  </a:lnTo>
                  <a:lnTo>
                    <a:pt x="130" y="163"/>
                  </a:lnTo>
                  <a:lnTo>
                    <a:pt x="130" y="163"/>
                  </a:lnTo>
                  <a:lnTo>
                    <a:pt x="129" y="163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7" y="162"/>
                  </a:lnTo>
                  <a:lnTo>
                    <a:pt x="127" y="161"/>
                  </a:lnTo>
                  <a:lnTo>
                    <a:pt x="127" y="161"/>
                  </a:lnTo>
                  <a:lnTo>
                    <a:pt x="128" y="161"/>
                  </a:lnTo>
                  <a:lnTo>
                    <a:pt x="128" y="160"/>
                  </a:lnTo>
                  <a:lnTo>
                    <a:pt x="128" y="159"/>
                  </a:lnTo>
                  <a:lnTo>
                    <a:pt x="127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9" y="159"/>
                  </a:lnTo>
                  <a:lnTo>
                    <a:pt x="130" y="159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2" y="157"/>
                  </a:lnTo>
                  <a:lnTo>
                    <a:pt x="133" y="157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8"/>
                  </a:lnTo>
                  <a:lnTo>
                    <a:pt x="130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1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9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3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5" y="155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6" y="156"/>
                  </a:lnTo>
                  <a:lnTo>
                    <a:pt x="136" y="157"/>
                  </a:lnTo>
                  <a:lnTo>
                    <a:pt x="135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9" y="158"/>
                  </a:lnTo>
                  <a:lnTo>
                    <a:pt x="138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60"/>
                  </a:lnTo>
                  <a:lnTo>
                    <a:pt x="139" y="159"/>
                  </a:lnTo>
                  <a:lnTo>
                    <a:pt x="139" y="160"/>
                  </a:lnTo>
                  <a:lnTo>
                    <a:pt x="140" y="160"/>
                  </a:lnTo>
                  <a:lnTo>
                    <a:pt x="140" y="159"/>
                  </a:lnTo>
                  <a:lnTo>
                    <a:pt x="141" y="159"/>
                  </a:lnTo>
                  <a:lnTo>
                    <a:pt x="141" y="160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40" y="158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6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9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6"/>
                  </a:lnTo>
                  <a:lnTo>
                    <a:pt x="139" y="156"/>
                  </a:lnTo>
                  <a:lnTo>
                    <a:pt x="140" y="155"/>
                  </a:lnTo>
                  <a:lnTo>
                    <a:pt x="139" y="155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8" y="156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40" y="155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4"/>
                  </a:lnTo>
                  <a:lnTo>
                    <a:pt x="136" y="154"/>
                  </a:lnTo>
                  <a:lnTo>
                    <a:pt x="136" y="155"/>
                  </a:lnTo>
                  <a:lnTo>
                    <a:pt x="135" y="155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4" y="153"/>
                  </a:lnTo>
                  <a:lnTo>
                    <a:pt x="133" y="153"/>
                  </a:lnTo>
                  <a:lnTo>
                    <a:pt x="133" y="153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4" y="152"/>
                  </a:lnTo>
                  <a:lnTo>
                    <a:pt x="135" y="152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2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1"/>
                  </a:lnTo>
                  <a:lnTo>
                    <a:pt x="139" y="151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0" y="152"/>
                  </a:lnTo>
                  <a:lnTo>
                    <a:pt x="141" y="152"/>
                  </a:lnTo>
                  <a:lnTo>
                    <a:pt x="140" y="152"/>
                  </a:lnTo>
                  <a:lnTo>
                    <a:pt x="140" y="153"/>
                  </a:lnTo>
                  <a:lnTo>
                    <a:pt x="141" y="153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2" y="152"/>
                  </a:lnTo>
                  <a:lnTo>
                    <a:pt x="142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4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2"/>
                  </a:lnTo>
                  <a:lnTo>
                    <a:pt x="143" y="153"/>
                  </a:lnTo>
                  <a:lnTo>
                    <a:pt x="143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6" y="153"/>
                  </a:lnTo>
                  <a:lnTo>
                    <a:pt x="147" y="153"/>
                  </a:lnTo>
                  <a:lnTo>
                    <a:pt x="148" y="153"/>
                  </a:lnTo>
                  <a:lnTo>
                    <a:pt x="148" y="154"/>
                  </a:lnTo>
                  <a:lnTo>
                    <a:pt x="147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4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4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4"/>
                  </a:lnTo>
                  <a:lnTo>
                    <a:pt x="147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7" y="155"/>
                  </a:lnTo>
                  <a:lnTo>
                    <a:pt x="148" y="155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lnTo>
                    <a:pt x="149" y="156"/>
                  </a:lnTo>
                  <a:lnTo>
                    <a:pt x="148" y="156"/>
                  </a:lnTo>
                  <a:lnTo>
                    <a:pt x="149" y="157"/>
                  </a:lnTo>
                  <a:lnTo>
                    <a:pt x="149" y="156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1" y="156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2" y="156"/>
                  </a:lnTo>
                  <a:lnTo>
                    <a:pt x="152" y="155"/>
                  </a:lnTo>
                  <a:lnTo>
                    <a:pt x="151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1" y="153"/>
                  </a:lnTo>
                  <a:lnTo>
                    <a:pt x="152" y="153"/>
                  </a:lnTo>
                  <a:lnTo>
                    <a:pt x="151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4" y="150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8" y="149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49"/>
                  </a:lnTo>
                  <a:lnTo>
                    <a:pt x="158" y="148"/>
                  </a:lnTo>
                  <a:lnTo>
                    <a:pt x="157" y="148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7" y="148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60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45"/>
                  </a:lnTo>
                  <a:lnTo>
                    <a:pt x="159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9" y="143"/>
                  </a:lnTo>
                  <a:lnTo>
                    <a:pt x="158" y="143"/>
                  </a:lnTo>
                  <a:lnTo>
                    <a:pt x="158" y="144"/>
                  </a:lnTo>
                  <a:lnTo>
                    <a:pt x="159" y="14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0" y="144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1"/>
                  </a:lnTo>
                  <a:lnTo>
                    <a:pt x="161" y="141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3" y="142"/>
                  </a:lnTo>
                  <a:lnTo>
                    <a:pt x="163" y="143"/>
                  </a:lnTo>
                  <a:lnTo>
                    <a:pt x="162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4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3"/>
                  </a:lnTo>
                  <a:lnTo>
                    <a:pt x="166" y="143"/>
                  </a:lnTo>
                  <a:lnTo>
                    <a:pt x="167" y="143"/>
                  </a:lnTo>
                  <a:lnTo>
                    <a:pt x="167" y="143"/>
                  </a:lnTo>
                  <a:lnTo>
                    <a:pt x="167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7" y="143"/>
                  </a:lnTo>
                  <a:lnTo>
                    <a:pt x="167" y="144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70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7"/>
                  </a:lnTo>
                  <a:lnTo>
                    <a:pt x="167" y="147"/>
                  </a:lnTo>
                  <a:lnTo>
                    <a:pt x="166" y="147"/>
                  </a:lnTo>
                  <a:lnTo>
                    <a:pt x="165" y="147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4" y="148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5" y="149"/>
                  </a:lnTo>
                  <a:lnTo>
                    <a:pt x="164" y="149"/>
                  </a:lnTo>
                  <a:lnTo>
                    <a:pt x="164" y="148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4" y="150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4" y="152"/>
                  </a:lnTo>
                  <a:lnTo>
                    <a:pt x="164" y="153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63" y="154"/>
                  </a:lnTo>
                  <a:lnTo>
                    <a:pt x="163" y="154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5"/>
                  </a:lnTo>
                  <a:lnTo>
                    <a:pt x="165" y="155"/>
                  </a:lnTo>
                  <a:lnTo>
                    <a:pt x="165" y="155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6" y="154"/>
                  </a:lnTo>
                  <a:lnTo>
                    <a:pt x="166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2"/>
                  </a:lnTo>
                  <a:lnTo>
                    <a:pt x="168" y="152"/>
                  </a:lnTo>
                  <a:lnTo>
                    <a:pt x="168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9" y="149"/>
                  </a:lnTo>
                  <a:lnTo>
                    <a:pt x="169" y="148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71" y="148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6" y="143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8" y="143"/>
                  </a:lnTo>
                  <a:lnTo>
                    <a:pt x="178" y="143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7" y="144"/>
                  </a:lnTo>
                  <a:lnTo>
                    <a:pt x="177" y="145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7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9" y="149"/>
                  </a:lnTo>
                  <a:lnTo>
                    <a:pt x="179" y="149"/>
                  </a:lnTo>
                  <a:lnTo>
                    <a:pt x="179" y="150"/>
                  </a:lnTo>
                  <a:lnTo>
                    <a:pt x="179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8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1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1" y="147"/>
                  </a:lnTo>
                  <a:lnTo>
                    <a:pt x="180" y="147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2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0" y="145"/>
                  </a:lnTo>
                  <a:lnTo>
                    <a:pt x="181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6"/>
                  </a:lnTo>
                  <a:lnTo>
                    <a:pt x="182" y="145"/>
                  </a:lnTo>
                  <a:lnTo>
                    <a:pt x="183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5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1" y="143"/>
                  </a:lnTo>
                  <a:lnTo>
                    <a:pt x="180" y="143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3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1"/>
                  </a:lnTo>
                  <a:lnTo>
                    <a:pt x="181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3" y="141"/>
                  </a:lnTo>
                  <a:lnTo>
                    <a:pt x="183" y="141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0"/>
                  </a:lnTo>
                  <a:lnTo>
                    <a:pt x="183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5" y="140"/>
                  </a:lnTo>
                  <a:lnTo>
                    <a:pt x="184" y="140"/>
                  </a:lnTo>
                  <a:lnTo>
                    <a:pt x="185" y="139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8" y="141"/>
                  </a:lnTo>
                  <a:lnTo>
                    <a:pt x="189" y="141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89" y="142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1" y="142"/>
                  </a:lnTo>
                  <a:lnTo>
                    <a:pt x="191" y="142"/>
                  </a:lnTo>
                  <a:lnTo>
                    <a:pt x="192" y="142"/>
                  </a:lnTo>
                  <a:lnTo>
                    <a:pt x="192" y="142"/>
                  </a:lnTo>
                  <a:lnTo>
                    <a:pt x="192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0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4"/>
                  </a:lnTo>
                  <a:lnTo>
                    <a:pt x="190" y="143"/>
                  </a:lnTo>
                  <a:lnTo>
                    <a:pt x="190" y="144"/>
                  </a:lnTo>
                  <a:lnTo>
                    <a:pt x="191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89" y="144"/>
                  </a:lnTo>
                  <a:lnTo>
                    <a:pt x="189" y="144"/>
                  </a:lnTo>
                  <a:lnTo>
                    <a:pt x="188" y="144"/>
                  </a:lnTo>
                  <a:lnTo>
                    <a:pt x="188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7" y="145"/>
                  </a:lnTo>
                  <a:lnTo>
                    <a:pt x="187" y="144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7" y="146"/>
                  </a:lnTo>
                  <a:lnTo>
                    <a:pt x="187" y="146"/>
                  </a:lnTo>
                  <a:lnTo>
                    <a:pt x="187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5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7" y="147"/>
                  </a:lnTo>
                  <a:lnTo>
                    <a:pt x="187" y="147"/>
                  </a:lnTo>
                  <a:lnTo>
                    <a:pt x="188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89" y="147"/>
                  </a:lnTo>
                  <a:lnTo>
                    <a:pt x="189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6" y="149"/>
                  </a:lnTo>
                  <a:lnTo>
                    <a:pt x="187" y="149"/>
                  </a:lnTo>
                  <a:lnTo>
                    <a:pt x="186" y="149"/>
                  </a:lnTo>
                  <a:lnTo>
                    <a:pt x="186" y="150"/>
                  </a:lnTo>
                  <a:lnTo>
                    <a:pt x="187" y="150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88" y="150"/>
                  </a:lnTo>
                  <a:lnTo>
                    <a:pt x="189" y="150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90" y="149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0" y="149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9" y="152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90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5"/>
                  </a:lnTo>
                  <a:lnTo>
                    <a:pt x="188" y="155"/>
                  </a:lnTo>
                  <a:lnTo>
                    <a:pt x="189" y="155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90" y="154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2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90" y="150"/>
                  </a:lnTo>
                  <a:lnTo>
                    <a:pt x="190" y="151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49"/>
                  </a:lnTo>
                  <a:lnTo>
                    <a:pt x="191" y="149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1" y="150"/>
                  </a:lnTo>
                  <a:lnTo>
                    <a:pt x="192" y="150"/>
                  </a:lnTo>
                  <a:lnTo>
                    <a:pt x="192" y="149"/>
                  </a:lnTo>
                  <a:lnTo>
                    <a:pt x="191" y="149"/>
                  </a:lnTo>
                  <a:lnTo>
                    <a:pt x="192" y="149"/>
                  </a:lnTo>
                  <a:lnTo>
                    <a:pt x="192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2" y="146"/>
                  </a:lnTo>
                  <a:lnTo>
                    <a:pt x="193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5"/>
                  </a:lnTo>
                  <a:lnTo>
                    <a:pt x="193" y="145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4" y="144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6" y="143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8" y="145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1" y="146"/>
                  </a:lnTo>
                  <a:lnTo>
                    <a:pt x="201" y="146"/>
                  </a:lnTo>
                  <a:lnTo>
                    <a:pt x="201" y="145"/>
                  </a:lnTo>
                  <a:lnTo>
                    <a:pt x="202" y="145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7"/>
                  </a:lnTo>
                  <a:lnTo>
                    <a:pt x="201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3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7"/>
                  </a:lnTo>
                  <a:lnTo>
                    <a:pt x="205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7" y="148"/>
                  </a:lnTo>
                  <a:close/>
                  <a:moveTo>
                    <a:pt x="91" y="41"/>
                  </a:moveTo>
                  <a:lnTo>
                    <a:pt x="92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8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4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1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4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88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2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7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99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100" y="36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5" y="36"/>
                  </a:lnTo>
                  <a:lnTo>
                    <a:pt x="95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6"/>
                  </a:lnTo>
                  <a:lnTo>
                    <a:pt x="88" y="36"/>
                  </a:lnTo>
                  <a:lnTo>
                    <a:pt x="88" y="37"/>
                  </a:lnTo>
                  <a:lnTo>
                    <a:pt x="87" y="37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4" y="37"/>
                  </a:lnTo>
                  <a:lnTo>
                    <a:pt x="83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0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7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8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3" y="36"/>
                  </a:lnTo>
                  <a:lnTo>
                    <a:pt x="72" y="36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4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2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4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90" y="31"/>
                  </a:lnTo>
                  <a:lnTo>
                    <a:pt x="89" y="30"/>
                  </a:lnTo>
                  <a:lnTo>
                    <a:pt x="90" y="30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90" y="29"/>
                  </a:lnTo>
                  <a:lnTo>
                    <a:pt x="91" y="29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2" y="28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4" y="28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8" y="28"/>
                  </a:lnTo>
                  <a:lnTo>
                    <a:pt x="99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1" y="28"/>
                  </a:lnTo>
                  <a:lnTo>
                    <a:pt x="101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99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6" y="28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5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2" y="26"/>
                  </a:lnTo>
                  <a:lnTo>
                    <a:pt x="91" y="26"/>
                  </a:lnTo>
                  <a:lnTo>
                    <a:pt x="91" y="25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89" y="26"/>
                  </a:lnTo>
                  <a:lnTo>
                    <a:pt x="89" y="26"/>
                  </a:lnTo>
                  <a:lnTo>
                    <a:pt x="88" y="26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3" y="24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3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0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1" y="25"/>
                  </a:lnTo>
                  <a:lnTo>
                    <a:pt x="80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8" y="25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80" y="26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7" y="28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4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1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9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7" y="31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3" y="28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6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8" y="26"/>
                  </a:lnTo>
                  <a:lnTo>
                    <a:pt x="69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69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6" y="26"/>
                  </a:lnTo>
                  <a:lnTo>
                    <a:pt x="66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0" y="25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9" y="23"/>
                  </a:lnTo>
                  <a:lnTo>
                    <a:pt x="59" y="22"/>
                  </a:lnTo>
                  <a:lnTo>
                    <a:pt x="58" y="22"/>
                  </a:lnTo>
                  <a:lnTo>
                    <a:pt x="57" y="23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7" y="22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8" y="20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4" y="19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8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2" y="19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6"/>
                  </a:lnTo>
                  <a:lnTo>
                    <a:pt x="58" y="16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1" y="12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5" y="5"/>
                  </a:lnTo>
                  <a:lnTo>
                    <a:pt x="56" y="6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3" y="6"/>
                  </a:lnTo>
                  <a:lnTo>
                    <a:pt x="72" y="7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69" y="6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6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0" y="9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9"/>
                  </a:lnTo>
                  <a:lnTo>
                    <a:pt x="75" y="8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80" y="4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4" y="7"/>
                  </a:lnTo>
                  <a:lnTo>
                    <a:pt x="83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7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89" y="16"/>
                  </a:lnTo>
                  <a:lnTo>
                    <a:pt x="89" y="17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2" y="17"/>
                  </a:lnTo>
                  <a:lnTo>
                    <a:pt x="92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5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3" y="17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5"/>
                  </a:lnTo>
                  <a:lnTo>
                    <a:pt x="92" y="15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2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9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90" y="3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2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5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8" y="3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5"/>
                  </a:lnTo>
                  <a:lnTo>
                    <a:pt x="107" y="5"/>
                  </a:lnTo>
                  <a:lnTo>
                    <a:pt x="107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6" y="10"/>
                  </a:lnTo>
                  <a:lnTo>
                    <a:pt x="106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2"/>
                  </a:lnTo>
                  <a:lnTo>
                    <a:pt x="104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6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8" y="11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3" y="13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3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5" y="14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8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6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3" y="17"/>
                  </a:lnTo>
                  <a:lnTo>
                    <a:pt x="123" y="18"/>
                  </a:lnTo>
                  <a:lnTo>
                    <a:pt x="122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7" y="18"/>
                  </a:lnTo>
                  <a:lnTo>
                    <a:pt x="127" y="19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2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4" y="24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3" y="24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2" y="23"/>
                  </a:lnTo>
                  <a:lnTo>
                    <a:pt x="133" y="23"/>
                  </a:lnTo>
                  <a:lnTo>
                    <a:pt x="133" y="24"/>
                  </a:lnTo>
                  <a:lnTo>
                    <a:pt x="132" y="24"/>
                  </a:lnTo>
                  <a:lnTo>
                    <a:pt x="131" y="24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0" y="23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8" y="23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7" y="22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5" y="23"/>
                  </a:lnTo>
                  <a:lnTo>
                    <a:pt x="125" y="24"/>
                  </a:lnTo>
                  <a:lnTo>
                    <a:pt x="126" y="24"/>
                  </a:lnTo>
                  <a:lnTo>
                    <a:pt x="125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0" y="25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8" y="25"/>
                  </a:lnTo>
                  <a:lnTo>
                    <a:pt x="117" y="25"/>
                  </a:lnTo>
                  <a:lnTo>
                    <a:pt x="117" y="26"/>
                  </a:lnTo>
                  <a:lnTo>
                    <a:pt x="116" y="26"/>
                  </a:lnTo>
                  <a:lnTo>
                    <a:pt x="115" y="25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6" y="27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5" y="31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6" y="32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4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10" y="36"/>
                  </a:lnTo>
                  <a:lnTo>
                    <a:pt x="111" y="36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10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8"/>
                  </a:lnTo>
                  <a:lnTo>
                    <a:pt x="111" y="39"/>
                  </a:lnTo>
                  <a:lnTo>
                    <a:pt x="110" y="39"/>
                  </a:lnTo>
                  <a:lnTo>
                    <a:pt x="109" y="39"/>
                  </a:lnTo>
                  <a:lnTo>
                    <a:pt x="110" y="39"/>
                  </a:lnTo>
                  <a:lnTo>
                    <a:pt x="110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7" y="42"/>
                  </a:lnTo>
                  <a:lnTo>
                    <a:pt x="107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2"/>
                  </a:lnTo>
                  <a:lnTo>
                    <a:pt x="104" y="42"/>
                  </a:lnTo>
                  <a:lnTo>
                    <a:pt x="105" y="42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3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9"/>
                  </a:lnTo>
                  <a:lnTo>
                    <a:pt x="101" y="50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0" y="49"/>
                  </a:lnTo>
                  <a:lnTo>
                    <a:pt x="100" y="49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2" y="50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99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3"/>
                  </a:lnTo>
                  <a:lnTo>
                    <a:pt x="97" y="53"/>
                  </a:lnTo>
                  <a:lnTo>
                    <a:pt x="98" y="53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9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1" y="54"/>
                  </a:lnTo>
                  <a:lnTo>
                    <a:pt x="101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6" y="57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5" y="56"/>
                  </a:lnTo>
                  <a:lnTo>
                    <a:pt x="94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3" y="57"/>
                  </a:lnTo>
                  <a:lnTo>
                    <a:pt x="94" y="57"/>
                  </a:lnTo>
                  <a:lnTo>
                    <a:pt x="94" y="56"/>
                  </a:lnTo>
                  <a:lnTo>
                    <a:pt x="93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2" y="54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0" y="54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89" y="53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5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7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5" y="49"/>
                  </a:lnTo>
                  <a:lnTo>
                    <a:pt x="94" y="49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91" y="49"/>
                  </a:lnTo>
                  <a:lnTo>
                    <a:pt x="92" y="49"/>
                  </a:lnTo>
                  <a:lnTo>
                    <a:pt x="91" y="49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49"/>
                  </a:lnTo>
                  <a:lnTo>
                    <a:pt x="84" y="49"/>
                  </a:lnTo>
                  <a:lnTo>
                    <a:pt x="85" y="49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2" y="48"/>
                  </a:lnTo>
                  <a:lnTo>
                    <a:pt x="82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8" y="47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7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5" y="44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2"/>
                  </a:lnTo>
                  <a:lnTo>
                    <a:pt x="74" y="42"/>
                  </a:lnTo>
                  <a:lnTo>
                    <a:pt x="75" y="42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7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80" y="41"/>
                  </a:lnTo>
                  <a:lnTo>
                    <a:pt x="79" y="41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2" y="42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7" y="41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8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1" y="42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2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1"/>
                  </a:lnTo>
                  <a:lnTo>
                    <a:pt x="91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7" name="Freeform 83"/>
            <p:cNvSpPr>
              <a:spLocks noEditPoints="1"/>
            </p:cNvSpPr>
            <p:nvPr/>
          </p:nvSpPr>
          <p:spPr bwMode="auto">
            <a:xfrm>
              <a:off x="5807464" y="3068669"/>
              <a:ext cx="278035" cy="456062"/>
            </a:xfrm>
            <a:custGeom>
              <a:avLst/>
              <a:gdLst>
                <a:gd name="T0" fmla="*/ 15 w 213"/>
                <a:gd name="T1" fmla="*/ 327 h 331"/>
                <a:gd name="T2" fmla="*/ 10 w 213"/>
                <a:gd name="T3" fmla="*/ 318 h 331"/>
                <a:gd name="T4" fmla="*/ 8 w 213"/>
                <a:gd name="T5" fmla="*/ 316 h 331"/>
                <a:gd name="T6" fmla="*/ 47 w 213"/>
                <a:gd name="T7" fmla="*/ 316 h 331"/>
                <a:gd name="T8" fmla="*/ 6 w 213"/>
                <a:gd name="T9" fmla="*/ 314 h 331"/>
                <a:gd name="T10" fmla="*/ 9 w 213"/>
                <a:gd name="T11" fmla="*/ 309 h 331"/>
                <a:gd name="T12" fmla="*/ 5 w 213"/>
                <a:gd name="T13" fmla="*/ 307 h 331"/>
                <a:gd name="T14" fmla="*/ 4 w 213"/>
                <a:gd name="T15" fmla="*/ 306 h 331"/>
                <a:gd name="T16" fmla="*/ 7 w 213"/>
                <a:gd name="T17" fmla="*/ 305 h 331"/>
                <a:gd name="T18" fmla="*/ 4 w 213"/>
                <a:gd name="T19" fmla="*/ 302 h 331"/>
                <a:gd name="T20" fmla="*/ 5 w 213"/>
                <a:gd name="T21" fmla="*/ 298 h 331"/>
                <a:gd name="T22" fmla="*/ 2 w 213"/>
                <a:gd name="T23" fmla="*/ 294 h 331"/>
                <a:gd name="T24" fmla="*/ 2 w 213"/>
                <a:gd name="T25" fmla="*/ 292 h 331"/>
                <a:gd name="T26" fmla="*/ 1 w 213"/>
                <a:gd name="T27" fmla="*/ 287 h 331"/>
                <a:gd name="T28" fmla="*/ 3 w 213"/>
                <a:gd name="T29" fmla="*/ 284 h 331"/>
                <a:gd name="T30" fmla="*/ 3 w 213"/>
                <a:gd name="T31" fmla="*/ 280 h 331"/>
                <a:gd name="T32" fmla="*/ 8 w 213"/>
                <a:gd name="T33" fmla="*/ 274 h 331"/>
                <a:gd name="T34" fmla="*/ 12 w 213"/>
                <a:gd name="T35" fmla="*/ 271 h 331"/>
                <a:gd name="T36" fmla="*/ 17 w 213"/>
                <a:gd name="T37" fmla="*/ 269 h 331"/>
                <a:gd name="T38" fmla="*/ 24 w 213"/>
                <a:gd name="T39" fmla="*/ 265 h 331"/>
                <a:gd name="T40" fmla="*/ 26 w 213"/>
                <a:gd name="T41" fmla="*/ 263 h 331"/>
                <a:gd name="T42" fmla="*/ 27 w 213"/>
                <a:gd name="T43" fmla="*/ 261 h 331"/>
                <a:gd name="T44" fmla="*/ 29 w 213"/>
                <a:gd name="T45" fmla="*/ 258 h 331"/>
                <a:gd name="T46" fmla="*/ 36 w 213"/>
                <a:gd name="T47" fmla="*/ 256 h 331"/>
                <a:gd name="T48" fmla="*/ 31 w 213"/>
                <a:gd name="T49" fmla="*/ 256 h 331"/>
                <a:gd name="T50" fmla="*/ 38 w 213"/>
                <a:gd name="T51" fmla="*/ 255 h 331"/>
                <a:gd name="T52" fmla="*/ 44 w 213"/>
                <a:gd name="T53" fmla="*/ 251 h 331"/>
                <a:gd name="T54" fmla="*/ 49 w 213"/>
                <a:gd name="T55" fmla="*/ 244 h 331"/>
                <a:gd name="T56" fmla="*/ 53 w 213"/>
                <a:gd name="T57" fmla="*/ 241 h 331"/>
                <a:gd name="T58" fmla="*/ 49 w 213"/>
                <a:gd name="T59" fmla="*/ 239 h 331"/>
                <a:gd name="T60" fmla="*/ 57 w 213"/>
                <a:gd name="T61" fmla="*/ 236 h 331"/>
                <a:gd name="T62" fmla="*/ 61 w 213"/>
                <a:gd name="T63" fmla="*/ 232 h 331"/>
                <a:gd name="T64" fmla="*/ 61 w 213"/>
                <a:gd name="T65" fmla="*/ 228 h 331"/>
                <a:gd name="T66" fmla="*/ 61 w 213"/>
                <a:gd name="T67" fmla="*/ 226 h 331"/>
                <a:gd name="T68" fmla="*/ 61 w 213"/>
                <a:gd name="T69" fmla="*/ 222 h 331"/>
                <a:gd name="T70" fmla="*/ 61 w 213"/>
                <a:gd name="T71" fmla="*/ 221 h 331"/>
                <a:gd name="T72" fmla="*/ 62 w 213"/>
                <a:gd name="T73" fmla="*/ 219 h 331"/>
                <a:gd name="T74" fmla="*/ 64 w 213"/>
                <a:gd name="T75" fmla="*/ 217 h 331"/>
                <a:gd name="T76" fmla="*/ 67 w 213"/>
                <a:gd name="T77" fmla="*/ 215 h 331"/>
                <a:gd name="T78" fmla="*/ 71 w 213"/>
                <a:gd name="T79" fmla="*/ 212 h 331"/>
                <a:gd name="T80" fmla="*/ 75 w 213"/>
                <a:gd name="T81" fmla="*/ 207 h 331"/>
                <a:gd name="T82" fmla="*/ 64 w 213"/>
                <a:gd name="T83" fmla="*/ 201 h 331"/>
                <a:gd name="T84" fmla="*/ 84 w 213"/>
                <a:gd name="T85" fmla="*/ 197 h 331"/>
                <a:gd name="T86" fmla="*/ 66 w 213"/>
                <a:gd name="T87" fmla="*/ 199 h 331"/>
                <a:gd name="T88" fmla="*/ 86 w 213"/>
                <a:gd name="T89" fmla="*/ 192 h 331"/>
                <a:gd name="T90" fmla="*/ 93 w 213"/>
                <a:gd name="T91" fmla="*/ 191 h 331"/>
                <a:gd name="T92" fmla="*/ 82 w 213"/>
                <a:gd name="T93" fmla="*/ 184 h 331"/>
                <a:gd name="T94" fmla="*/ 93 w 213"/>
                <a:gd name="T95" fmla="*/ 183 h 331"/>
                <a:gd name="T96" fmla="*/ 108 w 213"/>
                <a:gd name="T97" fmla="*/ 173 h 331"/>
                <a:gd name="T98" fmla="*/ 112 w 213"/>
                <a:gd name="T99" fmla="*/ 168 h 331"/>
                <a:gd name="T100" fmla="*/ 119 w 213"/>
                <a:gd name="T101" fmla="*/ 167 h 331"/>
                <a:gd name="T102" fmla="*/ 119 w 213"/>
                <a:gd name="T103" fmla="*/ 166 h 331"/>
                <a:gd name="T104" fmla="*/ 167 w 213"/>
                <a:gd name="T105" fmla="*/ 163 h 331"/>
                <a:gd name="T106" fmla="*/ 171 w 213"/>
                <a:gd name="T107" fmla="*/ 158 h 331"/>
                <a:gd name="T108" fmla="*/ 171 w 213"/>
                <a:gd name="T109" fmla="*/ 152 h 331"/>
                <a:gd name="T110" fmla="*/ 83 w 213"/>
                <a:gd name="T111" fmla="*/ 61 h 331"/>
                <a:gd name="T112" fmla="*/ 127 w 213"/>
                <a:gd name="T113" fmla="*/ 43 h 331"/>
                <a:gd name="T114" fmla="*/ 61 w 213"/>
                <a:gd name="T115" fmla="*/ 30 h 331"/>
                <a:gd name="T116" fmla="*/ 123 w 213"/>
                <a:gd name="T117" fmla="*/ 25 h 331"/>
                <a:gd name="T118" fmla="*/ 121 w 213"/>
                <a:gd name="T119" fmla="*/ 19 h 331"/>
                <a:gd name="T120" fmla="*/ 111 w 213"/>
                <a:gd name="T121" fmla="*/ 14 h 331"/>
                <a:gd name="T122" fmla="*/ 171 w 213"/>
                <a:gd name="T123" fmla="*/ 9 h 331"/>
                <a:gd name="T124" fmla="*/ 173 w 213"/>
                <a:gd name="T125" fmla="*/ 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3" h="331"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0"/>
                  </a:moveTo>
                  <a:lnTo>
                    <a:pt x="24" y="331"/>
                  </a:lnTo>
                  <a:lnTo>
                    <a:pt x="24" y="330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0"/>
                  </a:lnTo>
                  <a:close/>
                  <a:moveTo>
                    <a:pt x="19" y="331"/>
                  </a:moveTo>
                  <a:lnTo>
                    <a:pt x="19" y="331"/>
                  </a:lnTo>
                  <a:lnTo>
                    <a:pt x="19" y="330"/>
                  </a:lnTo>
                  <a:lnTo>
                    <a:pt x="19" y="330"/>
                  </a:lnTo>
                  <a:lnTo>
                    <a:pt x="19" y="331"/>
                  </a:lnTo>
                  <a:close/>
                  <a:moveTo>
                    <a:pt x="23" y="330"/>
                  </a:move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close/>
                  <a:moveTo>
                    <a:pt x="19" y="330"/>
                  </a:moveTo>
                  <a:lnTo>
                    <a:pt x="19" y="331"/>
                  </a:lnTo>
                  <a:lnTo>
                    <a:pt x="19" y="330"/>
                  </a:lnTo>
                  <a:close/>
                  <a:moveTo>
                    <a:pt x="21" y="330"/>
                  </a:moveTo>
                  <a:lnTo>
                    <a:pt x="20" y="330"/>
                  </a:lnTo>
                  <a:lnTo>
                    <a:pt x="20" y="331"/>
                  </a:lnTo>
                  <a:lnTo>
                    <a:pt x="20" y="330"/>
                  </a:lnTo>
                  <a:lnTo>
                    <a:pt x="21" y="330"/>
                  </a:lnTo>
                  <a:close/>
                  <a:moveTo>
                    <a:pt x="22" y="330"/>
                  </a:move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0"/>
                  </a:lnTo>
                  <a:lnTo>
                    <a:pt x="22" y="330"/>
                  </a:lnTo>
                  <a:close/>
                  <a:moveTo>
                    <a:pt x="19" y="329"/>
                  </a:moveTo>
                  <a:lnTo>
                    <a:pt x="19" y="330"/>
                  </a:lnTo>
                  <a:lnTo>
                    <a:pt x="19" y="329"/>
                  </a:lnTo>
                  <a:lnTo>
                    <a:pt x="18" y="330"/>
                  </a:lnTo>
                  <a:lnTo>
                    <a:pt x="19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6" y="329"/>
                  </a:moveTo>
                  <a:lnTo>
                    <a:pt x="25" y="329"/>
                  </a:lnTo>
                  <a:lnTo>
                    <a:pt x="26" y="329"/>
                  </a:lnTo>
                  <a:close/>
                  <a:moveTo>
                    <a:pt x="26" y="329"/>
                  </a:moveTo>
                  <a:lnTo>
                    <a:pt x="26" y="329"/>
                  </a:lnTo>
                  <a:lnTo>
                    <a:pt x="26" y="329"/>
                  </a:lnTo>
                  <a:close/>
                  <a:moveTo>
                    <a:pt x="19" y="329"/>
                  </a:move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29" y="329"/>
                  </a:moveTo>
                  <a:lnTo>
                    <a:pt x="28" y="329"/>
                  </a:lnTo>
                  <a:lnTo>
                    <a:pt x="29" y="329"/>
                  </a:lnTo>
                  <a:close/>
                  <a:moveTo>
                    <a:pt x="28" y="329"/>
                  </a:moveTo>
                  <a:lnTo>
                    <a:pt x="28" y="329"/>
                  </a:lnTo>
                  <a:lnTo>
                    <a:pt x="28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30" y="328"/>
                  </a:moveTo>
                  <a:lnTo>
                    <a:pt x="30" y="328"/>
                  </a:lnTo>
                  <a:lnTo>
                    <a:pt x="30" y="328"/>
                  </a:lnTo>
                  <a:close/>
                  <a:moveTo>
                    <a:pt x="16" y="327"/>
                  </a:moveTo>
                  <a:lnTo>
                    <a:pt x="16" y="328"/>
                  </a:lnTo>
                  <a:lnTo>
                    <a:pt x="16" y="327"/>
                  </a:lnTo>
                  <a:close/>
                  <a:moveTo>
                    <a:pt x="15" y="327"/>
                  </a:moveTo>
                  <a:lnTo>
                    <a:pt x="16" y="327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6" y="328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5" y="328"/>
                  </a:lnTo>
                  <a:lnTo>
                    <a:pt x="15" y="327"/>
                  </a:lnTo>
                  <a:close/>
                  <a:moveTo>
                    <a:pt x="35" y="324"/>
                  </a:moveTo>
                  <a:lnTo>
                    <a:pt x="35" y="324"/>
                  </a:lnTo>
                  <a:lnTo>
                    <a:pt x="35" y="324"/>
                  </a:lnTo>
                  <a:lnTo>
                    <a:pt x="35" y="324"/>
                  </a:lnTo>
                  <a:lnTo>
                    <a:pt x="34" y="324"/>
                  </a:lnTo>
                  <a:lnTo>
                    <a:pt x="34" y="325"/>
                  </a:lnTo>
                  <a:lnTo>
                    <a:pt x="34" y="325"/>
                  </a:lnTo>
                  <a:lnTo>
                    <a:pt x="34" y="324"/>
                  </a:lnTo>
                  <a:lnTo>
                    <a:pt x="33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5" y="324"/>
                  </a:lnTo>
                  <a:close/>
                  <a:moveTo>
                    <a:pt x="36" y="322"/>
                  </a:moveTo>
                  <a:lnTo>
                    <a:pt x="36" y="323"/>
                  </a:lnTo>
                  <a:lnTo>
                    <a:pt x="35" y="323"/>
                  </a:lnTo>
                  <a:lnTo>
                    <a:pt x="36" y="323"/>
                  </a:lnTo>
                  <a:lnTo>
                    <a:pt x="35" y="323"/>
                  </a:lnTo>
                  <a:lnTo>
                    <a:pt x="35" y="322"/>
                  </a:lnTo>
                  <a:lnTo>
                    <a:pt x="36" y="322"/>
                  </a:lnTo>
                  <a:close/>
                  <a:moveTo>
                    <a:pt x="36" y="322"/>
                  </a:moveTo>
                  <a:lnTo>
                    <a:pt x="37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5" y="322"/>
                  </a:lnTo>
                  <a:lnTo>
                    <a:pt x="36" y="322"/>
                  </a:lnTo>
                  <a:lnTo>
                    <a:pt x="36" y="322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8" y="321"/>
                  </a:moveTo>
                  <a:lnTo>
                    <a:pt x="38" y="321"/>
                  </a:lnTo>
                  <a:lnTo>
                    <a:pt x="38" y="321"/>
                  </a:lnTo>
                  <a:lnTo>
                    <a:pt x="37" y="321"/>
                  </a:lnTo>
                  <a:lnTo>
                    <a:pt x="38" y="321"/>
                  </a:lnTo>
                  <a:close/>
                  <a:moveTo>
                    <a:pt x="39" y="320"/>
                  </a:moveTo>
                  <a:lnTo>
                    <a:pt x="40" y="320"/>
                  </a:lnTo>
                  <a:lnTo>
                    <a:pt x="39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9" y="319"/>
                  </a:move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39" y="319"/>
                  </a:lnTo>
                  <a:lnTo>
                    <a:pt x="39" y="320"/>
                  </a:lnTo>
                  <a:lnTo>
                    <a:pt x="39" y="319"/>
                  </a:lnTo>
                  <a:close/>
                  <a:moveTo>
                    <a:pt x="40" y="320"/>
                  </a:moveTo>
                  <a:lnTo>
                    <a:pt x="40" y="320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20"/>
                  </a:lnTo>
                  <a:close/>
                  <a:moveTo>
                    <a:pt x="41" y="319"/>
                  </a:moveTo>
                  <a:lnTo>
                    <a:pt x="40" y="319"/>
                  </a:lnTo>
                  <a:lnTo>
                    <a:pt x="41" y="319"/>
                  </a:lnTo>
                  <a:lnTo>
                    <a:pt x="41" y="318"/>
                  </a:lnTo>
                  <a:lnTo>
                    <a:pt x="41" y="319"/>
                  </a:lnTo>
                  <a:close/>
                  <a:moveTo>
                    <a:pt x="40" y="319"/>
                  </a:moveTo>
                  <a:lnTo>
                    <a:pt x="40" y="319"/>
                  </a:lnTo>
                  <a:lnTo>
                    <a:pt x="40" y="319"/>
                  </a:lnTo>
                  <a:lnTo>
                    <a:pt x="40" y="318"/>
                  </a:lnTo>
                  <a:lnTo>
                    <a:pt x="40" y="319"/>
                  </a:lnTo>
                  <a:close/>
                  <a:moveTo>
                    <a:pt x="40" y="318"/>
                  </a:moveTo>
                  <a:lnTo>
                    <a:pt x="40" y="318"/>
                  </a:lnTo>
                  <a:lnTo>
                    <a:pt x="40" y="318"/>
                  </a:lnTo>
                  <a:close/>
                  <a:moveTo>
                    <a:pt x="11" y="318"/>
                  </a:moveTo>
                  <a:lnTo>
                    <a:pt x="11" y="319"/>
                  </a:lnTo>
                  <a:lnTo>
                    <a:pt x="11" y="318"/>
                  </a:lnTo>
                  <a:close/>
                  <a:moveTo>
                    <a:pt x="41" y="318"/>
                  </a:moveTo>
                  <a:lnTo>
                    <a:pt x="40" y="318"/>
                  </a:lnTo>
                  <a:lnTo>
                    <a:pt x="41" y="318"/>
                  </a:lnTo>
                  <a:close/>
                  <a:moveTo>
                    <a:pt x="10" y="318"/>
                  </a:moveTo>
                  <a:lnTo>
                    <a:pt x="10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44" y="318"/>
                  </a:moveTo>
                  <a:lnTo>
                    <a:pt x="45" y="318"/>
                  </a:lnTo>
                  <a:lnTo>
                    <a:pt x="44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1" y="318"/>
                  </a:moveTo>
                  <a:lnTo>
                    <a:pt x="11" y="318"/>
                  </a:lnTo>
                  <a:lnTo>
                    <a:pt x="11" y="318"/>
                  </a:lnTo>
                  <a:close/>
                  <a:moveTo>
                    <a:pt x="11" y="318"/>
                  </a:moveTo>
                  <a:lnTo>
                    <a:pt x="10" y="318"/>
                  </a:lnTo>
                  <a:lnTo>
                    <a:pt x="11" y="318"/>
                  </a:lnTo>
                  <a:lnTo>
                    <a:pt x="11" y="317"/>
                  </a:lnTo>
                  <a:lnTo>
                    <a:pt x="11" y="318"/>
                  </a:lnTo>
                  <a:close/>
                  <a:moveTo>
                    <a:pt x="44" y="318"/>
                  </a:moveTo>
                  <a:lnTo>
                    <a:pt x="44" y="317"/>
                  </a:lnTo>
                  <a:lnTo>
                    <a:pt x="44" y="318"/>
                  </a:lnTo>
                  <a:close/>
                  <a:moveTo>
                    <a:pt x="9" y="318"/>
                  </a:moveTo>
                  <a:lnTo>
                    <a:pt x="9" y="317"/>
                  </a:lnTo>
                  <a:lnTo>
                    <a:pt x="9" y="318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52" y="317"/>
                  </a:moveTo>
                  <a:lnTo>
                    <a:pt x="52" y="318"/>
                  </a:lnTo>
                  <a:lnTo>
                    <a:pt x="52" y="317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9" y="317"/>
                  </a:moveTo>
                  <a:lnTo>
                    <a:pt x="9" y="318"/>
                  </a:lnTo>
                  <a:lnTo>
                    <a:pt x="9" y="317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1" y="317"/>
                  </a:lnTo>
                  <a:lnTo>
                    <a:pt x="52" y="317"/>
                  </a:lnTo>
                  <a:close/>
                  <a:moveTo>
                    <a:pt x="42" y="317"/>
                  </a:moveTo>
                  <a:lnTo>
                    <a:pt x="42" y="318"/>
                  </a:lnTo>
                  <a:lnTo>
                    <a:pt x="42" y="317"/>
                  </a:ln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8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9" y="317"/>
                  </a:moveTo>
                  <a:lnTo>
                    <a:pt x="9" y="317"/>
                  </a:lnTo>
                  <a:lnTo>
                    <a:pt x="10" y="317"/>
                  </a:lnTo>
                  <a:lnTo>
                    <a:pt x="10" y="317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50" y="317"/>
                  </a:moveTo>
                  <a:lnTo>
                    <a:pt x="50" y="317"/>
                  </a:lnTo>
                  <a:lnTo>
                    <a:pt x="50" y="317"/>
                  </a:lnTo>
                  <a:close/>
                  <a:moveTo>
                    <a:pt x="42" y="317"/>
                  </a:move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7" y="317"/>
                  </a:moveTo>
                  <a:lnTo>
                    <a:pt x="6" y="317"/>
                  </a:lnTo>
                  <a:lnTo>
                    <a:pt x="7" y="317"/>
                  </a:lnTo>
                  <a:lnTo>
                    <a:pt x="6" y="317"/>
                  </a:lnTo>
                  <a:lnTo>
                    <a:pt x="7" y="317"/>
                  </a:lnTo>
                  <a:close/>
                  <a:moveTo>
                    <a:pt x="9" y="317"/>
                  </a:moveTo>
                  <a:lnTo>
                    <a:pt x="9" y="316"/>
                  </a:lnTo>
                  <a:lnTo>
                    <a:pt x="9" y="317"/>
                  </a:lnTo>
                  <a:close/>
                  <a:moveTo>
                    <a:pt x="52" y="316"/>
                  </a:moveTo>
                  <a:lnTo>
                    <a:pt x="52" y="317"/>
                  </a:lnTo>
                  <a:lnTo>
                    <a:pt x="52" y="316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2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7" y="317"/>
                  </a:lnTo>
                  <a:lnTo>
                    <a:pt x="47" y="316"/>
                  </a:lnTo>
                  <a:lnTo>
                    <a:pt x="47" y="317"/>
                  </a:lnTo>
                  <a:lnTo>
                    <a:pt x="46" y="317"/>
                  </a:lnTo>
                  <a:lnTo>
                    <a:pt x="46" y="316"/>
                  </a:lnTo>
                  <a:close/>
                  <a:moveTo>
                    <a:pt x="9" y="316"/>
                  </a:moveTo>
                  <a:lnTo>
                    <a:pt x="10" y="316"/>
                  </a:lnTo>
                  <a:lnTo>
                    <a:pt x="9" y="316"/>
                  </a:lnTo>
                  <a:close/>
                  <a:moveTo>
                    <a:pt x="50" y="316"/>
                  </a:moveTo>
                  <a:lnTo>
                    <a:pt x="50" y="316"/>
                  </a:lnTo>
                  <a:lnTo>
                    <a:pt x="51" y="316"/>
                  </a:lnTo>
                  <a:lnTo>
                    <a:pt x="50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5" y="316"/>
                  </a:moveTo>
                  <a:lnTo>
                    <a:pt x="5" y="316"/>
                  </a:lnTo>
                  <a:lnTo>
                    <a:pt x="5" y="316"/>
                  </a:lnTo>
                  <a:close/>
                  <a:moveTo>
                    <a:pt x="47" y="316"/>
                  </a:moveTo>
                  <a:lnTo>
                    <a:pt x="47" y="316"/>
                  </a:lnTo>
                  <a:lnTo>
                    <a:pt x="47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9" y="316"/>
                  </a:lnTo>
                  <a:lnTo>
                    <a:pt x="9" y="316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1" y="316"/>
                  </a:lnTo>
                  <a:lnTo>
                    <a:pt x="50" y="316"/>
                  </a:ln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lnTo>
                    <a:pt x="11" y="316"/>
                  </a:lnTo>
                  <a:lnTo>
                    <a:pt x="10" y="316"/>
                  </a:lnTo>
                  <a:lnTo>
                    <a:pt x="10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7" y="316"/>
                  </a:moveTo>
                  <a:lnTo>
                    <a:pt x="47" y="315"/>
                  </a:lnTo>
                  <a:lnTo>
                    <a:pt x="47" y="316"/>
                  </a:lnTo>
                  <a:close/>
                  <a:moveTo>
                    <a:pt x="46" y="316"/>
                  </a:moveTo>
                  <a:lnTo>
                    <a:pt x="46" y="315"/>
                  </a:lnTo>
                  <a:lnTo>
                    <a:pt x="46" y="316"/>
                  </a:lnTo>
                  <a:close/>
                  <a:moveTo>
                    <a:pt x="10" y="316"/>
                  </a:moveTo>
                  <a:lnTo>
                    <a:pt x="9" y="316"/>
                  </a:lnTo>
                  <a:lnTo>
                    <a:pt x="9" y="315"/>
                  </a:lnTo>
                  <a:lnTo>
                    <a:pt x="10" y="315"/>
                  </a:lnTo>
                  <a:lnTo>
                    <a:pt x="10" y="316"/>
                  </a:lnTo>
                  <a:close/>
                  <a:moveTo>
                    <a:pt x="48" y="315"/>
                  </a:moveTo>
                  <a:lnTo>
                    <a:pt x="47" y="315"/>
                  </a:lnTo>
                  <a:lnTo>
                    <a:pt x="48" y="315"/>
                  </a:lnTo>
                  <a:close/>
                  <a:moveTo>
                    <a:pt x="11" y="315"/>
                  </a:moveTo>
                  <a:lnTo>
                    <a:pt x="11" y="316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49" y="314"/>
                  </a:moveTo>
                  <a:lnTo>
                    <a:pt x="49" y="315"/>
                  </a:lnTo>
                  <a:lnTo>
                    <a:pt x="49" y="314"/>
                  </a:lnTo>
                  <a:close/>
                  <a:moveTo>
                    <a:pt x="12" y="314"/>
                  </a:moveTo>
                  <a:lnTo>
                    <a:pt x="12" y="315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lnTo>
                    <a:pt x="12" y="314"/>
                  </a:lnTo>
                  <a:close/>
                  <a:moveTo>
                    <a:pt x="10" y="314"/>
                  </a:moveTo>
                  <a:lnTo>
                    <a:pt x="10" y="315"/>
                  </a:lnTo>
                  <a:lnTo>
                    <a:pt x="10" y="314"/>
                  </a:lnTo>
                  <a:lnTo>
                    <a:pt x="10" y="315"/>
                  </a:lnTo>
                  <a:lnTo>
                    <a:pt x="9" y="315"/>
                  </a:lnTo>
                  <a:lnTo>
                    <a:pt x="9" y="314"/>
                  </a:lnTo>
                  <a:lnTo>
                    <a:pt x="10" y="314"/>
                  </a:lnTo>
                  <a:close/>
                  <a:moveTo>
                    <a:pt x="48" y="314"/>
                  </a:moveTo>
                  <a:lnTo>
                    <a:pt x="47" y="314"/>
                  </a:lnTo>
                  <a:lnTo>
                    <a:pt x="48" y="314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6" y="315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8" y="314"/>
                  </a:lnTo>
                  <a:lnTo>
                    <a:pt x="7" y="314"/>
                  </a:lnTo>
                  <a:close/>
                  <a:moveTo>
                    <a:pt x="6" y="314"/>
                  </a:moveTo>
                  <a:lnTo>
                    <a:pt x="6" y="314"/>
                  </a:lnTo>
                  <a:lnTo>
                    <a:pt x="6" y="314"/>
                  </a:lnTo>
                  <a:close/>
                  <a:moveTo>
                    <a:pt x="10" y="314"/>
                  </a:moveTo>
                  <a:lnTo>
                    <a:pt x="9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9" y="314"/>
                  </a:ln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close/>
                  <a:moveTo>
                    <a:pt x="10" y="314"/>
                  </a:move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6" y="314"/>
                  </a:lnTo>
                  <a:lnTo>
                    <a:pt x="6" y="314"/>
                  </a:lnTo>
                  <a:lnTo>
                    <a:pt x="7" y="314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12" y="314"/>
                  </a:moveTo>
                  <a:lnTo>
                    <a:pt x="12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2" y="314"/>
                  </a:lnTo>
                  <a:close/>
                  <a:moveTo>
                    <a:pt x="3" y="313"/>
                  </a:moveTo>
                  <a:lnTo>
                    <a:pt x="3" y="314"/>
                  </a:lnTo>
                  <a:lnTo>
                    <a:pt x="2" y="314"/>
                  </a:lnTo>
                  <a:lnTo>
                    <a:pt x="3" y="314"/>
                  </a:lnTo>
                  <a:lnTo>
                    <a:pt x="2" y="314"/>
                  </a:lnTo>
                  <a:lnTo>
                    <a:pt x="2" y="313"/>
                  </a:lnTo>
                  <a:lnTo>
                    <a:pt x="3" y="313"/>
                  </a:lnTo>
                  <a:close/>
                  <a:moveTo>
                    <a:pt x="49" y="313"/>
                  </a:moveTo>
                  <a:lnTo>
                    <a:pt x="48" y="313"/>
                  </a:lnTo>
                  <a:lnTo>
                    <a:pt x="49" y="313"/>
                  </a:lnTo>
                  <a:close/>
                  <a:moveTo>
                    <a:pt x="11" y="313"/>
                  </a:moveTo>
                  <a:lnTo>
                    <a:pt x="11" y="313"/>
                  </a:lnTo>
                  <a:lnTo>
                    <a:pt x="11" y="313"/>
                  </a:lnTo>
                  <a:close/>
                  <a:moveTo>
                    <a:pt x="8" y="313"/>
                  </a:moveTo>
                  <a:lnTo>
                    <a:pt x="8" y="313"/>
                  </a:lnTo>
                  <a:lnTo>
                    <a:pt x="8" y="313"/>
                  </a:lnTo>
                  <a:close/>
                  <a:moveTo>
                    <a:pt x="12" y="313"/>
                  </a:moveTo>
                  <a:lnTo>
                    <a:pt x="11" y="313"/>
                  </a:lnTo>
                  <a:lnTo>
                    <a:pt x="12" y="313"/>
                  </a:lnTo>
                  <a:close/>
                  <a:moveTo>
                    <a:pt x="4" y="313"/>
                  </a:moveTo>
                  <a:lnTo>
                    <a:pt x="5" y="313"/>
                  </a:lnTo>
                  <a:lnTo>
                    <a:pt x="4" y="313"/>
                  </a:lnTo>
                  <a:lnTo>
                    <a:pt x="4" y="312"/>
                  </a:lnTo>
                  <a:lnTo>
                    <a:pt x="4" y="313"/>
                  </a:lnTo>
                  <a:close/>
                  <a:moveTo>
                    <a:pt x="12" y="313"/>
                  </a:moveTo>
                  <a:lnTo>
                    <a:pt x="12" y="312"/>
                  </a:lnTo>
                  <a:lnTo>
                    <a:pt x="12" y="313"/>
                  </a:lnTo>
                  <a:close/>
                  <a:moveTo>
                    <a:pt x="5" y="312"/>
                  </a:move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6" y="314"/>
                  </a:lnTo>
                  <a:lnTo>
                    <a:pt x="5" y="314"/>
                  </a:lnTo>
                  <a:lnTo>
                    <a:pt x="5" y="315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4" y="316"/>
                  </a:lnTo>
                  <a:lnTo>
                    <a:pt x="4" y="315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1"/>
                  </a:ln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4" y="310"/>
                  </a:move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close/>
                  <a:moveTo>
                    <a:pt x="4" y="309"/>
                  </a:moveTo>
                  <a:lnTo>
                    <a:pt x="4" y="310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48" y="308"/>
                  </a:moveTo>
                  <a:lnTo>
                    <a:pt x="48" y="309"/>
                  </a:lnTo>
                  <a:lnTo>
                    <a:pt x="48" y="309"/>
                  </a:lnTo>
                  <a:lnTo>
                    <a:pt x="48" y="309"/>
                  </a:lnTo>
                  <a:lnTo>
                    <a:pt x="48" y="308"/>
                  </a:lnTo>
                  <a:close/>
                  <a:moveTo>
                    <a:pt x="10" y="308"/>
                  </a:moveTo>
                  <a:lnTo>
                    <a:pt x="10" y="309"/>
                  </a:lnTo>
                  <a:lnTo>
                    <a:pt x="10" y="308"/>
                  </a:lnTo>
                  <a:close/>
                  <a:moveTo>
                    <a:pt x="5" y="308"/>
                  </a:move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close/>
                  <a:moveTo>
                    <a:pt x="6" y="308"/>
                  </a:moveTo>
                  <a:lnTo>
                    <a:pt x="7" y="308"/>
                  </a:lnTo>
                  <a:lnTo>
                    <a:pt x="6" y="308"/>
                  </a:lnTo>
                  <a:close/>
                  <a:moveTo>
                    <a:pt x="8" y="308"/>
                  </a:moveTo>
                  <a:lnTo>
                    <a:pt x="9" y="308"/>
                  </a:lnTo>
                  <a:lnTo>
                    <a:pt x="9" y="309"/>
                  </a:lnTo>
                  <a:lnTo>
                    <a:pt x="9" y="308"/>
                  </a:lnTo>
                  <a:lnTo>
                    <a:pt x="9" y="309"/>
                  </a:lnTo>
                  <a:lnTo>
                    <a:pt x="8" y="309"/>
                  </a:lnTo>
                  <a:lnTo>
                    <a:pt x="8" y="308"/>
                  </a:lnTo>
                  <a:close/>
                  <a:moveTo>
                    <a:pt x="9" y="308"/>
                  </a:moveTo>
                  <a:lnTo>
                    <a:pt x="8" y="308"/>
                  </a:lnTo>
                  <a:lnTo>
                    <a:pt x="9" y="308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10" y="307"/>
                  </a:lnTo>
                  <a:lnTo>
                    <a:pt x="10" y="308"/>
                  </a:lnTo>
                  <a:lnTo>
                    <a:pt x="9" y="308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4" y="307"/>
                  </a:move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close/>
                  <a:moveTo>
                    <a:pt x="48" y="307"/>
                  </a:moveTo>
                  <a:lnTo>
                    <a:pt x="47" y="307"/>
                  </a:lnTo>
                  <a:lnTo>
                    <a:pt x="48" y="307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7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8" y="306"/>
                  </a:move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close/>
                  <a:moveTo>
                    <a:pt x="48" y="306"/>
                  </a:move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6" y="307"/>
                  </a:lnTo>
                  <a:lnTo>
                    <a:pt x="6" y="308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8"/>
                  </a:lnTo>
                  <a:lnTo>
                    <a:pt x="5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8" y="306"/>
                  </a:moveTo>
                  <a:lnTo>
                    <a:pt x="9" y="306"/>
                  </a:lnTo>
                  <a:lnTo>
                    <a:pt x="8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5" y="305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close/>
                  <a:moveTo>
                    <a:pt x="5" y="305"/>
                  </a:moveTo>
                  <a:lnTo>
                    <a:pt x="6" y="305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7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7"/>
                  </a:lnTo>
                  <a:lnTo>
                    <a:pt x="6" y="307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5" y="305"/>
                  </a:lnTo>
                  <a:close/>
                  <a:moveTo>
                    <a:pt x="11" y="305"/>
                  </a:moveTo>
                  <a:lnTo>
                    <a:pt x="10" y="305"/>
                  </a:lnTo>
                  <a:lnTo>
                    <a:pt x="9" y="306"/>
                  </a:lnTo>
                  <a:lnTo>
                    <a:pt x="9" y="305"/>
                  </a:lnTo>
                  <a:lnTo>
                    <a:pt x="10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11" y="305"/>
                  </a:move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4" y="305"/>
                  </a:moveTo>
                  <a:lnTo>
                    <a:pt x="5" y="305"/>
                  </a:lnTo>
                  <a:lnTo>
                    <a:pt x="5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close/>
                  <a:moveTo>
                    <a:pt x="3" y="305"/>
                  </a:move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3" y="305"/>
                  </a:lnTo>
                  <a:close/>
                  <a:moveTo>
                    <a:pt x="8" y="303"/>
                  </a:moveTo>
                  <a:lnTo>
                    <a:pt x="8" y="304"/>
                  </a:lnTo>
                  <a:lnTo>
                    <a:pt x="9" y="304"/>
                  </a:lnTo>
                  <a:lnTo>
                    <a:pt x="9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close/>
                  <a:moveTo>
                    <a:pt x="7" y="303"/>
                  </a:move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4"/>
                  </a:lnTo>
                  <a:lnTo>
                    <a:pt x="6" y="303"/>
                  </a:lnTo>
                  <a:lnTo>
                    <a:pt x="7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2" y="303"/>
                  </a:moveTo>
                  <a:lnTo>
                    <a:pt x="12" y="303"/>
                  </a:lnTo>
                  <a:lnTo>
                    <a:pt x="12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4"/>
                  </a:lnTo>
                  <a:lnTo>
                    <a:pt x="4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close/>
                  <a:moveTo>
                    <a:pt x="4" y="303"/>
                  </a:moveTo>
                  <a:lnTo>
                    <a:pt x="5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1" y="303"/>
                  </a:moveTo>
                  <a:lnTo>
                    <a:pt x="12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close/>
                  <a:moveTo>
                    <a:pt x="3" y="302"/>
                  </a:moveTo>
                  <a:lnTo>
                    <a:pt x="3" y="303"/>
                  </a:lnTo>
                  <a:lnTo>
                    <a:pt x="3" y="302"/>
                  </a:lnTo>
                  <a:close/>
                  <a:moveTo>
                    <a:pt x="5" y="302"/>
                  </a:moveTo>
                  <a:lnTo>
                    <a:pt x="5" y="303"/>
                  </a:lnTo>
                  <a:lnTo>
                    <a:pt x="5" y="302"/>
                  </a:lnTo>
                  <a:close/>
                  <a:moveTo>
                    <a:pt x="6" y="302"/>
                  </a:moveTo>
                  <a:lnTo>
                    <a:pt x="6" y="303"/>
                  </a:lnTo>
                  <a:lnTo>
                    <a:pt x="5" y="303"/>
                  </a:lnTo>
                  <a:lnTo>
                    <a:pt x="6" y="303"/>
                  </a:lnTo>
                  <a:lnTo>
                    <a:pt x="6" y="302"/>
                  </a:lnTo>
                  <a:close/>
                  <a:moveTo>
                    <a:pt x="6" y="302"/>
                  </a:moveTo>
                  <a:lnTo>
                    <a:pt x="6" y="302"/>
                  </a:lnTo>
                  <a:lnTo>
                    <a:pt x="6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1"/>
                  </a:moveTo>
                  <a:lnTo>
                    <a:pt x="5" y="302"/>
                  </a:lnTo>
                  <a:lnTo>
                    <a:pt x="5" y="301"/>
                  </a:lnTo>
                  <a:close/>
                  <a:moveTo>
                    <a:pt x="4" y="301"/>
                  </a:moveTo>
                  <a:lnTo>
                    <a:pt x="4" y="300"/>
                  </a:lnTo>
                  <a:lnTo>
                    <a:pt x="4" y="301"/>
                  </a:lnTo>
                  <a:close/>
                  <a:moveTo>
                    <a:pt x="3" y="300"/>
                  </a:moveTo>
                  <a:lnTo>
                    <a:pt x="2" y="300"/>
                  </a:lnTo>
                  <a:lnTo>
                    <a:pt x="3" y="300"/>
                  </a:lnTo>
                  <a:close/>
                  <a:moveTo>
                    <a:pt x="5" y="300"/>
                  </a:move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299"/>
                  </a:moveTo>
                  <a:lnTo>
                    <a:pt x="2" y="299"/>
                  </a:lnTo>
                  <a:lnTo>
                    <a:pt x="3" y="299"/>
                  </a:lnTo>
                  <a:close/>
                  <a:moveTo>
                    <a:pt x="3" y="298"/>
                  </a:moveTo>
                  <a:lnTo>
                    <a:pt x="4" y="298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9"/>
                  </a:lnTo>
                  <a:lnTo>
                    <a:pt x="3" y="299"/>
                  </a:lnTo>
                  <a:lnTo>
                    <a:pt x="3" y="299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5" y="298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close/>
                  <a:moveTo>
                    <a:pt x="3" y="297"/>
                  </a:moveTo>
                  <a:lnTo>
                    <a:pt x="3" y="297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close/>
                  <a:moveTo>
                    <a:pt x="4" y="296"/>
                  </a:moveTo>
                  <a:lnTo>
                    <a:pt x="4" y="297"/>
                  </a:lnTo>
                  <a:lnTo>
                    <a:pt x="4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7"/>
                  </a:lnTo>
                  <a:lnTo>
                    <a:pt x="3" y="296"/>
                  </a:lnTo>
                  <a:lnTo>
                    <a:pt x="4" y="296"/>
                  </a:lnTo>
                  <a:lnTo>
                    <a:pt x="4" y="297"/>
                  </a:lnTo>
                  <a:lnTo>
                    <a:pt x="4" y="297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7"/>
                  </a:lnTo>
                  <a:lnTo>
                    <a:pt x="3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2" y="296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8" y="296"/>
                  </a:moveTo>
                  <a:lnTo>
                    <a:pt x="8" y="296"/>
                  </a:lnTo>
                  <a:lnTo>
                    <a:pt x="8" y="296"/>
                  </a:lnTo>
                  <a:close/>
                  <a:moveTo>
                    <a:pt x="1" y="295"/>
                  </a:moveTo>
                  <a:lnTo>
                    <a:pt x="1" y="296"/>
                  </a:lnTo>
                  <a:lnTo>
                    <a:pt x="1" y="295"/>
                  </a:lnTo>
                  <a:close/>
                  <a:moveTo>
                    <a:pt x="4" y="295"/>
                  </a:moveTo>
                  <a:lnTo>
                    <a:pt x="4" y="296"/>
                  </a:lnTo>
                  <a:lnTo>
                    <a:pt x="4" y="296"/>
                  </a:lnTo>
                  <a:lnTo>
                    <a:pt x="4" y="296"/>
                  </a:lnTo>
                  <a:lnTo>
                    <a:pt x="4" y="295"/>
                  </a:lnTo>
                  <a:close/>
                  <a:moveTo>
                    <a:pt x="5" y="295"/>
                  </a:moveTo>
                  <a:lnTo>
                    <a:pt x="5" y="295"/>
                  </a:lnTo>
                  <a:lnTo>
                    <a:pt x="5" y="295"/>
                  </a:lnTo>
                  <a:close/>
                  <a:moveTo>
                    <a:pt x="1" y="295"/>
                  </a:moveTo>
                  <a:lnTo>
                    <a:pt x="1" y="294"/>
                  </a:lnTo>
                  <a:lnTo>
                    <a:pt x="1" y="295"/>
                  </a:lnTo>
                  <a:close/>
                  <a:moveTo>
                    <a:pt x="2" y="295"/>
                  </a:moveTo>
                  <a:lnTo>
                    <a:pt x="1" y="295"/>
                  </a:lnTo>
                  <a:lnTo>
                    <a:pt x="1" y="294"/>
                  </a:lnTo>
                  <a:lnTo>
                    <a:pt x="2" y="295"/>
                  </a:lnTo>
                  <a:close/>
                  <a:moveTo>
                    <a:pt x="5" y="294"/>
                  </a:moveTo>
                  <a:lnTo>
                    <a:pt x="5" y="295"/>
                  </a:lnTo>
                  <a:lnTo>
                    <a:pt x="5" y="294"/>
                  </a:lnTo>
                  <a:close/>
                  <a:moveTo>
                    <a:pt x="1" y="294"/>
                  </a:moveTo>
                  <a:lnTo>
                    <a:pt x="0" y="294"/>
                  </a:lnTo>
                  <a:lnTo>
                    <a:pt x="1" y="294"/>
                  </a:lnTo>
                  <a:close/>
                  <a:moveTo>
                    <a:pt x="3" y="294"/>
                  </a:moveTo>
                  <a:lnTo>
                    <a:pt x="3" y="295"/>
                  </a:lnTo>
                  <a:lnTo>
                    <a:pt x="3" y="294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3" y="295"/>
                  </a:lnTo>
                  <a:lnTo>
                    <a:pt x="3" y="294"/>
                  </a:lnTo>
                  <a:close/>
                  <a:moveTo>
                    <a:pt x="2" y="294"/>
                  </a:move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close/>
                  <a:moveTo>
                    <a:pt x="3" y="294"/>
                  </a:move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3" y="294"/>
                  </a:lnTo>
                  <a:close/>
                  <a:moveTo>
                    <a:pt x="4" y="293"/>
                  </a:moveTo>
                  <a:lnTo>
                    <a:pt x="4" y="294"/>
                  </a:lnTo>
                  <a:lnTo>
                    <a:pt x="4" y="293"/>
                  </a:lnTo>
                  <a:close/>
                  <a:moveTo>
                    <a:pt x="1" y="294"/>
                  </a:moveTo>
                  <a:lnTo>
                    <a:pt x="1" y="293"/>
                  </a:lnTo>
                  <a:lnTo>
                    <a:pt x="1" y="294"/>
                  </a:lnTo>
                  <a:close/>
                  <a:moveTo>
                    <a:pt x="2" y="293"/>
                  </a:moveTo>
                  <a:lnTo>
                    <a:pt x="2" y="294"/>
                  </a:lnTo>
                  <a:lnTo>
                    <a:pt x="2" y="293"/>
                  </a:lnTo>
                  <a:lnTo>
                    <a:pt x="2" y="294"/>
                  </a:lnTo>
                  <a:lnTo>
                    <a:pt x="2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lnTo>
                    <a:pt x="1" y="293"/>
                  </a:lnTo>
                  <a:lnTo>
                    <a:pt x="1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3"/>
                  </a:lnTo>
                  <a:lnTo>
                    <a:pt x="3" y="293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2" y="292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1" y="292"/>
                  </a:moveTo>
                  <a:lnTo>
                    <a:pt x="2" y="292"/>
                  </a:lnTo>
                  <a:lnTo>
                    <a:pt x="1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2" y="292"/>
                  </a:move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1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close/>
                  <a:moveTo>
                    <a:pt x="0" y="291"/>
                  </a:moveTo>
                  <a:lnTo>
                    <a:pt x="0" y="291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0" y="291"/>
                  </a:lnTo>
                  <a:close/>
                  <a:moveTo>
                    <a:pt x="2" y="291"/>
                  </a:moveTo>
                  <a:lnTo>
                    <a:pt x="3" y="291"/>
                  </a:lnTo>
                  <a:lnTo>
                    <a:pt x="3" y="291"/>
                  </a:lnTo>
                  <a:lnTo>
                    <a:pt x="2" y="291"/>
                  </a:lnTo>
                  <a:lnTo>
                    <a:pt x="2" y="291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0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0"/>
                  </a:lnTo>
                  <a:close/>
                  <a:moveTo>
                    <a:pt x="1" y="289"/>
                  </a:moveTo>
                  <a:lnTo>
                    <a:pt x="1" y="290"/>
                  </a:lnTo>
                  <a:lnTo>
                    <a:pt x="1" y="289"/>
                  </a:lnTo>
                  <a:close/>
                  <a:moveTo>
                    <a:pt x="4" y="290"/>
                  </a:moveTo>
                  <a:lnTo>
                    <a:pt x="3" y="290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4" y="290"/>
                  </a:lnTo>
                  <a:close/>
                  <a:moveTo>
                    <a:pt x="3" y="289"/>
                  </a:moveTo>
                  <a:lnTo>
                    <a:pt x="4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9"/>
                  </a:lnTo>
                  <a:close/>
                  <a:moveTo>
                    <a:pt x="2" y="289"/>
                  </a:moveTo>
                  <a:lnTo>
                    <a:pt x="1" y="289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0" y="288"/>
                  </a:moveTo>
                  <a:lnTo>
                    <a:pt x="1" y="288"/>
                  </a:lnTo>
                  <a:lnTo>
                    <a:pt x="0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1" y="287"/>
                  </a:lnTo>
                  <a:lnTo>
                    <a:pt x="2" y="287"/>
                  </a:lnTo>
                  <a:close/>
                  <a:moveTo>
                    <a:pt x="6" y="287"/>
                  </a:moveTo>
                  <a:lnTo>
                    <a:pt x="5" y="287"/>
                  </a:lnTo>
                  <a:lnTo>
                    <a:pt x="5" y="287"/>
                  </a:ln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2" y="287"/>
                  </a:ln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4" y="285"/>
                  </a:move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4"/>
                  </a:lnTo>
                  <a:lnTo>
                    <a:pt x="3" y="285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1" y="284"/>
                  </a:moveTo>
                  <a:lnTo>
                    <a:pt x="1" y="284"/>
                  </a:lnTo>
                  <a:lnTo>
                    <a:pt x="1" y="284"/>
                  </a:lnTo>
                  <a:close/>
                  <a:moveTo>
                    <a:pt x="5" y="284"/>
                  </a:moveTo>
                  <a:lnTo>
                    <a:pt x="5" y="284"/>
                  </a:lnTo>
                  <a:lnTo>
                    <a:pt x="5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1" y="284"/>
                  </a:lnTo>
                  <a:lnTo>
                    <a:pt x="2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4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3"/>
                  </a:lnTo>
                  <a:lnTo>
                    <a:pt x="2" y="284"/>
                  </a:lnTo>
                  <a:close/>
                  <a:moveTo>
                    <a:pt x="3" y="284"/>
                  </a:moveTo>
                  <a:lnTo>
                    <a:pt x="3" y="283"/>
                  </a:lnTo>
                  <a:lnTo>
                    <a:pt x="3" y="284"/>
                  </a:lnTo>
                  <a:close/>
                  <a:moveTo>
                    <a:pt x="1" y="283"/>
                  </a:moveTo>
                  <a:lnTo>
                    <a:pt x="1" y="284"/>
                  </a:lnTo>
                  <a:lnTo>
                    <a:pt x="1" y="283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1" y="283"/>
                  </a:lnTo>
                  <a:close/>
                  <a:moveTo>
                    <a:pt x="3" y="283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4" y="283"/>
                  </a:moveTo>
                  <a:lnTo>
                    <a:pt x="4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3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3" y="283"/>
                  </a:move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2" y="282"/>
                  </a:move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2" y="282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1" y="281"/>
                  </a:lnTo>
                  <a:lnTo>
                    <a:pt x="2" y="281"/>
                  </a:lnTo>
                  <a:close/>
                  <a:moveTo>
                    <a:pt x="5" y="281"/>
                  </a:moveTo>
                  <a:lnTo>
                    <a:pt x="5" y="280"/>
                  </a:lnTo>
                  <a:lnTo>
                    <a:pt x="5" y="281"/>
                  </a:lnTo>
                  <a:close/>
                  <a:moveTo>
                    <a:pt x="4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1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0"/>
                  </a:lnTo>
                  <a:lnTo>
                    <a:pt x="1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close/>
                  <a:moveTo>
                    <a:pt x="5" y="278"/>
                  </a:moveTo>
                  <a:lnTo>
                    <a:pt x="4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3" y="278"/>
                  </a:move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4" y="280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8"/>
                  </a:ln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6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6" y="276"/>
                  </a:lnTo>
                  <a:close/>
                  <a:moveTo>
                    <a:pt x="7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close/>
                  <a:moveTo>
                    <a:pt x="10" y="276"/>
                  </a:moveTo>
                  <a:lnTo>
                    <a:pt x="9" y="276"/>
                  </a:lnTo>
                  <a:lnTo>
                    <a:pt x="10" y="276"/>
                  </a:lnTo>
                  <a:close/>
                  <a:moveTo>
                    <a:pt x="6" y="275"/>
                  </a:moveTo>
                  <a:lnTo>
                    <a:pt x="6" y="276"/>
                  </a:lnTo>
                  <a:lnTo>
                    <a:pt x="6" y="275"/>
                  </a:lnTo>
                  <a:close/>
                  <a:moveTo>
                    <a:pt x="11" y="275"/>
                  </a:moveTo>
                  <a:lnTo>
                    <a:pt x="11" y="276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6"/>
                  </a:lnTo>
                  <a:lnTo>
                    <a:pt x="11" y="275"/>
                  </a:lnTo>
                  <a:close/>
                  <a:moveTo>
                    <a:pt x="11" y="275"/>
                  </a:moveTo>
                  <a:lnTo>
                    <a:pt x="10" y="276"/>
                  </a:lnTo>
                  <a:lnTo>
                    <a:pt x="10" y="275"/>
                  </a:lnTo>
                  <a:lnTo>
                    <a:pt x="11" y="275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9" y="275"/>
                  </a:lnTo>
                  <a:lnTo>
                    <a:pt x="9" y="276"/>
                  </a:lnTo>
                  <a:lnTo>
                    <a:pt x="9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7" y="274"/>
                  </a:move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8" y="274"/>
                  </a:lnTo>
                  <a:lnTo>
                    <a:pt x="9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7" y="274"/>
                  </a:ln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9" y="273"/>
                  </a:moveTo>
                  <a:lnTo>
                    <a:pt x="9" y="274"/>
                  </a:lnTo>
                  <a:lnTo>
                    <a:pt x="9" y="273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8" y="273"/>
                  </a:move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11" y="273"/>
                  </a:moveTo>
                  <a:lnTo>
                    <a:pt x="11" y="273"/>
                  </a:lnTo>
                  <a:lnTo>
                    <a:pt x="11" y="273"/>
                  </a:lnTo>
                  <a:lnTo>
                    <a:pt x="11" y="274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10" y="273"/>
                  </a:lnTo>
                  <a:lnTo>
                    <a:pt x="11" y="273"/>
                  </a:lnTo>
                  <a:close/>
                  <a:moveTo>
                    <a:pt x="14" y="273"/>
                  </a:moveTo>
                  <a:lnTo>
                    <a:pt x="14" y="273"/>
                  </a:lnTo>
                  <a:lnTo>
                    <a:pt x="14" y="273"/>
                  </a:lnTo>
                  <a:close/>
                  <a:moveTo>
                    <a:pt x="11" y="272"/>
                  </a:moveTo>
                  <a:lnTo>
                    <a:pt x="11" y="272"/>
                  </a:lnTo>
                  <a:lnTo>
                    <a:pt x="11" y="272"/>
                  </a:lnTo>
                  <a:close/>
                  <a:moveTo>
                    <a:pt x="14" y="272"/>
                  </a:moveTo>
                  <a:lnTo>
                    <a:pt x="14" y="272"/>
                  </a:lnTo>
                  <a:lnTo>
                    <a:pt x="14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2" y="272"/>
                  </a:lnTo>
                  <a:close/>
                  <a:moveTo>
                    <a:pt x="15" y="272"/>
                  </a:moveTo>
                  <a:lnTo>
                    <a:pt x="14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3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3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5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close/>
                  <a:moveTo>
                    <a:pt x="13" y="272"/>
                  </a:moveTo>
                  <a:lnTo>
                    <a:pt x="12" y="272"/>
                  </a:lnTo>
                  <a:lnTo>
                    <a:pt x="13" y="272"/>
                  </a:lnTo>
                  <a:close/>
                  <a:moveTo>
                    <a:pt x="12" y="272"/>
                  </a:moveTo>
                  <a:lnTo>
                    <a:pt x="13" y="271"/>
                  </a:lnTo>
                  <a:lnTo>
                    <a:pt x="13" y="272"/>
                  </a:lnTo>
                  <a:lnTo>
                    <a:pt x="12" y="272"/>
                  </a:lnTo>
                  <a:close/>
                  <a:moveTo>
                    <a:pt x="14" y="271"/>
                  </a:moveTo>
                  <a:lnTo>
                    <a:pt x="13" y="271"/>
                  </a:lnTo>
                  <a:lnTo>
                    <a:pt x="14" y="271"/>
                  </a:lnTo>
                  <a:close/>
                  <a:moveTo>
                    <a:pt x="12" y="270"/>
                  </a:moveTo>
                  <a:lnTo>
                    <a:pt x="12" y="270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1" y="272"/>
                  </a:lnTo>
                  <a:lnTo>
                    <a:pt x="11" y="271"/>
                  </a:lnTo>
                  <a:lnTo>
                    <a:pt x="12" y="271"/>
                  </a:lnTo>
                  <a:lnTo>
                    <a:pt x="12" y="270"/>
                  </a:lnTo>
                  <a:close/>
                  <a:moveTo>
                    <a:pt x="16" y="270"/>
                  </a:moveTo>
                  <a:lnTo>
                    <a:pt x="16" y="270"/>
                  </a:lnTo>
                  <a:lnTo>
                    <a:pt x="16" y="270"/>
                  </a:lnTo>
                  <a:close/>
                  <a:moveTo>
                    <a:pt x="12" y="270"/>
                  </a:move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70"/>
                  </a:lnTo>
                  <a:close/>
                  <a:moveTo>
                    <a:pt x="23" y="269"/>
                  </a:moveTo>
                  <a:lnTo>
                    <a:pt x="23" y="270"/>
                  </a:lnTo>
                  <a:lnTo>
                    <a:pt x="23" y="269"/>
                  </a:lnTo>
                  <a:lnTo>
                    <a:pt x="23" y="270"/>
                  </a:lnTo>
                  <a:lnTo>
                    <a:pt x="22" y="270"/>
                  </a:lnTo>
                  <a:lnTo>
                    <a:pt x="23" y="270"/>
                  </a:lnTo>
                  <a:lnTo>
                    <a:pt x="23" y="269"/>
                  </a:lnTo>
                  <a:close/>
                  <a:moveTo>
                    <a:pt x="21" y="269"/>
                  </a:moveTo>
                  <a:lnTo>
                    <a:pt x="22" y="269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1" y="270"/>
                  </a:lnTo>
                  <a:lnTo>
                    <a:pt x="21" y="269"/>
                  </a:lnTo>
                  <a:close/>
                  <a:moveTo>
                    <a:pt x="19" y="269"/>
                  </a:moveTo>
                  <a:lnTo>
                    <a:pt x="18" y="270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2" y="269"/>
                  </a:moveTo>
                  <a:lnTo>
                    <a:pt x="13" y="269"/>
                  </a:lnTo>
                  <a:lnTo>
                    <a:pt x="13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69"/>
                  </a:lnTo>
                  <a:close/>
                  <a:moveTo>
                    <a:pt x="13" y="269"/>
                  </a:moveTo>
                  <a:lnTo>
                    <a:pt x="12" y="269"/>
                  </a:lnTo>
                  <a:lnTo>
                    <a:pt x="13" y="269"/>
                  </a:lnTo>
                  <a:close/>
                  <a:moveTo>
                    <a:pt x="13" y="269"/>
                  </a:moveTo>
                  <a:lnTo>
                    <a:pt x="14" y="269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69"/>
                  </a:lnTo>
                  <a:close/>
                  <a:moveTo>
                    <a:pt x="16" y="269"/>
                  </a:moveTo>
                  <a:lnTo>
                    <a:pt x="16" y="270"/>
                  </a:lnTo>
                  <a:lnTo>
                    <a:pt x="16" y="270"/>
                  </a:lnTo>
                  <a:lnTo>
                    <a:pt x="15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close/>
                  <a:moveTo>
                    <a:pt x="20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close/>
                  <a:moveTo>
                    <a:pt x="16" y="269"/>
                  </a:move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21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1" y="269"/>
                  </a:lnTo>
                  <a:close/>
                  <a:moveTo>
                    <a:pt x="22" y="269"/>
                  </a:moveTo>
                  <a:lnTo>
                    <a:pt x="22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0" y="269"/>
                  </a:lnTo>
                  <a:lnTo>
                    <a:pt x="21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2" y="269"/>
                  </a:lnTo>
                  <a:close/>
                  <a:moveTo>
                    <a:pt x="19" y="269"/>
                  </a:moveTo>
                  <a:lnTo>
                    <a:pt x="19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7" y="269"/>
                  </a:lnTo>
                  <a:lnTo>
                    <a:pt x="17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close/>
                  <a:moveTo>
                    <a:pt x="19" y="269"/>
                  </a:moveTo>
                  <a:lnTo>
                    <a:pt x="18" y="269"/>
                  </a:lnTo>
                  <a:lnTo>
                    <a:pt x="19" y="269"/>
                  </a:lnTo>
                  <a:lnTo>
                    <a:pt x="19" y="268"/>
                  </a:lnTo>
                  <a:lnTo>
                    <a:pt x="19" y="269"/>
                  </a:lnTo>
                  <a:close/>
                  <a:moveTo>
                    <a:pt x="15" y="268"/>
                  </a:moveTo>
                  <a:lnTo>
                    <a:pt x="15" y="269"/>
                  </a:lnTo>
                  <a:lnTo>
                    <a:pt x="15" y="269"/>
                  </a:lnTo>
                  <a:lnTo>
                    <a:pt x="15" y="268"/>
                  </a:lnTo>
                  <a:close/>
                  <a:moveTo>
                    <a:pt x="17" y="267"/>
                  </a:moveTo>
                  <a:lnTo>
                    <a:pt x="16" y="267"/>
                  </a:lnTo>
                  <a:lnTo>
                    <a:pt x="17" y="267"/>
                  </a:lnTo>
                  <a:lnTo>
                    <a:pt x="16" y="267"/>
                  </a:lnTo>
                  <a:lnTo>
                    <a:pt x="17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19" y="267"/>
                  </a:moveTo>
                  <a:lnTo>
                    <a:pt x="19" y="267"/>
                  </a:lnTo>
                  <a:lnTo>
                    <a:pt x="18" y="267"/>
                  </a:lnTo>
                  <a:lnTo>
                    <a:pt x="19" y="267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9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7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9" y="267"/>
                  </a:lnTo>
                  <a:close/>
                  <a:moveTo>
                    <a:pt x="15" y="267"/>
                  </a:moveTo>
                  <a:lnTo>
                    <a:pt x="16" y="267"/>
                  </a:lnTo>
                  <a:lnTo>
                    <a:pt x="15" y="267"/>
                  </a:lnTo>
                  <a:close/>
                  <a:moveTo>
                    <a:pt x="26" y="265"/>
                  </a:moveTo>
                  <a:lnTo>
                    <a:pt x="26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6"/>
                  </a:lnTo>
                  <a:lnTo>
                    <a:pt x="26" y="266"/>
                  </a:lnTo>
                  <a:lnTo>
                    <a:pt x="26" y="265"/>
                  </a:lnTo>
                  <a:close/>
                  <a:moveTo>
                    <a:pt x="22" y="265"/>
                  </a:move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close/>
                  <a:moveTo>
                    <a:pt x="24" y="264"/>
                  </a:moveTo>
                  <a:lnTo>
                    <a:pt x="24" y="265"/>
                  </a:lnTo>
                  <a:lnTo>
                    <a:pt x="23" y="265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close/>
                  <a:moveTo>
                    <a:pt x="27" y="264"/>
                  </a:moveTo>
                  <a:lnTo>
                    <a:pt x="27" y="264"/>
                  </a:lnTo>
                  <a:lnTo>
                    <a:pt x="27" y="263"/>
                  </a:lnTo>
                  <a:lnTo>
                    <a:pt x="27" y="264"/>
                  </a:lnTo>
                  <a:lnTo>
                    <a:pt x="27" y="264"/>
                  </a:lnTo>
                  <a:close/>
                  <a:moveTo>
                    <a:pt x="25" y="264"/>
                  </a:moveTo>
                  <a:lnTo>
                    <a:pt x="25" y="263"/>
                  </a:lnTo>
                  <a:lnTo>
                    <a:pt x="25" y="264"/>
                  </a:lnTo>
                  <a:close/>
                  <a:moveTo>
                    <a:pt x="29" y="264"/>
                  </a:moveTo>
                  <a:lnTo>
                    <a:pt x="29" y="263"/>
                  </a:lnTo>
                  <a:lnTo>
                    <a:pt x="30" y="263"/>
                  </a:lnTo>
                  <a:lnTo>
                    <a:pt x="29" y="264"/>
                  </a:lnTo>
                  <a:close/>
                  <a:moveTo>
                    <a:pt x="24" y="263"/>
                  </a:moveTo>
                  <a:lnTo>
                    <a:pt x="24" y="264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2" y="266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6" y="263"/>
                  </a:lnTo>
                  <a:lnTo>
                    <a:pt x="25" y="263"/>
                  </a:lnTo>
                  <a:lnTo>
                    <a:pt x="26" y="263"/>
                  </a:lnTo>
                  <a:close/>
                  <a:moveTo>
                    <a:pt x="31" y="263"/>
                  </a:moveTo>
                  <a:lnTo>
                    <a:pt x="31" y="263"/>
                  </a:lnTo>
                  <a:lnTo>
                    <a:pt x="31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3"/>
                  </a:lnTo>
                  <a:close/>
                  <a:moveTo>
                    <a:pt x="29" y="262"/>
                  </a:moveTo>
                  <a:lnTo>
                    <a:pt x="30" y="262"/>
                  </a:lnTo>
                  <a:lnTo>
                    <a:pt x="30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27" y="263"/>
                  </a:moveTo>
                  <a:lnTo>
                    <a:pt x="27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8" y="262"/>
                  </a:lnTo>
                  <a:lnTo>
                    <a:pt x="29" y="262"/>
                  </a:lnTo>
                  <a:lnTo>
                    <a:pt x="29" y="263"/>
                  </a:lnTo>
                  <a:lnTo>
                    <a:pt x="28" y="263"/>
                  </a:lnTo>
                  <a:lnTo>
                    <a:pt x="28" y="263"/>
                  </a:lnTo>
                  <a:lnTo>
                    <a:pt x="27" y="263"/>
                  </a:lnTo>
                  <a:lnTo>
                    <a:pt x="27" y="263"/>
                  </a:lnTo>
                  <a:close/>
                  <a:moveTo>
                    <a:pt x="29" y="262"/>
                  </a:move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close/>
                  <a:moveTo>
                    <a:pt x="30" y="261"/>
                  </a:moveTo>
                  <a:lnTo>
                    <a:pt x="30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0" y="261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2" y="262"/>
                  </a:lnTo>
                  <a:lnTo>
                    <a:pt x="32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1" y="262"/>
                  </a:lnTo>
                  <a:lnTo>
                    <a:pt x="31" y="261"/>
                  </a:lnTo>
                  <a:lnTo>
                    <a:pt x="31" y="262"/>
                  </a:lnTo>
                  <a:close/>
                  <a:moveTo>
                    <a:pt x="26" y="261"/>
                  </a:moveTo>
                  <a:lnTo>
                    <a:pt x="26" y="262"/>
                  </a:lnTo>
                  <a:lnTo>
                    <a:pt x="26" y="261"/>
                  </a:lnTo>
                  <a:lnTo>
                    <a:pt x="26" y="262"/>
                  </a:lnTo>
                  <a:lnTo>
                    <a:pt x="26" y="261"/>
                  </a:lnTo>
                  <a:close/>
                  <a:moveTo>
                    <a:pt x="27" y="261"/>
                  </a:moveTo>
                  <a:lnTo>
                    <a:pt x="27" y="261"/>
                  </a:lnTo>
                  <a:lnTo>
                    <a:pt x="27" y="261"/>
                  </a:lnTo>
                  <a:close/>
                  <a:moveTo>
                    <a:pt x="28" y="261"/>
                  </a:moveTo>
                  <a:lnTo>
                    <a:pt x="27" y="261"/>
                  </a:lnTo>
                  <a:lnTo>
                    <a:pt x="27" y="262"/>
                  </a:lnTo>
                  <a:lnTo>
                    <a:pt x="27" y="261"/>
                  </a:lnTo>
                  <a:lnTo>
                    <a:pt x="28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8" y="262"/>
                  </a:lnTo>
                  <a:lnTo>
                    <a:pt x="28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5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7" y="261"/>
                  </a:lnTo>
                  <a:lnTo>
                    <a:pt x="26" y="261"/>
                  </a:lnTo>
                  <a:lnTo>
                    <a:pt x="27" y="261"/>
                  </a:lnTo>
                  <a:lnTo>
                    <a:pt x="26" y="261"/>
                  </a:lnTo>
                  <a:close/>
                  <a:moveTo>
                    <a:pt x="31" y="261"/>
                  </a:moveTo>
                  <a:lnTo>
                    <a:pt x="31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1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5" y="261"/>
                  </a:moveTo>
                  <a:lnTo>
                    <a:pt x="26" y="261"/>
                  </a:lnTo>
                  <a:lnTo>
                    <a:pt x="25" y="261"/>
                  </a:lnTo>
                  <a:close/>
                  <a:moveTo>
                    <a:pt x="32" y="260"/>
                  </a:moveTo>
                  <a:lnTo>
                    <a:pt x="33" y="260"/>
                  </a:lnTo>
                  <a:lnTo>
                    <a:pt x="33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0"/>
                  </a:lnTo>
                  <a:lnTo>
                    <a:pt x="32" y="260"/>
                  </a:lnTo>
                  <a:close/>
                  <a:moveTo>
                    <a:pt x="31" y="259"/>
                  </a:moveTo>
                  <a:lnTo>
                    <a:pt x="31" y="260"/>
                  </a:lnTo>
                  <a:lnTo>
                    <a:pt x="31" y="259"/>
                  </a:lnTo>
                  <a:close/>
                  <a:moveTo>
                    <a:pt x="37" y="259"/>
                  </a:move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close/>
                  <a:moveTo>
                    <a:pt x="26" y="259"/>
                  </a:moveTo>
                  <a:lnTo>
                    <a:pt x="26" y="259"/>
                  </a:lnTo>
                  <a:lnTo>
                    <a:pt x="26" y="259"/>
                  </a:lnTo>
                  <a:close/>
                  <a:moveTo>
                    <a:pt x="37" y="259"/>
                  </a:moveTo>
                  <a:lnTo>
                    <a:pt x="36" y="259"/>
                  </a:ln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6" y="259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7" y="259"/>
                  </a:lnTo>
                  <a:lnTo>
                    <a:pt x="36" y="259"/>
                  </a:lnTo>
                  <a:close/>
                  <a:moveTo>
                    <a:pt x="30" y="259"/>
                  </a:moveTo>
                  <a:lnTo>
                    <a:pt x="29" y="259"/>
                  </a:lnTo>
                  <a:lnTo>
                    <a:pt x="30" y="259"/>
                  </a:lnTo>
                  <a:lnTo>
                    <a:pt x="29" y="259"/>
                  </a:lnTo>
                  <a:lnTo>
                    <a:pt x="30" y="259"/>
                  </a:lnTo>
                  <a:close/>
                  <a:moveTo>
                    <a:pt x="27" y="259"/>
                  </a:move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close/>
                  <a:moveTo>
                    <a:pt x="37" y="258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6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29" y="258"/>
                  </a:lnTo>
                  <a:lnTo>
                    <a:pt x="30" y="258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29" y="259"/>
                  </a:lnTo>
                  <a:lnTo>
                    <a:pt x="29" y="258"/>
                  </a:lnTo>
                  <a:lnTo>
                    <a:pt x="29" y="259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9" y="258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9" y="258"/>
                  </a:lnTo>
                  <a:lnTo>
                    <a:pt x="38" y="258"/>
                  </a:lnTo>
                  <a:lnTo>
                    <a:pt x="39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48" y="258"/>
                  </a:moveTo>
                  <a:lnTo>
                    <a:pt x="48" y="257"/>
                  </a:lnTo>
                  <a:lnTo>
                    <a:pt x="48" y="258"/>
                  </a:lnTo>
                  <a:close/>
                  <a:moveTo>
                    <a:pt x="31" y="258"/>
                  </a:moveTo>
                  <a:lnTo>
                    <a:pt x="31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7"/>
                  </a:moveTo>
                  <a:lnTo>
                    <a:pt x="32" y="257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31" y="257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7"/>
                  </a:lnTo>
                  <a:close/>
                  <a:moveTo>
                    <a:pt x="37" y="258"/>
                  </a:moveTo>
                  <a:lnTo>
                    <a:pt x="37" y="257"/>
                  </a:lnTo>
                  <a:lnTo>
                    <a:pt x="37" y="258"/>
                  </a:lnTo>
                  <a:close/>
                  <a:moveTo>
                    <a:pt x="30" y="257"/>
                  </a:move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0" y="257"/>
                  </a:lnTo>
                  <a:close/>
                  <a:moveTo>
                    <a:pt x="31" y="257"/>
                  </a:moveTo>
                  <a:lnTo>
                    <a:pt x="31" y="257"/>
                  </a:lnTo>
                  <a:lnTo>
                    <a:pt x="31" y="257"/>
                  </a:lnTo>
                  <a:close/>
                  <a:moveTo>
                    <a:pt x="31" y="257"/>
                  </a:moveTo>
                  <a:lnTo>
                    <a:pt x="30" y="257"/>
                  </a:lnTo>
                  <a:lnTo>
                    <a:pt x="31" y="257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3" y="256"/>
                  </a:moveTo>
                  <a:lnTo>
                    <a:pt x="33" y="257"/>
                  </a:lnTo>
                  <a:lnTo>
                    <a:pt x="32" y="257"/>
                  </a:lnTo>
                  <a:lnTo>
                    <a:pt x="32" y="256"/>
                  </a:lnTo>
                  <a:lnTo>
                    <a:pt x="33" y="256"/>
                  </a:lnTo>
                  <a:close/>
                  <a:moveTo>
                    <a:pt x="40" y="256"/>
                  </a:moveTo>
                  <a:lnTo>
                    <a:pt x="39" y="256"/>
                  </a:lnTo>
                  <a:lnTo>
                    <a:pt x="40" y="256"/>
                  </a:lnTo>
                  <a:close/>
                  <a:moveTo>
                    <a:pt x="32" y="256"/>
                  </a:moveTo>
                  <a:lnTo>
                    <a:pt x="33" y="256"/>
                  </a:lnTo>
                  <a:lnTo>
                    <a:pt x="32" y="256"/>
                  </a:lnTo>
                  <a:close/>
                  <a:moveTo>
                    <a:pt x="36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5" y="257"/>
                  </a:lnTo>
                  <a:lnTo>
                    <a:pt x="35" y="256"/>
                  </a:lnTo>
                  <a:lnTo>
                    <a:pt x="36" y="256"/>
                  </a:lnTo>
                  <a:close/>
                  <a:moveTo>
                    <a:pt x="31" y="256"/>
                  </a:moveTo>
                  <a:lnTo>
                    <a:pt x="30" y="256"/>
                  </a:lnTo>
                  <a:lnTo>
                    <a:pt x="31" y="256"/>
                  </a:lnTo>
                  <a:close/>
                  <a:moveTo>
                    <a:pt x="30" y="256"/>
                  </a:move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6"/>
                  </a:lnTo>
                  <a:lnTo>
                    <a:pt x="37" y="256"/>
                  </a:lnTo>
                  <a:close/>
                  <a:moveTo>
                    <a:pt x="36" y="256"/>
                  </a:moveTo>
                  <a:lnTo>
                    <a:pt x="35" y="256"/>
                  </a:lnTo>
                  <a:lnTo>
                    <a:pt x="35" y="256"/>
                  </a:lnTo>
                  <a:lnTo>
                    <a:pt x="36" y="256"/>
                  </a:lnTo>
                  <a:lnTo>
                    <a:pt x="36" y="256"/>
                  </a:lnTo>
                  <a:close/>
                  <a:moveTo>
                    <a:pt x="39" y="256"/>
                  </a:moveTo>
                  <a:lnTo>
                    <a:pt x="39" y="256"/>
                  </a:lnTo>
                  <a:lnTo>
                    <a:pt x="38" y="256"/>
                  </a:lnTo>
                  <a:lnTo>
                    <a:pt x="39" y="256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9" y="256"/>
                  </a:lnTo>
                  <a:close/>
                  <a:moveTo>
                    <a:pt x="44" y="255"/>
                  </a:moveTo>
                  <a:lnTo>
                    <a:pt x="43" y="255"/>
                  </a:lnTo>
                  <a:lnTo>
                    <a:pt x="44" y="255"/>
                  </a:lnTo>
                  <a:close/>
                  <a:moveTo>
                    <a:pt x="34" y="255"/>
                  </a:moveTo>
                  <a:lnTo>
                    <a:pt x="35" y="255"/>
                  </a:lnTo>
                  <a:lnTo>
                    <a:pt x="34" y="255"/>
                  </a:lnTo>
                  <a:close/>
                  <a:moveTo>
                    <a:pt x="41" y="255"/>
                  </a:moveTo>
                  <a:lnTo>
                    <a:pt x="41" y="255"/>
                  </a:lnTo>
                  <a:lnTo>
                    <a:pt x="41" y="255"/>
                  </a:lnTo>
                  <a:close/>
                  <a:moveTo>
                    <a:pt x="30" y="255"/>
                  </a:moveTo>
                  <a:lnTo>
                    <a:pt x="30" y="255"/>
                  </a:lnTo>
                  <a:lnTo>
                    <a:pt x="30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3" y="255"/>
                  </a:move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4" y="255"/>
                  </a:move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close/>
                  <a:moveTo>
                    <a:pt x="33" y="255"/>
                  </a:move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0" y="255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34" y="254"/>
                  </a:move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6"/>
                  </a:lnTo>
                  <a:lnTo>
                    <a:pt x="33" y="256"/>
                  </a:lnTo>
                  <a:lnTo>
                    <a:pt x="33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4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4" y="254"/>
                  </a:lnTo>
                  <a:lnTo>
                    <a:pt x="33" y="254"/>
                  </a:lnTo>
                  <a:lnTo>
                    <a:pt x="34" y="254"/>
                  </a:lnTo>
                  <a:close/>
                  <a:moveTo>
                    <a:pt x="53" y="254"/>
                  </a:moveTo>
                  <a:lnTo>
                    <a:pt x="53" y="254"/>
                  </a:lnTo>
                  <a:lnTo>
                    <a:pt x="53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1" y="255"/>
                  </a:lnTo>
                  <a:lnTo>
                    <a:pt x="51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3" y="254"/>
                  </a:lnTo>
                  <a:close/>
                  <a:moveTo>
                    <a:pt x="33" y="254"/>
                  </a:moveTo>
                  <a:lnTo>
                    <a:pt x="33" y="254"/>
                  </a:lnTo>
                  <a:lnTo>
                    <a:pt x="33" y="254"/>
                  </a:lnTo>
                  <a:close/>
                  <a:moveTo>
                    <a:pt x="38" y="254"/>
                  </a:move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close/>
                  <a:moveTo>
                    <a:pt x="39" y="254"/>
                  </a:moveTo>
                  <a:lnTo>
                    <a:pt x="40" y="254"/>
                  </a:lnTo>
                  <a:lnTo>
                    <a:pt x="39" y="254"/>
                  </a:lnTo>
                  <a:close/>
                  <a:moveTo>
                    <a:pt x="31" y="254"/>
                  </a:moveTo>
                  <a:lnTo>
                    <a:pt x="31" y="254"/>
                  </a:lnTo>
                  <a:lnTo>
                    <a:pt x="3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1" y="254"/>
                  </a:moveTo>
                  <a:lnTo>
                    <a:pt x="41" y="254"/>
                  </a:lnTo>
                  <a:lnTo>
                    <a:pt x="4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3" y="254"/>
                  </a:moveTo>
                  <a:lnTo>
                    <a:pt x="42" y="254"/>
                  </a:lnTo>
                  <a:lnTo>
                    <a:pt x="43" y="254"/>
                  </a:lnTo>
                  <a:lnTo>
                    <a:pt x="43" y="253"/>
                  </a:lnTo>
                  <a:lnTo>
                    <a:pt x="43" y="254"/>
                  </a:lnTo>
                  <a:close/>
                  <a:moveTo>
                    <a:pt x="42" y="253"/>
                  </a:moveTo>
                  <a:lnTo>
                    <a:pt x="41" y="254"/>
                  </a:lnTo>
                  <a:lnTo>
                    <a:pt x="41" y="253"/>
                  </a:lnTo>
                  <a:lnTo>
                    <a:pt x="42" y="253"/>
                  </a:lnTo>
                  <a:close/>
                  <a:moveTo>
                    <a:pt x="42" y="253"/>
                  </a:moveTo>
                  <a:lnTo>
                    <a:pt x="42" y="253"/>
                  </a:lnTo>
                  <a:lnTo>
                    <a:pt x="42" y="254"/>
                  </a:lnTo>
                  <a:lnTo>
                    <a:pt x="42" y="253"/>
                  </a:lnTo>
                  <a:lnTo>
                    <a:pt x="42" y="253"/>
                  </a:lnTo>
                  <a:close/>
                  <a:moveTo>
                    <a:pt x="41" y="252"/>
                  </a:moveTo>
                  <a:lnTo>
                    <a:pt x="41" y="253"/>
                  </a:lnTo>
                  <a:lnTo>
                    <a:pt x="41" y="252"/>
                  </a:lnTo>
                  <a:close/>
                  <a:moveTo>
                    <a:pt x="34" y="252"/>
                  </a:moveTo>
                  <a:lnTo>
                    <a:pt x="34" y="253"/>
                  </a:lnTo>
                  <a:lnTo>
                    <a:pt x="34" y="252"/>
                  </a:lnTo>
                  <a:lnTo>
                    <a:pt x="34" y="253"/>
                  </a:lnTo>
                  <a:lnTo>
                    <a:pt x="34" y="252"/>
                  </a:lnTo>
                  <a:close/>
                  <a:moveTo>
                    <a:pt x="42" y="252"/>
                  </a:moveTo>
                  <a:lnTo>
                    <a:pt x="43" y="252"/>
                  </a:lnTo>
                  <a:lnTo>
                    <a:pt x="43" y="253"/>
                  </a:lnTo>
                  <a:lnTo>
                    <a:pt x="42" y="253"/>
                  </a:lnTo>
                  <a:lnTo>
                    <a:pt x="42" y="252"/>
                  </a:lnTo>
                  <a:close/>
                  <a:moveTo>
                    <a:pt x="35" y="252"/>
                  </a:moveTo>
                  <a:lnTo>
                    <a:pt x="35" y="252"/>
                  </a:lnTo>
                  <a:lnTo>
                    <a:pt x="35" y="252"/>
                  </a:lnTo>
                  <a:close/>
                  <a:moveTo>
                    <a:pt x="36" y="252"/>
                  </a:moveTo>
                  <a:lnTo>
                    <a:pt x="36" y="252"/>
                  </a:lnTo>
                  <a:lnTo>
                    <a:pt x="36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42" y="252"/>
                  </a:move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close/>
                  <a:moveTo>
                    <a:pt x="37" y="251"/>
                  </a:move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close/>
                  <a:moveTo>
                    <a:pt x="37" y="251"/>
                  </a:moveTo>
                  <a:lnTo>
                    <a:pt x="36" y="251"/>
                  </a:lnTo>
                  <a:lnTo>
                    <a:pt x="37" y="251"/>
                  </a:lnTo>
                  <a:close/>
                  <a:moveTo>
                    <a:pt x="42" y="251"/>
                  </a:moveTo>
                  <a:lnTo>
                    <a:pt x="43" y="251"/>
                  </a:lnTo>
                  <a:lnTo>
                    <a:pt x="43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1"/>
                  </a:lnTo>
                  <a:lnTo>
                    <a:pt x="42" y="251"/>
                  </a:lnTo>
                  <a:close/>
                  <a:moveTo>
                    <a:pt x="43" y="251"/>
                  </a:moveTo>
                  <a:lnTo>
                    <a:pt x="44" y="251"/>
                  </a:lnTo>
                  <a:lnTo>
                    <a:pt x="44" y="251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5" y="250"/>
                  </a:moveTo>
                  <a:lnTo>
                    <a:pt x="44" y="250"/>
                  </a:lnTo>
                  <a:lnTo>
                    <a:pt x="45" y="250"/>
                  </a:lnTo>
                  <a:close/>
                  <a:moveTo>
                    <a:pt x="44" y="249"/>
                  </a:moveTo>
                  <a:lnTo>
                    <a:pt x="44" y="250"/>
                  </a:lnTo>
                  <a:lnTo>
                    <a:pt x="43" y="250"/>
                  </a:lnTo>
                  <a:lnTo>
                    <a:pt x="44" y="250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6" y="248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5" y="248"/>
                  </a:lnTo>
                  <a:lnTo>
                    <a:pt x="46" y="248"/>
                  </a:lnTo>
                  <a:close/>
                  <a:moveTo>
                    <a:pt x="46" y="247"/>
                  </a:moveTo>
                  <a:lnTo>
                    <a:pt x="45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7" y="247"/>
                  </a:lnTo>
                  <a:lnTo>
                    <a:pt x="46" y="247"/>
                  </a:lnTo>
                  <a:close/>
                  <a:moveTo>
                    <a:pt x="47" y="247"/>
                  </a:moveTo>
                  <a:lnTo>
                    <a:pt x="46" y="247"/>
                  </a:lnTo>
                  <a:lnTo>
                    <a:pt x="47" y="247"/>
                  </a:lnTo>
                  <a:close/>
                  <a:moveTo>
                    <a:pt x="54" y="246"/>
                  </a:moveTo>
                  <a:lnTo>
                    <a:pt x="54" y="247"/>
                  </a:lnTo>
                  <a:lnTo>
                    <a:pt x="54" y="246"/>
                  </a:lnTo>
                  <a:close/>
                  <a:moveTo>
                    <a:pt x="53" y="245"/>
                  </a:moveTo>
                  <a:lnTo>
                    <a:pt x="53" y="246"/>
                  </a:lnTo>
                  <a:lnTo>
                    <a:pt x="53" y="245"/>
                  </a:lnTo>
                  <a:lnTo>
                    <a:pt x="53" y="246"/>
                  </a:lnTo>
                  <a:lnTo>
                    <a:pt x="53" y="246"/>
                  </a:lnTo>
                  <a:lnTo>
                    <a:pt x="53" y="245"/>
                  </a:lnTo>
                  <a:lnTo>
                    <a:pt x="53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50" y="244"/>
                  </a:moveTo>
                  <a:lnTo>
                    <a:pt x="50" y="245"/>
                  </a:lnTo>
                  <a:lnTo>
                    <a:pt x="50" y="245"/>
                  </a:ln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48" y="245"/>
                  </a:moveTo>
                  <a:lnTo>
                    <a:pt x="48" y="244"/>
                  </a:lnTo>
                  <a:lnTo>
                    <a:pt x="49" y="245"/>
                  </a:lnTo>
                  <a:lnTo>
                    <a:pt x="48" y="245"/>
                  </a:lnTo>
                  <a:close/>
                  <a:moveTo>
                    <a:pt x="49" y="244"/>
                  </a:move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close/>
                  <a:moveTo>
                    <a:pt x="50" y="245"/>
                  </a:move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5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3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close/>
                  <a:moveTo>
                    <a:pt x="50" y="244"/>
                  </a:moveTo>
                  <a:lnTo>
                    <a:pt x="50" y="243"/>
                  </a:lnTo>
                  <a:lnTo>
                    <a:pt x="50" y="244"/>
                  </a:lnTo>
                  <a:close/>
                  <a:moveTo>
                    <a:pt x="52" y="243"/>
                  </a:move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4" y="244"/>
                  </a:lnTo>
                  <a:lnTo>
                    <a:pt x="55" y="244"/>
                  </a:lnTo>
                  <a:lnTo>
                    <a:pt x="55" y="244"/>
                  </a:lnTo>
                  <a:lnTo>
                    <a:pt x="55" y="245"/>
                  </a:lnTo>
                  <a:lnTo>
                    <a:pt x="55" y="245"/>
                  </a:lnTo>
                  <a:lnTo>
                    <a:pt x="55" y="246"/>
                  </a:lnTo>
                  <a:lnTo>
                    <a:pt x="55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3" y="245"/>
                  </a:lnTo>
                  <a:lnTo>
                    <a:pt x="53" y="245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close/>
                  <a:moveTo>
                    <a:pt x="54" y="243"/>
                  </a:move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4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close/>
                  <a:moveTo>
                    <a:pt x="53" y="242"/>
                  </a:moveTo>
                  <a:lnTo>
                    <a:pt x="52" y="242"/>
                  </a:lnTo>
                  <a:lnTo>
                    <a:pt x="53" y="242"/>
                  </a:lnTo>
                  <a:close/>
                  <a:moveTo>
                    <a:pt x="53" y="241"/>
                  </a:moveTo>
                  <a:lnTo>
                    <a:pt x="53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3" y="241"/>
                  </a:lnTo>
                  <a:close/>
                  <a:moveTo>
                    <a:pt x="56" y="241"/>
                  </a:moveTo>
                  <a:lnTo>
                    <a:pt x="56" y="241"/>
                  </a:lnTo>
                  <a:lnTo>
                    <a:pt x="56" y="241"/>
                  </a:lnTo>
                  <a:close/>
                  <a:moveTo>
                    <a:pt x="53" y="241"/>
                  </a:move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3" y="241"/>
                  </a:lnTo>
                  <a:close/>
                  <a:moveTo>
                    <a:pt x="50" y="241"/>
                  </a:moveTo>
                  <a:lnTo>
                    <a:pt x="50" y="241"/>
                  </a:lnTo>
                  <a:lnTo>
                    <a:pt x="50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8" y="241"/>
                  </a:lnTo>
                  <a:lnTo>
                    <a:pt x="57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4" y="241"/>
                  </a:lnTo>
                  <a:lnTo>
                    <a:pt x="55" y="241"/>
                  </a:lnTo>
                  <a:close/>
                  <a:moveTo>
                    <a:pt x="53" y="241"/>
                  </a:moveTo>
                  <a:lnTo>
                    <a:pt x="54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6" y="241"/>
                  </a:lnTo>
                  <a:lnTo>
                    <a:pt x="55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49" y="241"/>
                  </a:moveTo>
                  <a:lnTo>
                    <a:pt x="49" y="241"/>
                  </a:lnTo>
                  <a:lnTo>
                    <a:pt x="49" y="241"/>
                  </a:lnTo>
                  <a:close/>
                  <a:moveTo>
                    <a:pt x="51" y="241"/>
                  </a:moveTo>
                  <a:lnTo>
                    <a:pt x="51" y="240"/>
                  </a:lnTo>
                  <a:lnTo>
                    <a:pt x="51" y="241"/>
                  </a:lnTo>
                  <a:close/>
                  <a:moveTo>
                    <a:pt x="49" y="241"/>
                  </a:moveTo>
                  <a:lnTo>
                    <a:pt x="48" y="241"/>
                  </a:lnTo>
                  <a:lnTo>
                    <a:pt x="48" y="240"/>
                  </a:lnTo>
                  <a:lnTo>
                    <a:pt x="49" y="240"/>
                  </a:lnTo>
                  <a:lnTo>
                    <a:pt x="49" y="241"/>
                  </a:lnTo>
                  <a:close/>
                  <a:moveTo>
                    <a:pt x="53" y="241"/>
                  </a:move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1"/>
                  </a:lnTo>
                  <a:close/>
                  <a:moveTo>
                    <a:pt x="52" y="240"/>
                  </a:moveTo>
                  <a:lnTo>
                    <a:pt x="52" y="241"/>
                  </a:lnTo>
                  <a:lnTo>
                    <a:pt x="52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1" y="240"/>
                  </a:moveTo>
                  <a:lnTo>
                    <a:pt x="50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1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52" y="240"/>
                  </a:moveTo>
                  <a:lnTo>
                    <a:pt x="51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2" y="240"/>
                  </a:lnTo>
                  <a:close/>
                  <a:moveTo>
                    <a:pt x="52" y="240"/>
                  </a:moveTo>
                  <a:lnTo>
                    <a:pt x="52" y="240"/>
                  </a:lnTo>
                  <a:lnTo>
                    <a:pt x="52" y="240"/>
                  </a:lnTo>
                  <a:close/>
                  <a:moveTo>
                    <a:pt x="54" y="240"/>
                  </a:moveTo>
                  <a:lnTo>
                    <a:pt x="53" y="240"/>
                  </a:lnTo>
                  <a:lnTo>
                    <a:pt x="54" y="240"/>
                  </a:lnTo>
                  <a:close/>
                  <a:moveTo>
                    <a:pt x="55" y="239"/>
                  </a:moveTo>
                  <a:lnTo>
                    <a:pt x="54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4" y="239"/>
                  </a:moveTo>
                  <a:lnTo>
                    <a:pt x="53" y="239"/>
                  </a:lnTo>
                  <a:lnTo>
                    <a:pt x="54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4" y="239"/>
                  </a:lnTo>
                  <a:close/>
                  <a:moveTo>
                    <a:pt x="50" y="239"/>
                  </a:moveTo>
                  <a:lnTo>
                    <a:pt x="50" y="239"/>
                  </a:lnTo>
                  <a:lnTo>
                    <a:pt x="50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3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1" y="240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39"/>
                  </a:lnTo>
                  <a:lnTo>
                    <a:pt x="50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2" y="239"/>
                  </a:lnTo>
                  <a:close/>
                  <a:moveTo>
                    <a:pt x="50" y="238"/>
                  </a:moveTo>
                  <a:lnTo>
                    <a:pt x="51" y="238"/>
                  </a:lnTo>
                  <a:lnTo>
                    <a:pt x="50" y="238"/>
                  </a:lnTo>
                  <a:lnTo>
                    <a:pt x="50" y="239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close/>
                  <a:moveTo>
                    <a:pt x="57" y="238"/>
                  </a:moveTo>
                  <a:lnTo>
                    <a:pt x="56" y="238"/>
                  </a:lnTo>
                  <a:lnTo>
                    <a:pt x="57" y="238"/>
                  </a:lnTo>
                  <a:close/>
                  <a:moveTo>
                    <a:pt x="57" y="236"/>
                  </a:moveTo>
                  <a:lnTo>
                    <a:pt x="57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6"/>
                  </a:lnTo>
                  <a:close/>
                  <a:moveTo>
                    <a:pt x="57" y="236"/>
                  </a:moveTo>
                  <a:lnTo>
                    <a:pt x="57" y="236"/>
                  </a:lnTo>
                  <a:lnTo>
                    <a:pt x="57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1" y="236"/>
                  </a:lnTo>
                  <a:lnTo>
                    <a:pt x="62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2" y="236"/>
                  </a:lnTo>
                  <a:close/>
                  <a:moveTo>
                    <a:pt x="59" y="236"/>
                  </a:moveTo>
                  <a:lnTo>
                    <a:pt x="59" y="236"/>
                  </a:lnTo>
                  <a:lnTo>
                    <a:pt x="59" y="235"/>
                  </a:lnTo>
                  <a:lnTo>
                    <a:pt x="59" y="236"/>
                  </a:lnTo>
                  <a:close/>
                  <a:moveTo>
                    <a:pt x="51" y="235"/>
                  </a:moveTo>
                  <a:lnTo>
                    <a:pt x="51" y="236"/>
                  </a:lnTo>
                  <a:lnTo>
                    <a:pt x="51" y="235"/>
                  </a:lnTo>
                  <a:lnTo>
                    <a:pt x="51" y="236"/>
                  </a:lnTo>
                  <a:lnTo>
                    <a:pt x="51" y="235"/>
                  </a:lnTo>
                  <a:close/>
                  <a:moveTo>
                    <a:pt x="62" y="236"/>
                  </a:moveTo>
                  <a:lnTo>
                    <a:pt x="62" y="235"/>
                  </a:lnTo>
                  <a:lnTo>
                    <a:pt x="62" y="236"/>
                  </a:lnTo>
                  <a:close/>
                  <a:moveTo>
                    <a:pt x="59" y="235"/>
                  </a:moveTo>
                  <a:lnTo>
                    <a:pt x="60" y="235"/>
                  </a:lnTo>
                  <a:lnTo>
                    <a:pt x="59" y="236"/>
                  </a:lnTo>
                  <a:lnTo>
                    <a:pt x="59" y="235"/>
                  </a:lnTo>
                  <a:close/>
                  <a:moveTo>
                    <a:pt x="62" y="235"/>
                  </a:move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close/>
                  <a:moveTo>
                    <a:pt x="62" y="235"/>
                  </a:moveTo>
                  <a:lnTo>
                    <a:pt x="63" y="235"/>
                  </a:lnTo>
                  <a:lnTo>
                    <a:pt x="62" y="235"/>
                  </a:lnTo>
                  <a:close/>
                  <a:moveTo>
                    <a:pt x="60" y="235"/>
                  </a:moveTo>
                  <a:lnTo>
                    <a:pt x="59" y="235"/>
                  </a:lnTo>
                  <a:lnTo>
                    <a:pt x="60" y="235"/>
                  </a:lnTo>
                  <a:close/>
                  <a:moveTo>
                    <a:pt x="60" y="233"/>
                  </a:moveTo>
                  <a:lnTo>
                    <a:pt x="60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1" y="232"/>
                  </a:moveTo>
                  <a:lnTo>
                    <a:pt x="61" y="232"/>
                  </a:lnTo>
                  <a:lnTo>
                    <a:pt x="61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59" y="232"/>
                  </a:lnTo>
                  <a:lnTo>
                    <a:pt x="60" y="232"/>
                  </a:lnTo>
                  <a:lnTo>
                    <a:pt x="59" y="232"/>
                  </a:lnTo>
                  <a:lnTo>
                    <a:pt x="59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lnTo>
                    <a:pt x="60" y="232"/>
                  </a:lnTo>
                  <a:close/>
                  <a:moveTo>
                    <a:pt x="60" y="231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0" y="230"/>
                  </a:lnTo>
                  <a:lnTo>
                    <a:pt x="60" y="229"/>
                  </a:lnTo>
                  <a:lnTo>
                    <a:pt x="61" y="229"/>
                  </a:lnTo>
                  <a:close/>
                  <a:moveTo>
                    <a:pt x="57" y="229"/>
                  </a:move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close/>
                  <a:moveTo>
                    <a:pt x="58" y="229"/>
                  </a:moveTo>
                  <a:lnTo>
                    <a:pt x="57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59" y="228"/>
                  </a:lnTo>
                  <a:lnTo>
                    <a:pt x="60" y="229"/>
                  </a:lnTo>
                  <a:close/>
                  <a:moveTo>
                    <a:pt x="59" y="228"/>
                  </a:moveTo>
                  <a:lnTo>
                    <a:pt x="59" y="229"/>
                  </a:lnTo>
                  <a:lnTo>
                    <a:pt x="59" y="228"/>
                  </a:lnTo>
                  <a:close/>
                  <a:moveTo>
                    <a:pt x="59" y="228"/>
                  </a:move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close/>
                  <a:moveTo>
                    <a:pt x="63" y="229"/>
                  </a:moveTo>
                  <a:lnTo>
                    <a:pt x="62" y="229"/>
                  </a:lnTo>
                  <a:lnTo>
                    <a:pt x="62" y="229"/>
                  </a:lnTo>
                  <a:lnTo>
                    <a:pt x="61" y="229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3" y="229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3" y="227"/>
                  </a:move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7"/>
                  </a:lnTo>
                  <a:close/>
                  <a:moveTo>
                    <a:pt x="60" y="227"/>
                  </a:moveTo>
                  <a:lnTo>
                    <a:pt x="60" y="227"/>
                  </a:lnTo>
                  <a:lnTo>
                    <a:pt x="60" y="227"/>
                  </a:lnTo>
                  <a:close/>
                  <a:moveTo>
                    <a:pt x="64" y="226"/>
                  </a:move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3" y="228"/>
                  </a:lnTo>
                  <a:lnTo>
                    <a:pt x="64" y="227"/>
                  </a:lnTo>
                  <a:lnTo>
                    <a:pt x="64" y="226"/>
                  </a:lnTo>
                  <a:close/>
                  <a:moveTo>
                    <a:pt x="60" y="227"/>
                  </a:moveTo>
                  <a:lnTo>
                    <a:pt x="60" y="226"/>
                  </a:lnTo>
                  <a:lnTo>
                    <a:pt x="60" y="227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7" y="226"/>
                  </a:lnTo>
                  <a:close/>
                  <a:moveTo>
                    <a:pt x="63" y="226"/>
                  </a:move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7"/>
                  </a:moveTo>
                  <a:lnTo>
                    <a:pt x="62" y="226"/>
                  </a:lnTo>
                  <a:lnTo>
                    <a:pt x="62" y="227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8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5"/>
                  </a:moveTo>
                  <a:lnTo>
                    <a:pt x="61" y="226"/>
                  </a:lnTo>
                  <a:lnTo>
                    <a:pt x="61" y="225"/>
                  </a:lnTo>
                  <a:lnTo>
                    <a:pt x="61" y="226"/>
                  </a:lnTo>
                  <a:lnTo>
                    <a:pt x="61" y="225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1" y="226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4"/>
                  </a:lnTo>
                  <a:lnTo>
                    <a:pt x="61" y="225"/>
                  </a:lnTo>
                  <a:close/>
                  <a:moveTo>
                    <a:pt x="63" y="224"/>
                  </a:move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3" y="224"/>
                  </a:lnTo>
                  <a:close/>
                  <a:moveTo>
                    <a:pt x="61" y="224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1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4" y="224"/>
                  </a:move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4" y="224"/>
                  </a:moveTo>
                  <a:lnTo>
                    <a:pt x="64" y="224"/>
                  </a:ln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0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0" y="224"/>
                  </a:move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2" y="222"/>
                  </a:ln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5" y="223"/>
                  </a:lnTo>
                  <a:lnTo>
                    <a:pt x="64" y="223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1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8" y="221"/>
                  </a:moveTo>
                  <a:lnTo>
                    <a:pt x="69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8" y="221"/>
                  </a:lnTo>
                  <a:lnTo>
                    <a:pt x="68" y="221"/>
                  </a:lnTo>
                  <a:close/>
                  <a:moveTo>
                    <a:pt x="66" y="221"/>
                  </a:moveTo>
                  <a:lnTo>
                    <a:pt x="67" y="221"/>
                  </a:lnTo>
                  <a:lnTo>
                    <a:pt x="67" y="221"/>
                  </a:lnTo>
                  <a:lnTo>
                    <a:pt x="66" y="221"/>
                  </a:lnTo>
                  <a:lnTo>
                    <a:pt x="66" y="222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0"/>
                  </a:lnTo>
                  <a:lnTo>
                    <a:pt x="65" y="221"/>
                  </a:lnTo>
                  <a:lnTo>
                    <a:pt x="66" y="221"/>
                  </a:lnTo>
                  <a:lnTo>
                    <a:pt x="66" y="220"/>
                  </a:lnTo>
                  <a:lnTo>
                    <a:pt x="66" y="221"/>
                  </a:lnTo>
                  <a:close/>
                  <a:moveTo>
                    <a:pt x="65" y="221"/>
                  </a:moveTo>
                  <a:lnTo>
                    <a:pt x="65" y="220"/>
                  </a:lnTo>
                  <a:lnTo>
                    <a:pt x="65" y="221"/>
                  </a:lnTo>
                  <a:close/>
                  <a:moveTo>
                    <a:pt x="64" y="220"/>
                  </a:moveTo>
                  <a:lnTo>
                    <a:pt x="64" y="221"/>
                  </a:lnTo>
                  <a:lnTo>
                    <a:pt x="64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3" y="219"/>
                  </a:moveTo>
                  <a:lnTo>
                    <a:pt x="63" y="220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19"/>
                  </a:lnTo>
                  <a:close/>
                  <a:moveTo>
                    <a:pt x="65" y="219"/>
                  </a:moveTo>
                  <a:lnTo>
                    <a:pt x="65" y="219"/>
                  </a:lnTo>
                  <a:lnTo>
                    <a:pt x="65" y="220"/>
                  </a:lnTo>
                  <a:lnTo>
                    <a:pt x="65" y="219"/>
                  </a:lnTo>
                  <a:close/>
                  <a:moveTo>
                    <a:pt x="64" y="219"/>
                  </a:move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6" y="219"/>
                  </a:moveTo>
                  <a:lnTo>
                    <a:pt x="67" y="219"/>
                  </a:lnTo>
                  <a:lnTo>
                    <a:pt x="66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4" y="219"/>
                  </a:moveTo>
                  <a:lnTo>
                    <a:pt x="63" y="219"/>
                  </a:lnTo>
                  <a:lnTo>
                    <a:pt x="64" y="219"/>
                  </a:lnTo>
                  <a:close/>
                  <a:moveTo>
                    <a:pt x="66" y="219"/>
                  </a:moveTo>
                  <a:lnTo>
                    <a:pt x="65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6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7" y="219"/>
                  </a:moveTo>
                  <a:lnTo>
                    <a:pt x="67" y="219"/>
                  </a:lnTo>
                  <a:lnTo>
                    <a:pt x="68" y="218"/>
                  </a:lnTo>
                  <a:lnTo>
                    <a:pt x="68" y="218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7" y="219"/>
                  </a:lnTo>
                  <a:close/>
                  <a:moveTo>
                    <a:pt x="67" y="218"/>
                  </a:move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6" y="218"/>
                  </a:lnTo>
                  <a:lnTo>
                    <a:pt x="67" y="218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0" y="218"/>
                  </a:moveTo>
                  <a:lnTo>
                    <a:pt x="60" y="218"/>
                  </a:lnTo>
                  <a:lnTo>
                    <a:pt x="60" y="218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60" y="218"/>
                  </a:ln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59" y="218"/>
                  </a:lnTo>
                  <a:lnTo>
                    <a:pt x="59" y="217"/>
                  </a:lnTo>
                  <a:lnTo>
                    <a:pt x="60" y="218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6" y="217"/>
                  </a:moveTo>
                  <a:lnTo>
                    <a:pt x="66" y="217"/>
                  </a:lnTo>
                  <a:lnTo>
                    <a:pt x="67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6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8" y="217"/>
                  </a:moveTo>
                  <a:lnTo>
                    <a:pt x="67" y="217"/>
                  </a:lnTo>
                  <a:lnTo>
                    <a:pt x="68" y="217"/>
                  </a:lnTo>
                  <a:close/>
                  <a:moveTo>
                    <a:pt x="65" y="217"/>
                  </a:moveTo>
                  <a:lnTo>
                    <a:pt x="65" y="216"/>
                  </a:lnTo>
                  <a:lnTo>
                    <a:pt x="65" y="217"/>
                  </a:lnTo>
                  <a:close/>
                  <a:moveTo>
                    <a:pt x="67" y="216"/>
                  </a:moveTo>
                  <a:lnTo>
                    <a:pt x="67" y="217"/>
                  </a:lnTo>
                  <a:lnTo>
                    <a:pt x="67" y="216"/>
                  </a:lnTo>
                  <a:close/>
                  <a:moveTo>
                    <a:pt x="64" y="216"/>
                  </a:move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1" y="216"/>
                  </a:move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8" y="216"/>
                  </a:lnTo>
                  <a:close/>
                  <a:moveTo>
                    <a:pt x="64" y="216"/>
                  </a:moveTo>
                  <a:lnTo>
                    <a:pt x="65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6"/>
                  </a:lnTo>
                  <a:close/>
                  <a:moveTo>
                    <a:pt x="65" y="216"/>
                  </a:moveTo>
                  <a:lnTo>
                    <a:pt x="65" y="216"/>
                  </a:lnTo>
                  <a:lnTo>
                    <a:pt x="65" y="216"/>
                  </a:lnTo>
                  <a:close/>
                  <a:moveTo>
                    <a:pt x="67" y="216"/>
                  </a:moveTo>
                  <a:lnTo>
                    <a:pt x="67" y="215"/>
                  </a:lnTo>
                  <a:lnTo>
                    <a:pt x="67" y="216"/>
                  </a:lnTo>
                  <a:close/>
                  <a:moveTo>
                    <a:pt x="68" y="216"/>
                  </a:moveTo>
                  <a:lnTo>
                    <a:pt x="68" y="217"/>
                  </a:lnTo>
                  <a:lnTo>
                    <a:pt x="68" y="216"/>
                  </a:lnTo>
                  <a:lnTo>
                    <a:pt x="68" y="217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7" y="216"/>
                  </a:lnTo>
                  <a:lnTo>
                    <a:pt x="67" y="215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7" y="215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8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8" y="215"/>
                  </a:move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close/>
                  <a:moveTo>
                    <a:pt x="63" y="214"/>
                  </a:move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64" y="214"/>
                  </a:moveTo>
                  <a:lnTo>
                    <a:pt x="64" y="214"/>
                  </a:lnTo>
                  <a:lnTo>
                    <a:pt x="64" y="214"/>
                  </a:lnTo>
                  <a:close/>
                  <a:moveTo>
                    <a:pt x="70" y="214"/>
                  </a:moveTo>
                  <a:lnTo>
                    <a:pt x="71" y="214"/>
                  </a:lnTo>
                  <a:lnTo>
                    <a:pt x="71" y="214"/>
                  </a:lnTo>
                  <a:lnTo>
                    <a:pt x="71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71" y="214"/>
                  </a:moveTo>
                  <a:lnTo>
                    <a:pt x="71" y="214"/>
                  </a:lnTo>
                  <a:lnTo>
                    <a:pt x="71" y="214"/>
                  </a:lnTo>
                  <a:close/>
                  <a:moveTo>
                    <a:pt x="68" y="213"/>
                  </a:moveTo>
                  <a:lnTo>
                    <a:pt x="68" y="214"/>
                  </a:lnTo>
                  <a:lnTo>
                    <a:pt x="68" y="213"/>
                  </a:lnTo>
                  <a:close/>
                  <a:moveTo>
                    <a:pt x="69" y="213"/>
                  </a:moveTo>
                  <a:lnTo>
                    <a:pt x="69" y="214"/>
                  </a:lnTo>
                  <a:lnTo>
                    <a:pt x="69" y="213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3"/>
                  </a:lnTo>
                  <a:close/>
                  <a:moveTo>
                    <a:pt x="70" y="213"/>
                  </a:moveTo>
                  <a:lnTo>
                    <a:pt x="70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1" y="213"/>
                  </a:moveTo>
                  <a:lnTo>
                    <a:pt x="71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close/>
                  <a:moveTo>
                    <a:pt x="70" y="213"/>
                  </a:move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3" y="213"/>
                  </a:move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3" y="213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3"/>
                  </a:lnTo>
                  <a:close/>
                  <a:moveTo>
                    <a:pt x="71" y="212"/>
                  </a:moveTo>
                  <a:lnTo>
                    <a:pt x="70" y="212"/>
                  </a:lnTo>
                  <a:lnTo>
                    <a:pt x="71" y="212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lnTo>
                    <a:pt x="71" y="212"/>
                  </a:lnTo>
                  <a:lnTo>
                    <a:pt x="71" y="212"/>
                  </a:lnTo>
                  <a:lnTo>
                    <a:pt x="71" y="211"/>
                  </a:lnTo>
                  <a:lnTo>
                    <a:pt x="71" y="211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3" y="210"/>
                  </a:move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close/>
                  <a:moveTo>
                    <a:pt x="75" y="210"/>
                  </a:move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close/>
                  <a:moveTo>
                    <a:pt x="74" y="210"/>
                  </a:move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close/>
                  <a:moveTo>
                    <a:pt x="74" y="209"/>
                  </a:moveTo>
                  <a:lnTo>
                    <a:pt x="75" y="209"/>
                  </a:lnTo>
                  <a:lnTo>
                    <a:pt x="74" y="209"/>
                  </a:lnTo>
                  <a:close/>
                  <a:moveTo>
                    <a:pt x="75" y="208"/>
                  </a:moveTo>
                  <a:lnTo>
                    <a:pt x="75" y="209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5" y="208"/>
                  </a:lnTo>
                  <a:lnTo>
                    <a:pt x="75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7" y="208"/>
                  </a:moveTo>
                  <a:lnTo>
                    <a:pt x="77" y="208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8" y="208"/>
                  </a:moveTo>
                  <a:lnTo>
                    <a:pt x="78" y="208"/>
                  </a:lnTo>
                  <a:lnTo>
                    <a:pt x="78" y="209"/>
                  </a:lnTo>
                  <a:lnTo>
                    <a:pt x="77" y="209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7" y="211"/>
                  </a:lnTo>
                  <a:lnTo>
                    <a:pt x="76" y="211"/>
                  </a:lnTo>
                  <a:lnTo>
                    <a:pt x="77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09"/>
                  </a:lnTo>
                  <a:lnTo>
                    <a:pt x="75" y="209"/>
                  </a:lnTo>
                  <a:lnTo>
                    <a:pt x="75" y="210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8" y="208"/>
                  </a:lnTo>
                  <a:close/>
                  <a:moveTo>
                    <a:pt x="83" y="207"/>
                  </a:moveTo>
                  <a:lnTo>
                    <a:pt x="83" y="207"/>
                  </a:lnTo>
                  <a:lnTo>
                    <a:pt x="83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8" y="207"/>
                  </a:moveTo>
                  <a:lnTo>
                    <a:pt x="78" y="206"/>
                  </a:lnTo>
                  <a:lnTo>
                    <a:pt x="78" y="207"/>
                  </a:lnTo>
                  <a:close/>
                  <a:moveTo>
                    <a:pt x="78" y="206"/>
                  </a:moveTo>
                  <a:lnTo>
                    <a:pt x="78" y="207"/>
                  </a:lnTo>
                  <a:lnTo>
                    <a:pt x="78" y="207"/>
                  </a:lnTo>
                  <a:lnTo>
                    <a:pt x="78" y="206"/>
                  </a:lnTo>
                  <a:close/>
                  <a:moveTo>
                    <a:pt x="80" y="205"/>
                  </a:moveTo>
                  <a:lnTo>
                    <a:pt x="80" y="206"/>
                  </a:lnTo>
                  <a:lnTo>
                    <a:pt x="79" y="206"/>
                  </a:lnTo>
                  <a:lnTo>
                    <a:pt x="80" y="205"/>
                  </a:lnTo>
                  <a:close/>
                  <a:moveTo>
                    <a:pt x="77" y="205"/>
                  </a:moveTo>
                  <a:lnTo>
                    <a:pt x="77" y="206"/>
                  </a:lnTo>
                  <a:lnTo>
                    <a:pt x="77" y="205"/>
                  </a:lnTo>
                  <a:close/>
                  <a:moveTo>
                    <a:pt x="75" y="205"/>
                  </a:moveTo>
                  <a:lnTo>
                    <a:pt x="74" y="205"/>
                  </a:lnTo>
                  <a:lnTo>
                    <a:pt x="75" y="205"/>
                  </a:lnTo>
                  <a:close/>
                  <a:moveTo>
                    <a:pt x="75" y="205"/>
                  </a:moveTo>
                  <a:lnTo>
                    <a:pt x="75" y="205"/>
                  </a:lnTo>
                  <a:lnTo>
                    <a:pt x="75" y="205"/>
                  </a:lnTo>
                  <a:close/>
                  <a:moveTo>
                    <a:pt x="76" y="204"/>
                  </a:moveTo>
                  <a:lnTo>
                    <a:pt x="76" y="205"/>
                  </a:lnTo>
                  <a:lnTo>
                    <a:pt x="76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4" y="205"/>
                  </a:lnTo>
                  <a:lnTo>
                    <a:pt x="75" y="205"/>
                  </a:lnTo>
                  <a:lnTo>
                    <a:pt x="74" y="205"/>
                  </a:lnTo>
                  <a:lnTo>
                    <a:pt x="75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4"/>
                  </a:lnTo>
                  <a:close/>
                  <a:moveTo>
                    <a:pt x="78" y="204"/>
                  </a:moveTo>
                  <a:lnTo>
                    <a:pt x="79" y="204"/>
                  </a:lnTo>
                  <a:lnTo>
                    <a:pt x="78" y="204"/>
                  </a:lnTo>
                  <a:lnTo>
                    <a:pt x="79" y="204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8" y="205"/>
                  </a:lnTo>
                  <a:lnTo>
                    <a:pt x="78" y="206"/>
                  </a:lnTo>
                  <a:lnTo>
                    <a:pt x="77" y="206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8" y="204"/>
                  </a:lnTo>
                  <a:lnTo>
                    <a:pt x="78" y="204"/>
                  </a:lnTo>
                  <a:close/>
                  <a:moveTo>
                    <a:pt x="81" y="204"/>
                  </a:moveTo>
                  <a:lnTo>
                    <a:pt x="81" y="204"/>
                  </a:lnTo>
                  <a:lnTo>
                    <a:pt x="81" y="204"/>
                  </a:lnTo>
                  <a:close/>
                  <a:moveTo>
                    <a:pt x="81" y="203"/>
                  </a:moveTo>
                  <a:lnTo>
                    <a:pt x="82" y="203"/>
                  </a:lnTo>
                  <a:lnTo>
                    <a:pt x="81" y="203"/>
                  </a:lnTo>
                  <a:close/>
                  <a:moveTo>
                    <a:pt x="61" y="203"/>
                  </a:moveTo>
                  <a:lnTo>
                    <a:pt x="60" y="203"/>
                  </a:lnTo>
                  <a:lnTo>
                    <a:pt x="61" y="203"/>
                  </a:lnTo>
                  <a:close/>
                  <a:moveTo>
                    <a:pt x="81" y="203"/>
                  </a:moveTo>
                  <a:lnTo>
                    <a:pt x="81" y="203"/>
                  </a:lnTo>
                  <a:lnTo>
                    <a:pt x="81" y="203"/>
                  </a:lnTo>
                  <a:close/>
                  <a:moveTo>
                    <a:pt x="81" y="202"/>
                  </a:moveTo>
                  <a:lnTo>
                    <a:pt x="82" y="202"/>
                  </a:lnTo>
                  <a:lnTo>
                    <a:pt x="81" y="202"/>
                  </a:lnTo>
                  <a:close/>
                  <a:moveTo>
                    <a:pt x="81" y="202"/>
                  </a:moveTo>
                  <a:lnTo>
                    <a:pt x="81" y="202"/>
                  </a:lnTo>
                  <a:lnTo>
                    <a:pt x="81" y="202"/>
                  </a:lnTo>
                  <a:close/>
                  <a:moveTo>
                    <a:pt x="85" y="202"/>
                  </a:moveTo>
                  <a:lnTo>
                    <a:pt x="85" y="202"/>
                  </a:lnTo>
                  <a:lnTo>
                    <a:pt x="85" y="202"/>
                  </a:lnTo>
                  <a:close/>
                  <a:moveTo>
                    <a:pt x="85" y="201"/>
                  </a:moveTo>
                  <a:lnTo>
                    <a:pt x="85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4" y="201"/>
                  </a:lnTo>
                  <a:lnTo>
                    <a:pt x="85" y="201"/>
                  </a:lnTo>
                  <a:close/>
                  <a:moveTo>
                    <a:pt x="65" y="201"/>
                  </a:moveTo>
                  <a:lnTo>
                    <a:pt x="65" y="202"/>
                  </a:lnTo>
                  <a:lnTo>
                    <a:pt x="65" y="201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5" y="201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0" y="200"/>
                  </a:moveTo>
                  <a:lnTo>
                    <a:pt x="80" y="200"/>
                  </a:lnTo>
                  <a:lnTo>
                    <a:pt x="80" y="200"/>
                  </a:lnTo>
                  <a:close/>
                  <a:moveTo>
                    <a:pt x="65" y="200"/>
                  </a:move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close/>
                  <a:moveTo>
                    <a:pt x="82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lnTo>
                    <a:pt x="81" y="199"/>
                  </a:lnTo>
                  <a:close/>
                  <a:moveTo>
                    <a:pt x="83" y="197"/>
                  </a:moveTo>
                  <a:lnTo>
                    <a:pt x="83" y="198"/>
                  </a:lnTo>
                  <a:lnTo>
                    <a:pt x="82" y="197"/>
                  </a:lnTo>
                  <a:lnTo>
                    <a:pt x="82" y="198"/>
                  </a:lnTo>
                  <a:lnTo>
                    <a:pt x="82" y="197"/>
                  </a:lnTo>
                  <a:lnTo>
                    <a:pt x="83" y="197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68" y="197"/>
                  </a:moveTo>
                  <a:lnTo>
                    <a:pt x="68" y="197"/>
                  </a:lnTo>
                  <a:lnTo>
                    <a:pt x="68" y="197"/>
                  </a:lnTo>
                  <a:close/>
                  <a:moveTo>
                    <a:pt x="86" y="197"/>
                  </a:moveTo>
                  <a:lnTo>
                    <a:pt x="87" y="197"/>
                  </a:lnTo>
                  <a:lnTo>
                    <a:pt x="86" y="197"/>
                  </a:lnTo>
                  <a:close/>
                  <a:moveTo>
                    <a:pt x="87" y="197"/>
                  </a:move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4" y="196"/>
                  </a:moveTo>
                  <a:lnTo>
                    <a:pt x="85" y="196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8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4" y="197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4" y="196"/>
                  </a:lnTo>
                  <a:close/>
                  <a:moveTo>
                    <a:pt x="69" y="196"/>
                  </a:moveTo>
                  <a:lnTo>
                    <a:pt x="69" y="197"/>
                  </a:lnTo>
                  <a:lnTo>
                    <a:pt x="69" y="196"/>
                  </a:lnTo>
                  <a:close/>
                  <a:moveTo>
                    <a:pt x="89" y="196"/>
                  </a:moveTo>
                  <a:lnTo>
                    <a:pt x="89" y="196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8" y="196"/>
                  </a:lnTo>
                  <a:lnTo>
                    <a:pt x="89" y="196"/>
                  </a:lnTo>
                  <a:lnTo>
                    <a:pt x="89" y="196"/>
                  </a:lnTo>
                  <a:close/>
                  <a:moveTo>
                    <a:pt x="87" y="196"/>
                  </a:moveTo>
                  <a:lnTo>
                    <a:pt x="87" y="196"/>
                  </a:lnTo>
                  <a:lnTo>
                    <a:pt x="87" y="196"/>
                  </a:lnTo>
                  <a:close/>
                  <a:moveTo>
                    <a:pt x="85" y="196"/>
                  </a:moveTo>
                  <a:lnTo>
                    <a:pt x="85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close/>
                  <a:moveTo>
                    <a:pt x="72" y="196"/>
                  </a:moveTo>
                  <a:lnTo>
                    <a:pt x="72" y="195"/>
                  </a:lnTo>
                  <a:lnTo>
                    <a:pt x="72" y="196"/>
                  </a:lnTo>
                  <a:close/>
                  <a:moveTo>
                    <a:pt x="94" y="195"/>
                  </a:moveTo>
                  <a:lnTo>
                    <a:pt x="94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5"/>
                  </a:lnTo>
                  <a:lnTo>
                    <a:pt x="94" y="195"/>
                  </a:lnTo>
                  <a:close/>
                  <a:moveTo>
                    <a:pt x="68" y="195"/>
                  </a:moveTo>
                  <a:lnTo>
                    <a:pt x="69" y="195"/>
                  </a:lnTo>
                  <a:lnTo>
                    <a:pt x="68" y="195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7"/>
                  </a:lnTo>
                  <a:lnTo>
                    <a:pt x="69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6" y="198"/>
                  </a:lnTo>
                  <a:lnTo>
                    <a:pt x="66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8" y="196"/>
                  </a:lnTo>
                  <a:lnTo>
                    <a:pt x="68" y="195"/>
                  </a:lnTo>
                  <a:lnTo>
                    <a:pt x="68" y="195"/>
                  </a:lnTo>
                  <a:close/>
                  <a:moveTo>
                    <a:pt x="77" y="194"/>
                  </a:moveTo>
                  <a:lnTo>
                    <a:pt x="77" y="195"/>
                  </a:lnTo>
                  <a:lnTo>
                    <a:pt x="77" y="194"/>
                  </a:lnTo>
                  <a:close/>
                  <a:moveTo>
                    <a:pt x="90" y="194"/>
                  </a:moveTo>
                  <a:lnTo>
                    <a:pt x="90" y="195"/>
                  </a:lnTo>
                  <a:lnTo>
                    <a:pt x="90" y="194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89" y="195"/>
                  </a:lnTo>
                  <a:lnTo>
                    <a:pt x="90" y="195"/>
                  </a:lnTo>
                  <a:lnTo>
                    <a:pt x="90" y="194"/>
                  </a:lnTo>
                  <a:close/>
                  <a:moveTo>
                    <a:pt x="71" y="194"/>
                  </a:move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6"/>
                  </a:lnTo>
                  <a:lnTo>
                    <a:pt x="71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71" y="194"/>
                  </a:lnTo>
                  <a:close/>
                  <a:moveTo>
                    <a:pt x="75" y="194"/>
                  </a:moveTo>
                  <a:lnTo>
                    <a:pt x="74" y="194"/>
                  </a:lnTo>
                  <a:lnTo>
                    <a:pt x="75" y="194"/>
                  </a:lnTo>
                  <a:close/>
                  <a:moveTo>
                    <a:pt x="81" y="194"/>
                  </a:moveTo>
                  <a:lnTo>
                    <a:pt x="82" y="194"/>
                  </a:lnTo>
                  <a:lnTo>
                    <a:pt x="81" y="194"/>
                  </a:lnTo>
                  <a:close/>
                  <a:moveTo>
                    <a:pt x="92" y="194"/>
                  </a:moveTo>
                  <a:lnTo>
                    <a:pt x="91" y="194"/>
                  </a:lnTo>
                  <a:lnTo>
                    <a:pt x="92" y="194"/>
                  </a:lnTo>
                  <a:lnTo>
                    <a:pt x="92" y="193"/>
                  </a:lnTo>
                  <a:lnTo>
                    <a:pt x="92" y="194"/>
                  </a:lnTo>
                  <a:close/>
                  <a:moveTo>
                    <a:pt x="94" y="194"/>
                  </a:moveTo>
                  <a:lnTo>
                    <a:pt x="94" y="194"/>
                  </a:lnTo>
                  <a:lnTo>
                    <a:pt x="94" y="194"/>
                  </a:lnTo>
                  <a:lnTo>
                    <a:pt x="94" y="193"/>
                  </a:lnTo>
                  <a:lnTo>
                    <a:pt x="94" y="194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lnTo>
                    <a:pt x="82" y="194"/>
                  </a:lnTo>
                  <a:lnTo>
                    <a:pt x="81" y="194"/>
                  </a:ln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78" y="193"/>
                  </a:moveTo>
                  <a:lnTo>
                    <a:pt x="77" y="193"/>
                  </a:lnTo>
                  <a:lnTo>
                    <a:pt x="78" y="193"/>
                  </a:lnTo>
                  <a:close/>
                  <a:moveTo>
                    <a:pt x="85" y="193"/>
                  </a:moveTo>
                  <a:lnTo>
                    <a:pt x="84" y="193"/>
                  </a:lnTo>
                  <a:lnTo>
                    <a:pt x="85" y="193"/>
                  </a:lnTo>
                  <a:close/>
                  <a:moveTo>
                    <a:pt x="87" y="192"/>
                  </a:moveTo>
                  <a:lnTo>
                    <a:pt x="87" y="192"/>
                  </a:lnTo>
                  <a:lnTo>
                    <a:pt x="87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96" y="192"/>
                  </a:moveTo>
                  <a:lnTo>
                    <a:pt x="95" y="192"/>
                  </a:lnTo>
                  <a:lnTo>
                    <a:pt x="96" y="192"/>
                  </a:lnTo>
                  <a:close/>
                  <a:moveTo>
                    <a:pt x="83" y="192"/>
                  </a:moveTo>
                  <a:lnTo>
                    <a:pt x="83" y="193"/>
                  </a:lnTo>
                  <a:lnTo>
                    <a:pt x="82" y="193"/>
                  </a:lnTo>
                  <a:lnTo>
                    <a:pt x="83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9" y="192"/>
                  </a:moveTo>
                  <a:lnTo>
                    <a:pt x="89" y="192"/>
                  </a:lnTo>
                  <a:lnTo>
                    <a:pt x="89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88" y="192"/>
                  </a:move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77" y="192"/>
                  </a:moveTo>
                  <a:lnTo>
                    <a:pt x="78" y="192"/>
                  </a:lnTo>
                  <a:lnTo>
                    <a:pt x="77" y="192"/>
                  </a:lnTo>
                  <a:close/>
                  <a:moveTo>
                    <a:pt x="94" y="192"/>
                  </a:moveTo>
                  <a:lnTo>
                    <a:pt x="93" y="192"/>
                  </a:lnTo>
                  <a:lnTo>
                    <a:pt x="94" y="192"/>
                  </a:lnTo>
                  <a:close/>
                  <a:moveTo>
                    <a:pt x="93" y="192"/>
                  </a:moveTo>
                  <a:lnTo>
                    <a:pt x="93" y="192"/>
                  </a:lnTo>
                  <a:lnTo>
                    <a:pt x="93" y="192"/>
                  </a:lnTo>
                  <a:close/>
                  <a:moveTo>
                    <a:pt x="93" y="192"/>
                  </a:moveTo>
                  <a:lnTo>
                    <a:pt x="92" y="192"/>
                  </a:lnTo>
                  <a:lnTo>
                    <a:pt x="91" y="192"/>
                  </a:lnTo>
                  <a:lnTo>
                    <a:pt x="92" y="192"/>
                  </a:lnTo>
                  <a:lnTo>
                    <a:pt x="93" y="192"/>
                  </a:lnTo>
                  <a:close/>
                  <a:moveTo>
                    <a:pt x="79" y="192"/>
                  </a:moveTo>
                  <a:lnTo>
                    <a:pt x="78" y="192"/>
                  </a:lnTo>
                  <a:lnTo>
                    <a:pt x="79" y="192"/>
                  </a:lnTo>
                  <a:lnTo>
                    <a:pt x="78" y="192"/>
                  </a:lnTo>
                  <a:lnTo>
                    <a:pt x="78" y="191"/>
                  </a:lnTo>
                  <a:lnTo>
                    <a:pt x="78" y="192"/>
                  </a:lnTo>
                  <a:lnTo>
                    <a:pt x="79" y="191"/>
                  </a:lnTo>
                  <a:lnTo>
                    <a:pt x="79" y="192"/>
                  </a:lnTo>
                  <a:close/>
                  <a:moveTo>
                    <a:pt x="83" y="192"/>
                  </a:moveTo>
                  <a:lnTo>
                    <a:pt x="83" y="191"/>
                  </a:lnTo>
                  <a:lnTo>
                    <a:pt x="84" y="191"/>
                  </a:lnTo>
                  <a:lnTo>
                    <a:pt x="84" y="192"/>
                  </a:lnTo>
                  <a:lnTo>
                    <a:pt x="83" y="192"/>
                  </a:lnTo>
                  <a:close/>
                  <a:moveTo>
                    <a:pt x="79" y="191"/>
                  </a:moveTo>
                  <a:lnTo>
                    <a:pt x="79" y="192"/>
                  </a:lnTo>
                  <a:lnTo>
                    <a:pt x="79" y="191"/>
                  </a:lnTo>
                  <a:close/>
                  <a:moveTo>
                    <a:pt x="79" y="191"/>
                  </a:moveTo>
                  <a:lnTo>
                    <a:pt x="78" y="191"/>
                  </a:lnTo>
                  <a:lnTo>
                    <a:pt x="79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5" y="189"/>
                  </a:move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89"/>
                  </a:lnTo>
                  <a:close/>
                  <a:moveTo>
                    <a:pt x="99" y="190"/>
                  </a:moveTo>
                  <a:lnTo>
                    <a:pt x="98" y="190"/>
                  </a:lnTo>
                  <a:lnTo>
                    <a:pt x="99" y="189"/>
                  </a:lnTo>
                  <a:lnTo>
                    <a:pt x="99" y="190"/>
                  </a:lnTo>
                  <a:close/>
                  <a:moveTo>
                    <a:pt x="94" y="189"/>
                  </a:moveTo>
                  <a:lnTo>
                    <a:pt x="95" y="189"/>
                  </a:lnTo>
                  <a:lnTo>
                    <a:pt x="95" y="189"/>
                  </a:lnTo>
                  <a:lnTo>
                    <a:pt x="96" y="189"/>
                  </a:lnTo>
                  <a:lnTo>
                    <a:pt x="96" y="190"/>
                  </a:lnTo>
                  <a:lnTo>
                    <a:pt x="95" y="190"/>
                  </a:lnTo>
                  <a:lnTo>
                    <a:pt x="95" y="191"/>
                  </a:lnTo>
                  <a:lnTo>
                    <a:pt x="94" y="191"/>
                  </a:lnTo>
                  <a:lnTo>
                    <a:pt x="94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2" y="190"/>
                  </a:lnTo>
                  <a:lnTo>
                    <a:pt x="93" y="190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4" y="189"/>
                  </a:lnTo>
                  <a:lnTo>
                    <a:pt x="94" y="189"/>
                  </a:lnTo>
                  <a:close/>
                  <a:moveTo>
                    <a:pt x="83" y="188"/>
                  </a:moveTo>
                  <a:lnTo>
                    <a:pt x="83" y="189"/>
                  </a:lnTo>
                  <a:lnTo>
                    <a:pt x="83" y="188"/>
                  </a:lnTo>
                  <a:close/>
                  <a:moveTo>
                    <a:pt x="81" y="188"/>
                  </a:move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8"/>
                  </a:lnTo>
                  <a:lnTo>
                    <a:pt x="81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90" y="188"/>
                  </a:moveTo>
                  <a:lnTo>
                    <a:pt x="90" y="188"/>
                  </a:lnTo>
                  <a:lnTo>
                    <a:pt x="90" y="188"/>
                  </a:lnTo>
                  <a:close/>
                  <a:moveTo>
                    <a:pt x="87" y="188"/>
                  </a:moveTo>
                  <a:lnTo>
                    <a:pt x="87" y="188"/>
                  </a:lnTo>
                  <a:lnTo>
                    <a:pt x="87" y="187"/>
                  </a:lnTo>
                  <a:lnTo>
                    <a:pt x="87" y="188"/>
                  </a:lnTo>
                  <a:close/>
                  <a:moveTo>
                    <a:pt x="81" y="187"/>
                  </a:moveTo>
                  <a:lnTo>
                    <a:pt x="81" y="187"/>
                  </a:lnTo>
                  <a:lnTo>
                    <a:pt x="81" y="187"/>
                  </a:lnTo>
                  <a:close/>
                  <a:moveTo>
                    <a:pt x="96" y="187"/>
                  </a:moveTo>
                  <a:lnTo>
                    <a:pt x="97" y="187"/>
                  </a:lnTo>
                  <a:lnTo>
                    <a:pt x="96" y="187"/>
                  </a:lnTo>
                  <a:close/>
                  <a:moveTo>
                    <a:pt x="97" y="186"/>
                  </a:moveTo>
                  <a:lnTo>
                    <a:pt x="97" y="186"/>
                  </a:lnTo>
                  <a:lnTo>
                    <a:pt x="97" y="186"/>
                  </a:lnTo>
                  <a:close/>
                  <a:moveTo>
                    <a:pt x="93" y="186"/>
                  </a:moveTo>
                  <a:lnTo>
                    <a:pt x="92" y="186"/>
                  </a:lnTo>
                  <a:lnTo>
                    <a:pt x="92" y="185"/>
                  </a:lnTo>
                  <a:lnTo>
                    <a:pt x="93" y="186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3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3" y="185"/>
                  </a:lnTo>
                  <a:lnTo>
                    <a:pt x="82" y="185"/>
                  </a:lnTo>
                  <a:lnTo>
                    <a:pt x="83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4"/>
                  </a:lnTo>
                  <a:lnTo>
                    <a:pt x="82" y="185"/>
                  </a:lnTo>
                  <a:close/>
                  <a:moveTo>
                    <a:pt x="100" y="184"/>
                  </a:moveTo>
                  <a:lnTo>
                    <a:pt x="100" y="185"/>
                  </a:lnTo>
                  <a:lnTo>
                    <a:pt x="100" y="185"/>
                  </a:lnTo>
                  <a:lnTo>
                    <a:pt x="100" y="185"/>
                  </a:lnTo>
                  <a:lnTo>
                    <a:pt x="101" y="185"/>
                  </a:lnTo>
                  <a:lnTo>
                    <a:pt x="101" y="186"/>
                  </a:lnTo>
                  <a:lnTo>
                    <a:pt x="100" y="186"/>
                  </a:lnTo>
                  <a:lnTo>
                    <a:pt x="100" y="186"/>
                  </a:lnTo>
                  <a:lnTo>
                    <a:pt x="99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5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100" y="185"/>
                  </a:lnTo>
                  <a:lnTo>
                    <a:pt x="100" y="184"/>
                  </a:lnTo>
                  <a:close/>
                  <a:moveTo>
                    <a:pt x="91" y="185"/>
                  </a:moveTo>
                  <a:lnTo>
                    <a:pt x="91" y="184"/>
                  </a:lnTo>
                  <a:lnTo>
                    <a:pt x="91" y="185"/>
                  </a:lnTo>
                  <a:lnTo>
                    <a:pt x="91" y="185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105" y="184"/>
                  </a:moveTo>
                  <a:lnTo>
                    <a:pt x="105" y="184"/>
                  </a:lnTo>
                  <a:lnTo>
                    <a:pt x="105" y="184"/>
                  </a:lnTo>
                  <a:close/>
                  <a:moveTo>
                    <a:pt x="86" y="184"/>
                  </a:move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close/>
                  <a:moveTo>
                    <a:pt x="101" y="184"/>
                  </a:moveTo>
                  <a:lnTo>
                    <a:pt x="102" y="184"/>
                  </a:lnTo>
                  <a:lnTo>
                    <a:pt x="102" y="184"/>
                  </a:lnTo>
                  <a:lnTo>
                    <a:pt x="103" y="184"/>
                  </a:lnTo>
                  <a:lnTo>
                    <a:pt x="104" y="184"/>
                  </a:lnTo>
                  <a:lnTo>
                    <a:pt x="103" y="184"/>
                  </a:lnTo>
                  <a:lnTo>
                    <a:pt x="103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2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lnTo>
                    <a:pt x="83" y="184"/>
                  </a:lnTo>
                  <a:lnTo>
                    <a:pt x="82" y="184"/>
                  </a:lnTo>
                  <a:lnTo>
                    <a:pt x="82" y="184"/>
                  </a:lnTo>
                  <a:lnTo>
                    <a:pt x="82" y="183"/>
                  </a:lnTo>
                  <a:lnTo>
                    <a:pt x="83" y="184"/>
                  </a:lnTo>
                  <a:close/>
                  <a:moveTo>
                    <a:pt x="97" y="183"/>
                  </a:moveTo>
                  <a:lnTo>
                    <a:pt x="97" y="184"/>
                  </a:lnTo>
                  <a:lnTo>
                    <a:pt x="97" y="183"/>
                  </a:lnTo>
                  <a:lnTo>
                    <a:pt x="97" y="182"/>
                  </a:lnTo>
                  <a:lnTo>
                    <a:pt x="97" y="183"/>
                  </a:lnTo>
                  <a:close/>
                  <a:moveTo>
                    <a:pt x="85" y="183"/>
                  </a:moveTo>
                  <a:lnTo>
                    <a:pt x="85" y="182"/>
                  </a:lnTo>
                  <a:lnTo>
                    <a:pt x="85" y="183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5" y="182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6" y="184"/>
                  </a:lnTo>
                  <a:lnTo>
                    <a:pt x="97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3" y="182"/>
                  </a:lnTo>
                  <a:lnTo>
                    <a:pt x="94" y="182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4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85" y="182"/>
                  </a:moveTo>
                  <a:lnTo>
                    <a:pt x="84" y="182"/>
                  </a:lnTo>
                  <a:lnTo>
                    <a:pt x="85" y="182"/>
                  </a:lnTo>
                  <a:close/>
                  <a:moveTo>
                    <a:pt x="99" y="182"/>
                  </a:moveTo>
                  <a:lnTo>
                    <a:pt x="98" y="182"/>
                  </a:lnTo>
                  <a:lnTo>
                    <a:pt x="99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6" y="182"/>
                  </a:lnTo>
                  <a:close/>
                  <a:moveTo>
                    <a:pt x="96" y="181"/>
                  </a:moveTo>
                  <a:lnTo>
                    <a:pt x="96" y="182"/>
                  </a:lnTo>
                  <a:lnTo>
                    <a:pt x="96" y="181"/>
                  </a:lnTo>
                  <a:close/>
                  <a:moveTo>
                    <a:pt x="104" y="181"/>
                  </a:moveTo>
                  <a:lnTo>
                    <a:pt x="104" y="181"/>
                  </a:lnTo>
                  <a:lnTo>
                    <a:pt x="104" y="181"/>
                  </a:lnTo>
                  <a:lnTo>
                    <a:pt x="104" y="182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3" y="181"/>
                  </a:lnTo>
                  <a:lnTo>
                    <a:pt x="104" y="181"/>
                  </a:lnTo>
                  <a:lnTo>
                    <a:pt x="104" y="181"/>
                  </a:lnTo>
                  <a:lnTo>
                    <a:pt x="104" y="181"/>
                  </a:lnTo>
                  <a:close/>
                  <a:moveTo>
                    <a:pt x="103" y="180"/>
                  </a:moveTo>
                  <a:lnTo>
                    <a:pt x="102" y="180"/>
                  </a:lnTo>
                  <a:lnTo>
                    <a:pt x="103" y="180"/>
                  </a:lnTo>
                  <a:close/>
                  <a:moveTo>
                    <a:pt x="104" y="180"/>
                  </a:moveTo>
                  <a:lnTo>
                    <a:pt x="103" y="180"/>
                  </a:lnTo>
                  <a:lnTo>
                    <a:pt x="104" y="180"/>
                  </a:lnTo>
                  <a:close/>
                  <a:moveTo>
                    <a:pt x="111" y="179"/>
                  </a:moveTo>
                  <a:lnTo>
                    <a:pt x="112" y="179"/>
                  </a:lnTo>
                  <a:lnTo>
                    <a:pt x="111" y="179"/>
                  </a:lnTo>
                  <a:close/>
                  <a:moveTo>
                    <a:pt x="115" y="178"/>
                  </a:moveTo>
                  <a:lnTo>
                    <a:pt x="115" y="178"/>
                  </a:lnTo>
                  <a:lnTo>
                    <a:pt x="115" y="178"/>
                  </a:lnTo>
                  <a:close/>
                  <a:moveTo>
                    <a:pt x="100" y="176"/>
                  </a:moveTo>
                  <a:lnTo>
                    <a:pt x="101" y="176"/>
                  </a:lnTo>
                  <a:lnTo>
                    <a:pt x="100" y="176"/>
                  </a:lnTo>
                  <a:close/>
                  <a:moveTo>
                    <a:pt x="113" y="174"/>
                  </a:moveTo>
                  <a:lnTo>
                    <a:pt x="113" y="174"/>
                  </a:lnTo>
                  <a:lnTo>
                    <a:pt x="113" y="174"/>
                  </a:lnTo>
                  <a:close/>
                  <a:moveTo>
                    <a:pt x="106" y="174"/>
                  </a:moveTo>
                  <a:lnTo>
                    <a:pt x="107" y="174"/>
                  </a:lnTo>
                  <a:lnTo>
                    <a:pt x="106" y="174"/>
                  </a:lnTo>
                  <a:close/>
                  <a:moveTo>
                    <a:pt x="108" y="173"/>
                  </a:moveTo>
                  <a:lnTo>
                    <a:pt x="108" y="174"/>
                  </a:lnTo>
                  <a:lnTo>
                    <a:pt x="108" y="173"/>
                  </a:lnTo>
                  <a:close/>
                  <a:moveTo>
                    <a:pt x="107" y="173"/>
                  </a:moveTo>
                  <a:lnTo>
                    <a:pt x="107" y="173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3"/>
                  </a:lnTo>
                  <a:close/>
                  <a:moveTo>
                    <a:pt x="115" y="173"/>
                  </a:moveTo>
                  <a:lnTo>
                    <a:pt x="114" y="173"/>
                  </a:lnTo>
                  <a:lnTo>
                    <a:pt x="115" y="173"/>
                  </a:lnTo>
                  <a:lnTo>
                    <a:pt x="114" y="173"/>
                  </a:lnTo>
                  <a:lnTo>
                    <a:pt x="115" y="173"/>
                  </a:lnTo>
                  <a:close/>
                  <a:moveTo>
                    <a:pt x="107" y="173"/>
                  </a:moveTo>
                  <a:lnTo>
                    <a:pt x="108" y="173"/>
                  </a:lnTo>
                  <a:lnTo>
                    <a:pt x="107" y="173"/>
                  </a:lnTo>
                  <a:lnTo>
                    <a:pt x="108" y="173"/>
                  </a:lnTo>
                  <a:lnTo>
                    <a:pt x="107" y="173"/>
                  </a:lnTo>
                  <a:close/>
                  <a:moveTo>
                    <a:pt x="114" y="173"/>
                  </a:moveTo>
                  <a:lnTo>
                    <a:pt x="114" y="173"/>
                  </a:lnTo>
                  <a:lnTo>
                    <a:pt x="113" y="173"/>
                  </a:lnTo>
                  <a:lnTo>
                    <a:pt x="113" y="173"/>
                  </a:lnTo>
                  <a:lnTo>
                    <a:pt x="114" y="173"/>
                  </a:lnTo>
                  <a:close/>
                  <a:moveTo>
                    <a:pt x="126" y="173"/>
                  </a:moveTo>
                  <a:lnTo>
                    <a:pt x="127" y="173"/>
                  </a:lnTo>
                  <a:lnTo>
                    <a:pt x="126" y="173"/>
                  </a:lnTo>
                  <a:lnTo>
                    <a:pt x="126" y="173"/>
                  </a:lnTo>
                  <a:close/>
                  <a:moveTo>
                    <a:pt x="108" y="173"/>
                  </a:moveTo>
                  <a:lnTo>
                    <a:pt x="109" y="173"/>
                  </a:lnTo>
                  <a:lnTo>
                    <a:pt x="109" y="173"/>
                  </a:lnTo>
                  <a:lnTo>
                    <a:pt x="108" y="173"/>
                  </a:lnTo>
                  <a:lnTo>
                    <a:pt x="108" y="173"/>
                  </a:lnTo>
                  <a:lnTo>
                    <a:pt x="109" y="173"/>
                  </a:lnTo>
                  <a:lnTo>
                    <a:pt x="108" y="173"/>
                  </a:lnTo>
                  <a:close/>
                  <a:moveTo>
                    <a:pt x="109" y="173"/>
                  </a:moveTo>
                  <a:lnTo>
                    <a:pt x="109" y="172"/>
                  </a:lnTo>
                  <a:lnTo>
                    <a:pt x="109" y="173"/>
                  </a:lnTo>
                  <a:close/>
                  <a:moveTo>
                    <a:pt x="116" y="172"/>
                  </a:moveTo>
                  <a:lnTo>
                    <a:pt x="116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2"/>
                  </a:lnTo>
                  <a:lnTo>
                    <a:pt x="116" y="172"/>
                  </a:lnTo>
                  <a:close/>
                  <a:moveTo>
                    <a:pt x="108" y="171"/>
                  </a:moveTo>
                  <a:lnTo>
                    <a:pt x="108" y="172"/>
                  </a:lnTo>
                  <a:lnTo>
                    <a:pt x="108" y="172"/>
                  </a:lnTo>
                  <a:lnTo>
                    <a:pt x="108" y="171"/>
                  </a:lnTo>
                  <a:lnTo>
                    <a:pt x="108" y="171"/>
                  </a:lnTo>
                  <a:close/>
                  <a:moveTo>
                    <a:pt x="208" y="171"/>
                  </a:moveTo>
                  <a:lnTo>
                    <a:pt x="207" y="171"/>
                  </a:lnTo>
                  <a:lnTo>
                    <a:pt x="208" y="171"/>
                  </a:lnTo>
                  <a:lnTo>
                    <a:pt x="207" y="171"/>
                  </a:lnTo>
                  <a:lnTo>
                    <a:pt x="208" y="171"/>
                  </a:lnTo>
                  <a:close/>
                  <a:moveTo>
                    <a:pt x="109" y="172"/>
                  </a:moveTo>
                  <a:lnTo>
                    <a:pt x="109" y="172"/>
                  </a:lnTo>
                  <a:lnTo>
                    <a:pt x="109" y="171"/>
                  </a:lnTo>
                  <a:lnTo>
                    <a:pt x="109" y="171"/>
                  </a:lnTo>
                  <a:lnTo>
                    <a:pt x="109" y="172"/>
                  </a:lnTo>
                  <a:close/>
                  <a:moveTo>
                    <a:pt x="109" y="171"/>
                  </a:moveTo>
                  <a:lnTo>
                    <a:pt x="108" y="171"/>
                  </a:lnTo>
                  <a:lnTo>
                    <a:pt x="109" y="171"/>
                  </a:lnTo>
                  <a:close/>
                  <a:moveTo>
                    <a:pt x="205" y="171"/>
                  </a:moveTo>
                  <a:lnTo>
                    <a:pt x="205" y="171"/>
                  </a:lnTo>
                  <a:lnTo>
                    <a:pt x="205" y="171"/>
                  </a:lnTo>
                  <a:close/>
                  <a:moveTo>
                    <a:pt x="119" y="171"/>
                  </a:moveTo>
                  <a:lnTo>
                    <a:pt x="119" y="170"/>
                  </a:lnTo>
                  <a:lnTo>
                    <a:pt x="119" y="171"/>
                  </a:lnTo>
                  <a:close/>
                  <a:moveTo>
                    <a:pt x="111" y="170"/>
                  </a:moveTo>
                  <a:lnTo>
                    <a:pt x="111" y="170"/>
                  </a:lnTo>
                  <a:lnTo>
                    <a:pt x="111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lnTo>
                    <a:pt x="111" y="170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204" y="170"/>
                  </a:move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30" y="169"/>
                  </a:moveTo>
                  <a:lnTo>
                    <a:pt x="129" y="170"/>
                  </a:lnTo>
                  <a:lnTo>
                    <a:pt x="129" y="170"/>
                  </a:lnTo>
                  <a:lnTo>
                    <a:pt x="130" y="170"/>
                  </a:lnTo>
                  <a:lnTo>
                    <a:pt x="129" y="170"/>
                  </a:lnTo>
                  <a:lnTo>
                    <a:pt x="129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0"/>
                  </a:lnTo>
                  <a:lnTo>
                    <a:pt x="128" y="170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9" y="169"/>
                  </a:lnTo>
                  <a:lnTo>
                    <a:pt x="130" y="169"/>
                  </a:lnTo>
                  <a:close/>
                  <a:moveTo>
                    <a:pt x="138" y="169"/>
                  </a:moveTo>
                  <a:lnTo>
                    <a:pt x="138" y="169"/>
                  </a:lnTo>
                  <a:lnTo>
                    <a:pt x="138" y="170"/>
                  </a:lnTo>
                  <a:lnTo>
                    <a:pt x="138" y="169"/>
                  </a:lnTo>
                  <a:close/>
                  <a:moveTo>
                    <a:pt x="112" y="169"/>
                  </a:moveTo>
                  <a:lnTo>
                    <a:pt x="111" y="169"/>
                  </a:lnTo>
                  <a:lnTo>
                    <a:pt x="112" y="169"/>
                  </a:lnTo>
                  <a:close/>
                  <a:moveTo>
                    <a:pt x="137" y="169"/>
                  </a:moveTo>
                  <a:lnTo>
                    <a:pt x="137" y="169"/>
                  </a:lnTo>
                  <a:lnTo>
                    <a:pt x="138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close/>
                  <a:moveTo>
                    <a:pt x="113" y="168"/>
                  </a:moveTo>
                  <a:lnTo>
                    <a:pt x="113" y="169"/>
                  </a:lnTo>
                  <a:lnTo>
                    <a:pt x="113" y="168"/>
                  </a:lnTo>
                  <a:close/>
                  <a:moveTo>
                    <a:pt x="112" y="168"/>
                  </a:moveTo>
                  <a:lnTo>
                    <a:pt x="111" y="168"/>
                  </a:lnTo>
                  <a:lnTo>
                    <a:pt x="112" y="168"/>
                  </a:lnTo>
                  <a:close/>
                  <a:moveTo>
                    <a:pt x="112" y="168"/>
                  </a:moveTo>
                  <a:lnTo>
                    <a:pt x="112" y="169"/>
                  </a:lnTo>
                  <a:lnTo>
                    <a:pt x="112" y="168"/>
                  </a:lnTo>
                  <a:close/>
                  <a:moveTo>
                    <a:pt x="129" y="169"/>
                  </a:moveTo>
                  <a:lnTo>
                    <a:pt x="128" y="169"/>
                  </a:lnTo>
                  <a:lnTo>
                    <a:pt x="128" y="169"/>
                  </a:lnTo>
                  <a:lnTo>
                    <a:pt x="128" y="168"/>
                  </a:lnTo>
                  <a:lnTo>
                    <a:pt x="129" y="168"/>
                  </a:lnTo>
                  <a:lnTo>
                    <a:pt x="129" y="169"/>
                  </a:lnTo>
                  <a:lnTo>
                    <a:pt x="129" y="169"/>
                  </a:lnTo>
                  <a:close/>
                  <a:moveTo>
                    <a:pt x="123" y="169"/>
                  </a:move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1" y="169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3" y="169"/>
                  </a:lnTo>
                  <a:close/>
                  <a:moveTo>
                    <a:pt x="132" y="168"/>
                  </a:moveTo>
                  <a:lnTo>
                    <a:pt x="132" y="167"/>
                  </a:lnTo>
                  <a:lnTo>
                    <a:pt x="133" y="167"/>
                  </a:lnTo>
                  <a:lnTo>
                    <a:pt x="133" y="168"/>
                  </a:lnTo>
                  <a:lnTo>
                    <a:pt x="132" y="168"/>
                  </a:lnTo>
                  <a:close/>
                  <a:moveTo>
                    <a:pt x="123" y="167"/>
                  </a:move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3" y="167"/>
                  </a:lnTo>
                  <a:close/>
                  <a:moveTo>
                    <a:pt x="131" y="168"/>
                  </a:moveTo>
                  <a:lnTo>
                    <a:pt x="131" y="168"/>
                  </a:lnTo>
                  <a:lnTo>
                    <a:pt x="132" y="168"/>
                  </a:lnTo>
                  <a:lnTo>
                    <a:pt x="131" y="168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8"/>
                  </a:lnTo>
                  <a:lnTo>
                    <a:pt x="129" y="168"/>
                  </a:lnTo>
                  <a:lnTo>
                    <a:pt x="129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1" y="168"/>
                  </a:lnTo>
                  <a:close/>
                  <a:moveTo>
                    <a:pt x="113" y="167"/>
                  </a:moveTo>
                  <a:lnTo>
                    <a:pt x="112" y="167"/>
                  </a:lnTo>
                  <a:lnTo>
                    <a:pt x="113" y="167"/>
                  </a:lnTo>
                  <a:close/>
                  <a:moveTo>
                    <a:pt x="137" y="167"/>
                  </a:moveTo>
                  <a:lnTo>
                    <a:pt x="137" y="167"/>
                  </a:lnTo>
                  <a:lnTo>
                    <a:pt x="138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7" y="167"/>
                  </a:lnTo>
                  <a:lnTo>
                    <a:pt x="136" y="167"/>
                  </a:lnTo>
                  <a:lnTo>
                    <a:pt x="137" y="167"/>
                  </a:lnTo>
                  <a:close/>
                  <a:moveTo>
                    <a:pt x="112" y="167"/>
                  </a:moveTo>
                  <a:lnTo>
                    <a:pt x="112" y="167"/>
                  </a:lnTo>
                  <a:lnTo>
                    <a:pt x="112" y="167"/>
                  </a:lnTo>
                  <a:close/>
                  <a:moveTo>
                    <a:pt x="134" y="167"/>
                  </a:moveTo>
                  <a:lnTo>
                    <a:pt x="133" y="167"/>
                  </a:lnTo>
                  <a:lnTo>
                    <a:pt x="134" y="167"/>
                  </a:lnTo>
                  <a:close/>
                  <a:moveTo>
                    <a:pt x="131" y="167"/>
                  </a:moveTo>
                  <a:lnTo>
                    <a:pt x="131" y="167"/>
                  </a:lnTo>
                  <a:lnTo>
                    <a:pt x="132" y="167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7"/>
                  </a:lnTo>
                  <a:lnTo>
                    <a:pt x="131" y="167"/>
                  </a:lnTo>
                  <a:lnTo>
                    <a:pt x="131" y="167"/>
                  </a:lnTo>
                  <a:close/>
                  <a:moveTo>
                    <a:pt x="202" y="167"/>
                  </a:moveTo>
                  <a:lnTo>
                    <a:pt x="201" y="167"/>
                  </a:lnTo>
                  <a:lnTo>
                    <a:pt x="202" y="167"/>
                  </a:lnTo>
                  <a:close/>
                  <a:moveTo>
                    <a:pt x="119" y="167"/>
                  </a:moveTo>
                  <a:lnTo>
                    <a:pt x="119" y="167"/>
                  </a:lnTo>
                  <a:lnTo>
                    <a:pt x="118" y="167"/>
                  </a:lnTo>
                  <a:lnTo>
                    <a:pt x="119" y="167"/>
                  </a:lnTo>
                  <a:close/>
                  <a:moveTo>
                    <a:pt x="112" y="166"/>
                  </a:moveTo>
                  <a:lnTo>
                    <a:pt x="112" y="167"/>
                  </a:lnTo>
                  <a:lnTo>
                    <a:pt x="111" y="166"/>
                  </a:lnTo>
                  <a:lnTo>
                    <a:pt x="111" y="167"/>
                  </a:lnTo>
                  <a:lnTo>
                    <a:pt x="111" y="166"/>
                  </a:lnTo>
                  <a:lnTo>
                    <a:pt x="112" y="166"/>
                  </a:lnTo>
                  <a:close/>
                  <a:moveTo>
                    <a:pt x="134" y="167"/>
                  </a:move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7"/>
                  </a:lnTo>
                  <a:close/>
                  <a:moveTo>
                    <a:pt x="113" y="166"/>
                  </a:moveTo>
                  <a:lnTo>
                    <a:pt x="114" y="166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4" y="167"/>
                  </a:lnTo>
                  <a:lnTo>
                    <a:pt x="113" y="167"/>
                  </a:lnTo>
                  <a:lnTo>
                    <a:pt x="113" y="168"/>
                  </a:lnTo>
                  <a:lnTo>
                    <a:pt x="113" y="168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close/>
                  <a:moveTo>
                    <a:pt x="115" y="166"/>
                  </a:move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6"/>
                  </a:lnTo>
                  <a:close/>
                  <a:moveTo>
                    <a:pt x="114" y="166"/>
                  </a:moveTo>
                  <a:lnTo>
                    <a:pt x="115" y="166"/>
                  </a:lnTo>
                  <a:lnTo>
                    <a:pt x="114" y="166"/>
                  </a:lnTo>
                  <a:lnTo>
                    <a:pt x="114" y="167"/>
                  </a:lnTo>
                  <a:lnTo>
                    <a:pt x="114" y="166"/>
                  </a:lnTo>
                  <a:close/>
                  <a:moveTo>
                    <a:pt x="194" y="166"/>
                  </a:move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close/>
                  <a:moveTo>
                    <a:pt x="189" y="166"/>
                  </a:moveTo>
                  <a:lnTo>
                    <a:pt x="189" y="166"/>
                  </a:lnTo>
                  <a:lnTo>
                    <a:pt x="189" y="166"/>
                  </a:lnTo>
                  <a:close/>
                  <a:moveTo>
                    <a:pt x="164" y="166"/>
                  </a:moveTo>
                  <a:lnTo>
                    <a:pt x="165" y="166"/>
                  </a:lnTo>
                  <a:lnTo>
                    <a:pt x="164" y="166"/>
                  </a:lnTo>
                  <a:close/>
                  <a:moveTo>
                    <a:pt x="149" y="166"/>
                  </a:moveTo>
                  <a:lnTo>
                    <a:pt x="150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close/>
                  <a:moveTo>
                    <a:pt x="130" y="167"/>
                  </a:moveTo>
                  <a:lnTo>
                    <a:pt x="130" y="167"/>
                  </a:lnTo>
                  <a:lnTo>
                    <a:pt x="130" y="166"/>
                  </a:lnTo>
                  <a:lnTo>
                    <a:pt x="130" y="166"/>
                  </a:lnTo>
                  <a:lnTo>
                    <a:pt x="131" y="166"/>
                  </a:lnTo>
                  <a:lnTo>
                    <a:pt x="131" y="167"/>
                  </a:lnTo>
                  <a:lnTo>
                    <a:pt x="130" y="167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20" y="166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16" y="165"/>
                  </a:move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5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6" y="165"/>
                  </a:lnTo>
                  <a:close/>
                  <a:moveTo>
                    <a:pt x="123" y="166"/>
                  </a:moveTo>
                  <a:lnTo>
                    <a:pt x="124" y="166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close/>
                  <a:moveTo>
                    <a:pt x="115" y="165"/>
                  </a:moveTo>
                  <a:lnTo>
                    <a:pt x="115" y="166"/>
                  </a:lnTo>
                  <a:lnTo>
                    <a:pt x="115" y="165"/>
                  </a:lnTo>
                  <a:close/>
                  <a:moveTo>
                    <a:pt x="114" y="165"/>
                  </a:moveTo>
                  <a:lnTo>
                    <a:pt x="115" y="165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4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89" y="165"/>
                  </a:moveTo>
                  <a:lnTo>
                    <a:pt x="189" y="165"/>
                  </a:lnTo>
                  <a:lnTo>
                    <a:pt x="189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20" y="165"/>
                  </a:moveTo>
                  <a:lnTo>
                    <a:pt x="119" y="165"/>
                  </a:lnTo>
                  <a:lnTo>
                    <a:pt x="120" y="165"/>
                  </a:lnTo>
                  <a:close/>
                  <a:moveTo>
                    <a:pt x="165" y="165"/>
                  </a:moveTo>
                  <a:lnTo>
                    <a:pt x="164" y="165"/>
                  </a:lnTo>
                  <a:lnTo>
                    <a:pt x="165" y="165"/>
                  </a:lnTo>
                  <a:close/>
                  <a:moveTo>
                    <a:pt x="137" y="165"/>
                  </a:moveTo>
                  <a:lnTo>
                    <a:pt x="137" y="164"/>
                  </a:lnTo>
                  <a:lnTo>
                    <a:pt x="137" y="165"/>
                  </a:lnTo>
                  <a:close/>
                  <a:moveTo>
                    <a:pt x="117" y="164"/>
                  </a:move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4"/>
                  </a:lnTo>
                  <a:lnTo>
                    <a:pt x="117" y="165"/>
                  </a:lnTo>
                  <a:lnTo>
                    <a:pt x="117" y="164"/>
                  </a:lnTo>
                  <a:close/>
                  <a:moveTo>
                    <a:pt x="167" y="165"/>
                  </a:moveTo>
                  <a:lnTo>
                    <a:pt x="167" y="164"/>
                  </a:lnTo>
                  <a:lnTo>
                    <a:pt x="167" y="165"/>
                  </a:lnTo>
                  <a:close/>
                  <a:moveTo>
                    <a:pt x="122" y="165"/>
                  </a:moveTo>
                  <a:lnTo>
                    <a:pt x="121" y="165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2" y="165"/>
                  </a:lnTo>
                  <a:close/>
                  <a:moveTo>
                    <a:pt x="121" y="164"/>
                  </a:moveTo>
                  <a:lnTo>
                    <a:pt x="121" y="165"/>
                  </a:lnTo>
                  <a:lnTo>
                    <a:pt x="121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4"/>
                  </a:lnTo>
                  <a:close/>
                  <a:moveTo>
                    <a:pt x="122" y="164"/>
                  </a:moveTo>
                  <a:lnTo>
                    <a:pt x="122" y="163"/>
                  </a:lnTo>
                  <a:lnTo>
                    <a:pt x="122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close/>
                  <a:moveTo>
                    <a:pt x="166" y="164"/>
                  </a:moveTo>
                  <a:lnTo>
                    <a:pt x="167" y="164"/>
                  </a:lnTo>
                  <a:lnTo>
                    <a:pt x="166" y="164"/>
                  </a:lnTo>
                  <a:lnTo>
                    <a:pt x="166" y="165"/>
                  </a:lnTo>
                  <a:lnTo>
                    <a:pt x="165" y="165"/>
                  </a:lnTo>
                  <a:lnTo>
                    <a:pt x="165" y="164"/>
                  </a:lnTo>
                  <a:lnTo>
                    <a:pt x="166" y="164"/>
                  </a:lnTo>
                  <a:lnTo>
                    <a:pt x="166" y="163"/>
                  </a:lnTo>
                  <a:lnTo>
                    <a:pt x="166" y="164"/>
                  </a:lnTo>
                  <a:close/>
                  <a:moveTo>
                    <a:pt x="126" y="165"/>
                  </a:moveTo>
                  <a:lnTo>
                    <a:pt x="125" y="165"/>
                  </a:lnTo>
                  <a:lnTo>
                    <a:pt x="125" y="165"/>
                  </a:lnTo>
                  <a:lnTo>
                    <a:pt x="125" y="164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5"/>
                  </a:lnTo>
                  <a:close/>
                  <a:moveTo>
                    <a:pt x="167" y="163"/>
                  </a:moveTo>
                  <a:lnTo>
                    <a:pt x="166" y="163"/>
                  </a:lnTo>
                  <a:lnTo>
                    <a:pt x="167" y="163"/>
                  </a:lnTo>
                  <a:close/>
                  <a:moveTo>
                    <a:pt x="165" y="163"/>
                  </a:moveTo>
                  <a:lnTo>
                    <a:pt x="165" y="163"/>
                  </a:lnTo>
                  <a:lnTo>
                    <a:pt x="165" y="163"/>
                  </a:lnTo>
                  <a:close/>
                  <a:moveTo>
                    <a:pt x="135" y="163"/>
                  </a:moveTo>
                  <a:lnTo>
                    <a:pt x="134" y="163"/>
                  </a:lnTo>
                  <a:lnTo>
                    <a:pt x="135" y="163"/>
                  </a:lnTo>
                  <a:close/>
                  <a:moveTo>
                    <a:pt x="135" y="162"/>
                  </a:move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2"/>
                  </a:lnTo>
                  <a:close/>
                  <a:moveTo>
                    <a:pt x="138" y="163"/>
                  </a:moveTo>
                  <a:lnTo>
                    <a:pt x="138" y="163"/>
                  </a:lnTo>
                  <a:lnTo>
                    <a:pt x="138" y="163"/>
                  </a:lnTo>
                  <a:lnTo>
                    <a:pt x="138" y="164"/>
                  </a:lnTo>
                  <a:lnTo>
                    <a:pt x="137" y="164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37" y="162"/>
                  </a:lnTo>
                  <a:lnTo>
                    <a:pt x="137" y="163"/>
                  </a:lnTo>
                  <a:lnTo>
                    <a:pt x="138" y="163"/>
                  </a:lnTo>
                  <a:close/>
                  <a:moveTo>
                    <a:pt x="213" y="162"/>
                  </a:moveTo>
                  <a:lnTo>
                    <a:pt x="213" y="162"/>
                  </a:lnTo>
                  <a:lnTo>
                    <a:pt x="213" y="162"/>
                  </a:lnTo>
                  <a:close/>
                  <a:moveTo>
                    <a:pt x="213" y="163"/>
                  </a:moveTo>
                  <a:lnTo>
                    <a:pt x="213" y="162"/>
                  </a:lnTo>
                  <a:lnTo>
                    <a:pt x="213" y="163"/>
                  </a:lnTo>
                  <a:lnTo>
                    <a:pt x="212" y="162"/>
                  </a:lnTo>
                  <a:lnTo>
                    <a:pt x="213" y="162"/>
                  </a:lnTo>
                  <a:lnTo>
                    <a:pt x="213" y="163"/>
                  </a:lnTo>
                  <a:close/>
                  <a:moveTo>
                    <a:pt x="167" y="162"/>
                  </a:moveTo>
                  <a:lnTo>
                    <a:pt x="166" y="162"/>
                  </a:lnTo>
                  <a:lnTo>
                    <a:pt x="167" y="162"/>
                  </a:lnTo>
                  <a:close/>
                  <a:moveTo>
                    <a:pt x="176" y="162"/>
                  </a:moveTo>
                  <a:lnTo>
                    <a:pt x="177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close/>
                  <a:moveTo>
                    <a:pt x="190" y="162"/>
                  </a:moveTo>
                  <a:lnTo>
                    <a:pt x="190" y="161"/>
                  </a:lnTo>
                  <a:lnTo>
                    <a:pt x="190" y="162"/>
                  </a:lnTo>
                  <a:close/>
                  <a:moveTo>
                    <a:pt x="167" y="160"/>
                  </a:moveTo>
                  <a:lnTo>
                    <a:pt x="167" y="161"/>
                  </a:lnTo>
                  <a:lnTo>
                    <a:pt x="166" y="161"/>
                  </a:lnTo>
                  <a:lnTo>
                    <a:pt x="166" y="160"/>
                  </a:lnTo>
                  <a:lnTo>
                    <a:pt x="167" y="160"/>
                  </a:lnTo>
                  <a:close/>
                  <a:moveTo>
                    <a:pt x="178" y="160"/>
                  </a:move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close/>
                  <a:moveTo>
                    <a:pt x="145" y="160"/>
                  </a:moveTo>
                  <a:lnTo>
                    <a:pt x="145" y="160"/>
                  </a:lnTo>
                  <a:lnTo>
                    <a:pt x="145" y="160"/>
                  </a:lnTo>
                  <a:close/>
                  <a:moveTo>
                    <a:pt x="150" y="160"/>
                  </a:moveTo>
                  <a:lnTo>
                    <a:pt x="150" y="159"/>
                  </a:lnTo>
                  <a:lnTo>
                    <a:pt x="151" y="159"/>
                  </a:lnTo>
                  <a:lnTo>
                    <a:pt x="150" y="160"/>
                  </a:lnTo>
                  <a:close/>
                  <a:moveTo>
                    <a:pt x="179" y="159"/>
                  </a:moveTo>
                  <a:lnTo>
                    <a:pt x="179" y="159"/>
                  </a:lnTo>
                  <a:lnTo>
                    <a:pt x="179" y="159"/>
                  </a:lnTo>
                  <a:close/>
                  <a:moveTo>
                    <a:pt x="151" y="159"/>
                  </a:moveTo>
                  <a:lnTo>
                    <a:pt x="151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1" y="159"/>
                  </a:lnTo>
                  <a:close/>
                  <a:moveTo>
                    <a:pt x="153" y="158"/>
                  </a:moveTo>
                  <a:lnTo>
                    <a:pt x="152" y="158"/>
                  </a:lnTo>
                  <a:lnTo>
                    <a:pt x="153" y="158"/>
                  </a:lnTo>
                  <a:close/>
                  <a:moveTo>
                    <a:pt x="171" y="158"/>
                  </a:moveTo>
                  <a:lnTo>
                    <a:pt x="171" y="158"/>
                  </a:lnTo>
                  <a:lnTo>
                    <a:pt x="170" y="158"/>
                  </a:lnTo>
                  <a:lnTo>
                    <a:pt x="170" y="158"/>
                  </a:lnTo>
                  <a:lnTo>
                    <a:pt x="171" y="158"/>
                  </a:lnTo>
                  <a:close/>
                  <a:moveTo>
                    <a:pt x="171" y="157"/>
                  </a:moveTo>
                  <a:lnTo>
                    <a:pt x="170" y="157"/>
                  </a:lnTo>
                  <a:lnTo>
                    <a:pt x="171" y="157"/>
                  </a:lnTo>
                  <a:close/>
                  <a:moveTo>
                    <a:pt x="147" y="157"/>
                  </a:moveTo>
                  <a:lnTo>
                    <a:pt x="148" y="157"/>
                  </a:lnTo>
                  <a:lnTo>
                    <a:pt x="147" y="157"/>
                  </a:lnTo>
                  <a:close/>
                  <a:moveTo>
                    <a:pt x="178" y="156"/>
                  </a:moveTo>
                  <a:lnTo>
                    <a:pt x="178" y="157"/>
                  </a:lnTo>
                  <a:lnTo>
                    <a:pt x="178" y="156"/>
                  </a:lnTo>
                  <a:close/>
                  <a:moveTo>
                    <a:pt x="157" y="156"/>
                  </a:moveTo>
                  <a:lnTo>
                    <a:pt x="157" y="156"/>
                  </a:lnTo>
                  <a:lnTo>
                    <a:pt x="157" y="156"/>
                  </a:lnTo>
                  <a:close/>
                  <a:moveTo>
                    <a:pt x="181" y="156"/>
                  </a:moveTo>
                  <a:lnTo>
                    <a:pt x="182" y="156"/>
                  </a:lnTo>
                  <a:lnTo>
                    <a:pt x="181" y="156"/>
                  </a:lnTo>
                  <a:close/>
                  <a:moveTo>
                    <a:pt x="170" y="156"/>
                  </a:moveTo>
                  <a:lnTo>
                    <a:pt x="171" y="156"/>
                  </a:lnTo>
                  <a:lnTo>
                    <a:pt x="170" y="156"/>
                  </a:lnTo>
                  <a:lnTo>
                    <a:pt x="170" y="156"/>
                  </a:lnTo>
                  <a:close/>
                  <a:moveTo>
                    <a:pt x="178" y="156"/>
                  </a:moveTo>
                  <a:lnTo>
                    <a:pt x="178" y="156"/>
                  </a:lnTo>
                  <a:lnTo>
                    <a:pt x="178" y="156"/>
                  </a:lnTo>
                  <a:close/>
                  <a:moveTo>
                    <a:pt x="148" y="155"/>
                  </a:moveTo>
                  <a:lnTo>
                    <a:pt x="148" y="156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close/>
                  <a:moveTo>
                    <a:pt x="157" y="156"/>
                  </a:moveTo>
                  <a:lnTo>
                    <a:pt x="157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7" y="156"/>
                  </a:lnTo>
                  <a:close/>
                  <a:moveTo>
                    <a:pt x="158" y="155"/>
                  </a:moveTo>
                  <a:lnTo>
                    <a:pt x="157" y="155"/>
                  </a:lnTo>
                  <a:lnTo>
                    <a:pt x="158" y="155"/>
                  </a:lnTo>
                  <a:close/>
                  <a:moveTo>
                    <a:pt x="160" y="155"/>
                  </a:moveTo>
                  <a:lnTo>
                    <a:pt x="159" y="155"/>
                  </a:lnTo>
                  <a:lnTo>
                    <a:pt x="160" y="155"/>
                  </a:lnTo>
                  <a:close/>
                  <a:moveTo>
                    <a:pt x="159" y="155"/>
                  </a:moveTo>
                  <a:lnTo>
                    <a:pt x="159" y="154"/>
                  </a:lnTo>
                  <a:lnTo>
                    <a:pt x="159" y="155"/>
                  </a:lnTo>
                  <a:close/>
                  <a:moveTo>
                    <a:pt x="170" y="154"/>
                  </a:moveTo>
                  <a:lnTo>
                    <a:pt x="171" y="154"/>
                  </a:lnTo>
                  <a:lnTo>
                    <a:pt x="170" y="154"/>
                  </a:lnTo>
                  <a:close/>
                  <a:moveTo>
                    <a:pt x="156" y="153"/>
                  </a:moveTo>
                  <a:lnTo>
                    <a:pt x="156" y="153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5"/>
                  </a:lnTo>
                  <a:lnTo>
                    <a:pt x="156" y="154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5" y="155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6" y="153"/>
                  </a:lnTo>
                  <a:close/>
                  <a:moveTo>
                    <a:pt x="164" y="153"/>
                  </a:moveTo>
                  <a:lnTo>
                    <a:pt x="164" y="153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3" y="153"/>
                  </a:lnTo>
                  <a:lnTo>
                    <a:pt x="164" y="153"/>
                  </a:lnTo>
                  <a:close/>
                  <a:moveTo>
                    <a:pt x="171" y="152"/>
                  </a:moveTo>
                  <a:lnTo>
                    <a:pt x="172" y="152"/>
                  </a:lnTo>
                  <a:lnTo>
                    <a:pt x="171" y="153"/>
                  </a:lnTo>
                  <a:lnTo>
                    <a:pt x="171" y="152"/>
                  </a:lnTo>
                  <a:close/>
                  <a:moveTo>
                    <a:pt x="157" y="152"/>
                  </a:moveTo>
                  <a:lnTo>
                    <a:pt x="157" y="152"/>
                  </a:lnTo>
                  <a:lnTo>
                    <a:pt x="157" y="152"/>
                  </a:lnTo>
                  <a:close/>
                  <a:moveTo>
                    <a:pt x="156" y="152"/>
                  </a:moveTo>
                  <a:lnTo>
                    <a:pt x="157" y="152"/>
                  </a:lnTo>
                  <a:lnTo>
                    <a:pt x="156" y="152"/>
                  </a:lnTo>
                  <a:lnTo>
                    <a:pt x="157" y="152"/>
                  </a:lnTo>
                  <a:lnTo>
                    <a:pt x="157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5" y="153"/>
                  </a:lnTo>
                  <a:lnTo>
                    <a:pt x="155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56" y="152"/>
                  </a:move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61" y="152"/>
                  </a:move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2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2"/>
                  </a:lnTo>
                  <a:lnTo>
                    <a:pt x="160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close/>
                  <a:moveTo>
                    <a:pt x="167" y="152"/>
                  </a:moveTo>
                  <a:lnTo>
                    <a:pt x="167" y="151"/>
                  </a:lnTo>
                  <a:lnTo>
                    <a:pt x="167" y="152"/>
                  </a:lnTo>
                  <a:close/>
                  <a:moveTo>
                    <a:pt x="167" y="151"/>
                  </a:moveTo>
                  <a:lnTo>
                    <a:pt x="166" y="151"/>
                  </a:lnTo>
                  <a:lnTo>
                    <a:pt x="167" y="151"/>
                  </a:lnTo>
                  <a:close/>
                  <a:moveTo>
                    <a:pt x="96" y="70"/>
                  </a:move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5" y="70"/>
                  </a:lnTo>
                  <a:lnTo>
                    <a:pt x="96" y="70"/>
                  </a:lnTo>
                  <a:close/>
                  <a:moveTo>
                    <a:pt x="164" y="71"/>
                  </a:moveTo>
                  <a:lnTo>
                    <a:pt x="163" y="71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5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7" y="68"/>
                  </a:lnTo>
                  <a:lnTo>
                    <a:pt x="167" y="67"/>
                  </a:lnTo>
                  <a:lnTo>
                    <a:pt x="167" y="67"/>
                  </a:lnTo>
                  <a:lnTo>
                    <a:pt x="168" y="67"/>
                  </a:lnTo>
                  <a:lnTo>
                    <a:pt x="167" y="67"/>
                  </a:lnTo>
                  <a:lnTo>
                    <a:pt x="167" y="68"/>
                  </a:lnTo>
                  <a:lnTo>
                    <a:pt x="167" y="68"/>
                  </a:lnTo>
                  <a:lnTo>
                    <a:pt x="166" y="68"/>
                  </a:lnTo>
                  <a:lnTo>
                    <a:pt x="165" y="68"/>
                  </a:lnTo>
                  <a:lnTo>
                    <a:pt x="165" y="69"/>
                  </a:lnTo>
                  <a:lnTo>
                    <a:pt x="165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1"/>
                  </a:lnTo>
                  <a:close/>
                  <a:moveTo>
                    <a:pt x="99" y="64"/>
                  </a:moveTo>
                  <a:lnTo>
                    <a:pt x="99" y="65"/>
                  </a:lnTo>
                  <a:lnTo>
                    <a:pt x="99" y="64"/>
                  </a:lnTo>
                  <a:close/>
                  <a:moveTo>
                    <a:pt x="139" y="62"/>
                  </a:moveTo>
                  <a:lnTo>
                    <a:pt x="139" y="62"/>
                  </a:lnTo>
                  <a:lnTo>
                    <a:pt x="139" y="62"/>
                  </a:lnTo>
                  <a:close/>
                  <a:moveTo>
                    <a:pt x="138" y="62"/>
                  </a:moveTo>
                  <a:lnTo>
                    <a:pt x="139" y="62"/>
                  </a:lnTo>
                  <a:lnTo>
                    <a:pt x="138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143" y="61"/>
                  </a:moveTo>
                  <a:lnTo>
                    <a:pt x="143" y="61"/>
                  </a:lnTo>
                  <a:lnTo>
                    <a:pt x="143" y="61"/>
                  </a:lnTo>
                  <a:close/>
                  <a:moveTo>
                    <a:pt x="146" y="60"/>
                  </a:moveTo>
                  <a:lnTo>
                    <a:pt x="145" y="60"/>
                  </a:lnTo>
                  <a:lnTo>
                    <a:pt x="145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60"/>
                  </a:lnTo>
                  <a:lnTo>
                    <a:pt x="146" y="60"/>
                  </a:ln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7" y="59"/>
                  </a:moveTo>
                  <a:lnTo>
                    <a:pt x="146" y="59"/>
                  </a:lnTo>
                  <a:lnTo>
                    <a:pt x="147" y="59"/>
                  </a:lnTo>
                  <a:lnTo>
                    <a:pt x="146" y="59"/>
                  </a:lnTo>
                  <a:lnTo>
                    <a:pt x="147" y="59"/>
                  </a:lnTo>
                  <a:close/>
                  <a:moveTo>
                    <a:pt x="140" y="59"/>
                  </a:moveTo>
                  <a:lnTo>
                    <a:pt x="139" y="59"/>
                  </a:lnTo>
                  <a:lnTo>
                    <a:pt x="140" y="59"/>
                  </a:lnTo>
                  <a:close/>
                  <a:moveTo>
                    <a:pt x="137" y="57"/>
                  </a:moveTo>
                  <a:lnTo>
                    <a:pt x="137" y="57"/>
                  </a:lnTo>
                  <a:lnTo>
                    <a:pt x="137" y="57"/>
                  </a:lnTo>
                  <a:close/>
                  <a:moveTo>
                    <a:pt x="135" y="57"/>
                  </a:moveTo>
                  <a:lnTo>
                    <a:pt x="134" y="57"/>
                  </a:lnTo>
                  <a:lnTo>
                    <a:pt x="135" y="57"/>
                  </a:lnTo>
                  <a:close/>
                  <a:moveTo>
                    <a:pt x="150" y="57"/>
                  </a:moveTo>
                  <a:lnTo>
                    <a:pt x="149" y="57"/>
                  </a:lnTo>
                  <a:lnTo>
                    <a:pt x="149" y="57"/>
                  </a:lnTo>
                  <a:lnTo>
                    <a:pt x="149" y="58"/>
                  </a:lnTo>
                  <a:lnTo>
                    <a:pt x="148" y="58"/>
                  </a:lnTo>
                  <a:lnTo>
                    <a:pt x="148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50" y="57"/>
                  </a:lnTo>
                  <a:close/>
                  <a:moveTo>
                    <a:pt x="143" y="56"/>
                  </a:moveTo>
                  <a:lnTo>
                    <a:pt x="144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43" y="56"/>
                  </a:moveTo>
                  <a:lnTo>
                    <a:pt x="142" y="56"/>
                  </a:lnTo>
                  <a:lnTo>
                    <a:pt x="143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30" y="53"/>
                  </a:moveTo>
                  <a:lnTo>
                    <a:pt x="131" y="53"/>
                  </a:lnTo>
                  <a:lnTo>
                    <a:pt x="130" y="53"/>
                  </a:lnTo>
                  <a:close/>
                  <a:moveTo>
                    <a:pt x="83" y="53"/>
                  </a:moveTo>
                  <a:lnTo>
                    <a:pt x="83" y="52"/>
                  </a:lnTo>
                  <a:lnTo>
                    <a:pt x="83" y="53"/>
                  </a:lnTo>
                  <a:close/>
                  <a:moveTo>
                    <a:pt x="145" y="53"/>
                  </a:moveTo>
                  <a:lnTo>
                    <a:pt x="144" y="52"/>
                  </a:lnTo>
                  <a:lnTo>
                    <a:pt x="145" y="52"/>
                  </a:lnTo>
                  <a:lnTo>
                    <a:pt x="145" y="53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82" y="51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0" y="50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64" y="49"/>
                  </a:moveTo>
                  <a:lnTo>
                    <a:pt x="164" y="49"/>
                  </a:lnTo>
                  <a:lnTo>
                    <a:pt x="164" y="49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30" y="44"/>
                  </a:moveTo>
                  <a:lnTo>
                    <a:pt x="130" y="44"/>
                  </a:lnTo>
                  <a:lnTo>
                    <a:pt x="130" y="44"/>
                  </a:lnTo>
                  <a:close/>
                  <a:moveTo>
                    <a:pt x="127" y="43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close/>
                  <a:moveTo>
                    <a:pt x="127" y="42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2"/>
                  </a:lnTo>
                  <a:lnTo>
                    <a:pt x="127" y="43"/>
                  </a:lnTo>
                  <a:lnTo>
                    <a:pt x="127" y="42"/>
                  </a:lnTo>
                  <a:close/>
                  <a:moveTo>
                    <a:pt x="130" y="43"/>
                  </a:moveTo>
                  <a:lnTo>
                    <a:pt x="129" y="43"/>
                  </a:lnTo>
                  <a:lnTo>
                    <a:pt x="128" y="43"/>
                  </a:lnTo>
                  <a:lnTo>
                    <a:pt x="128" y="42"/>
                  </a:lnTo>
                  <a:lnTo>
                    <a:pt x="129" y="43"/>
                  </a:lnTo>
                  <a:lnTo>
                    <a:pt x="129" y="42"/>
                  </a:lnTo>
                  <a:lnTo>
                    <a:pt x="130" y="42"/>
                  </a:lnTo>
                  <a:lnTo>
                    <a:pt x="130" y="43"/>
                  </a:lnTo>
                  <a:close/>
                  <a:moveTo>
                    <a:pt x="89" y="42"/>
                  </a:moveTo>
                  <a:lnTo>
                    <a:pt x="90" y="42"/>
                  </a:lnTo>
                  <a:lnTo>
                    <a:pt x="89" y="42"/>
                  </a:lnTo>
                  <a:close/>
                  <a:moveTo>
                    <a:pt x="56" y="41"/>
                  </a:moveTo>
                  <a:lnTo>
                    <a:pt x="56" y="41"/>
                  </a:lnTo>
                  <a:lnTo>
                    <a:pt x="56" y="41"/>
                  </a:lnTo>
                  <a:close/>
                  <a:moveTo>
                    <a:pt x="67" y="40"/>
                  </a:moveTo>
                  <a:lnTo>
                    <a:pt x="66" y="40"/>
                  </a:lnTo>
                  <a:lnTo>
                    <a:pt x="67" y="40"/>
                  </a:lnTo>
                  <a:close/>
                  <a:moveTo>
                    <a:pt x="66" y="40"/>
                  </a:moveTo>
                  <a:lnTo>
                    <a:pt x="66" y="40"/>
                  </a:lnTo>
                  <a:lnTo>
                    <a:pt x="66" y="40"/>
                  </a:lnTo>
                  <a:close/>
                  <a:moveTo>
                    <a:pt x="77" y="40"/>
                  </a:moveTo>
                  <a:lnTo>
                    <a:pt x="76" y="40"/>
                  </a:lnTo>
                  <a:lnTo>
                    <a:pt x="77" y="40"/>
                  </a:lnTo>
                  <a:close/>
                  <a:moveTo>
                    <a:pt x="93" y="39"/>
                  </a:moveTo>
                  <a:lnTo>
                    <a:pt x="93" y="38"/>
                  </a:lnTo>
                  <a:lnTo>
                    <a:pt x="93" y="39"/>
                  </a:lnTo>
                  <a:close/>
                  <a:moveTo>
                    <a:pt x="120" y="38"/>
                  </a:moveTo>
                  <a:lnTo>
                    <a:pt x="121" y="38"/>
                  </a:lnTo>
                  <a:lnTo>
                    <a:pt x="120" y="38"/>
                  </a:lnTo>
                  <a:close/>
                  <a:moveTo>
                    <a:pt x="61" y="37"/>
                  </a:moveTo>
                  <a:lnTo>
                    <a:pt x="61" y="37"/>
                  </a:lnTo>
                  <a:lnTo>
                    <a:pt x="61" y="37"/>
                  </a:lnTo>
                  <a:close/>
                  <a:moveTo>
                    <a:pt x="130" y="37"/>
                  </a:moveTo>
                  <a:lnTo>
                    <a:pt x="130" y="37"/>
                  </a:lnTo>
                  <a:lnTo>
                    <a:pt x="130" y="37"/>
                  </a:lnTo>
                  <a:close/>
                  <a:moveTo>
                    <a:pt x="85" y="37"/>
                  </a:moveTo>
                  <a:lnTo>
                    <a:pt x="85" y="37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close/>
                  <a:moveTo>
                    <a:pt x="125" y="36"/>
                  </a:moveTo>
                  <a:lnTo>
                    <a:pt x="124" y="36"/>
                  </a:lnTo>
                  <a:lnTo>
                    <a:pt x="125" y="36"/>
                  </a:lnTo>
                  <a:close/>
                  <a:moveTo>
                    <a:pt x="134" y="36"/>
                  </a:moveTo>
                  <a:lnTo>
                    <a:pt x="134" y="36"/>
                  </a:lnTo>
                  <a:lnTo>
                    <a:pt x="134" y="36"/>
                  </a:lnTo>
                  <a:lnTo>
                    <a:pt x="134" y="36"/>
                  </a:lnTo>
                  <a:close/>
                  <a:moveTo>
                    <a:pt x="80" y="36"/>
                  </a:moveTo>
                  <a:lnTo>
                    <a:pt x="81" y="36"/>
                  </a:lnTo>
                  <a:lnTo>
                    <a:pt x="80" y="36"/>
                  </a:lnTo>
                  <a:close/>
                  <a:moveTo>
                    <a:pt x="134" y="36"/>
                  </a:moveTo>
                  <a:lnTo>
                    <a:pt x="133" y="36"/>
                  </a:lnTo>
                  <a:lnTo>
                    <a:pt x="134" y="36"/>
                  </a:lnTo>
                  <a:close/>
                  <a:moveTo>
                    <a:pt x="82" y="35"/>
                  </a:moveTo>
                  <a:lnTo>
                    <a:pt x="81" y="35"/>
                  </a:lnTo>
                  <a:lnTo>
                    <a:pt x="81" y="36"/>
                  </a:lnTo>
                  <a:lnTo>
                    <a:pt x="81" y="35"/>
                  </a:lnTo>
                  <a:lnTo>
                    <a:pt x="82" y="35"/>
                  </a:lnTo>
                  <a:close/>
                  <a:moveTo>
                    <a:pt x="55" y="34"/>
                  </a:move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5" y="34"/>
                  </a:lnTo>
                  <a:close/>
                  <a:moveTo>
                    <a:pt x="194" y="34"/>
                  </a:move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4" y="34"/>
                  </a:lnTo>
                  <a:close/>
                  <a:moveTo>
                    <a:pt x="193" y="33"/>
                  </a:moveTo>
                  <a:lnTo>
                    <a:pt x="193" y="33"/>
                  </a:lnTo>
                  <a:lnTo>
                    <a:pt x="193" y="33"/>
                  </a:lnTo>
                  <a:close/>
                  <a:moveTo>
                    <a:pt x="194" y="32"/>
                  </a:moveTo>
                  <a:lnTo>
                    <a:pt x="194" y="32"/>
                  </a:lnTo>
                  <a:lnTo>
                    <a:pt x="194" y="32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1" y="31"/>
                  </a:moveTo>
                  <a:lnTo>
                    <a:pt x="61" y="31"/>
                  </a:lnTo>
                  <a:lnTo>
                    <a:pt x="61" y="31"/>
                  </a:lnTo>
                  <a:close/>
                  <a:moveTo>
                    <a:pt x="138" y="31"/>
                  </a:moveTo>
                  <a:lnTo>
                    <a:pt x="137" y="31"/>
                  </a:lnTo>
                  <a:lnTo>
                    <a:pt x="138" y="31"/>
                  </a:lnTo>
                  <a:close/>
                  <a:moveTo>
                    <a:pt x="206" y="30"/>
                  </a:moveTo>
                  <a:lnTo>
                    <a:pt x="205" y="30"/>
                  </a:lnTo>
                  <a:lnTo>
                    <a:pt x="206" y="30"/>
                  </a:lnTo>
                  <a:close/>
                  <a:moveTo>
                    <a:pt x="137" y="30"/>
                  </a:moveTo>
                  <a:lnTo>
                    <a:pt x="138" y="30"/>
                  </a:lnTo>
                  <a:lnTo>
                    <a:pt x="138" y="30"/>
                  </a:lnTo>
                  <a:lnTo>
                    <a:pt x="138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close/>
                  <a:moveTo>
                    <a:pt x="135" y="30"/>
                  </a:move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1" y="30"/>
                  </a:lnTo>
                  <a:close/>
                  <a:moveTo>
                    <a:pt x="94" y="30"/>
                  </a:moveTo>
                  <a:lnTo>
                    <a:pt x="93" y="30"/>
                  </a:lnTo>
                  <a:lnTo>
                    <a:pt x="94" y="30"/>
                  </a:lnTo>
                  <a:close/>
                  <a:moveTo>
                    <a:pt x="131" y="30"/>
                  </a:moveTo>
                  <a:lnTo>
                    <a:pt x="131" y="30"/>
                  </a:lnTo>
                  <a:lnTo>
                    <a:pt x="131" y="30"/>
                  </a:lnTo>
                  <a:close/>
                  <a:moveTo>
                    <a:pt x="207" y="30"/>
                  </a:moveTo>
                  <a:lnTo>
                    <a:pt x="206" y="30"/>
                  </a:lnTo>
                  <a:lnTo>
                    <a:pt x="207" y="30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4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7" y="30"/>
                  </a:lnTo>
                  <a:close/>
                  <a:moveTo>
                    <a:pt x="131" y="29"/>
                  </a:moveTo>
                  <a:lnTo>
                    <a:pt x="132" y="29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close/>
                  <a:moveTo>
                    <a:pt x="133" y="29"/>
                  </a:move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2" y="29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close/>
                  <a:moveTo>
                    <a:pt x="123" y="29"/>
                  </a:moveTo>
                  <a:lnTo>
                    <a:pt x="122" y="29"/>
                  </a:lnTo>
                  <a:lnTo>
                    <a:pt x="123" y="29"/>
                  </a:lnTo>
                  <a:close/>
                  <a:moveTo>
                    <a:pt x="121" y="26"/>
                  </a:moveTo>
                  <a:lnTo>
                    <a:pt x="122" y="26"/>
                  </a:lnTo>
                  <a:lnTo>
                    <a:pt x="121" y="26"/>
                  </a:lnTo>
                  <a:close/>
                  <a:moveTo>
                    <a:pt x="120" y="26"/>
                  </a:moveTo>
                  <a:lnTo>
                    <a:pt x="119" y="26"/>
                  </a:lnTo>
                  <a:lnTo>
                    <a:pt x="119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0" y="26"/>
                  </a:lnTo>
                  <a:close/>
                  <a:moveTo>
                    <a:pt x="125" y="26"/>
                  </a:moveTo>
                  <a:lnTo>
                    <a:pt x="126" y="26"/>
                  </a:lnTo>
                  <a:lnTo>
                    <a:pt x="125" y="26"/>
                  </a:lnTo>
                  <a:lnTo>
                    <a:pt x="124" y="26"/>
                  </a:lnTo>
                  <a:lnTo>
                    <a:pt x="125" y="26"/>
                  </a:lnTo>
                  <a:close/>
                  <a:moveTo>
                    <a:pt x="124" y="25"/>
                  </a:move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4" y="26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4" y="25"/>
                  </a:lnTo>
                  <a:close/>
                  <a:moveTo>
                    <a:pt x="121" y="25"/>
                  </a:moveTo>
                  <a:lnTo>
                    <a:pt x="122" y="25"/>
                  </a:lnTo>
                  <a:lnTo>
                    <a:pt x="121" y="25"/>
                  </a:lnTo>
                  <a:close/>
                  <a:moveTo>
                    <a:pt x="132" y="25"/>
                  </a:move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2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33" y="25"/>
                  </a:moveTo>
                  <a:lnTo>
                    <a:pt x="133" y="25"/>
                  </a:lnTo>
                  <a:lnTo>
                    <a:pt x="133" y="25"/>
                  </a:lnTo>
                  <a:close/>
                  <a:moveTo>
                    <a:pt x="117" y="25"/>
                  </a:moveTo>
                  <a:lnTo>
                    <a:pt x="116" y="25"/>
                  </a:lnTo>
                  <a:lnTo>
                    <a:pt x="117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28" y="25"/>
                  </a:moveTo>
                  <a:lnTo>
                    <a:pt x="129" y="25"/>
                  </a:lnTo>
                  <a:lnTo>
                    <a:pt x="128" y="25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5"/>
                  </a:lnTo>
                  <a:close/>
                  <a:moveTo>
                    <a:pt x="118" y="24"/>
                  </a:moveTo>
                  <a:lnTo>
                    <a:pt x="117" y="24"/>
                  </a:lnTo>
                  <a:lnTo>
                    <a:pt x="118" y="24"/>
                  </a:lnTo>
                  <a:close/>
                  <a:moveTo>
                    <a:pt x="122" y="23"/>
                  </a:moveTo>
                  <a:lnTo>
                    <a:pt x="122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5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3" y="25"/>
                  </a:lnTo>
                  <a:lnTo>
                    <a:pt x="122" y="25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2" y="23"/>
                  </a:lnTo>
                  <a:close/>
                  <a:moveTo>
                    <a:pt x="120" y="23"/>
                  </a:moveTo>
                  <a:lnTo>
                    <a:pt x="119" y="23"/>
                  </a:lnTo>
                  <a:lnTo>
                    <a:pt x="120" y="23"/>
                  </a:lnTo>
                  <a:close/>
                  <a:moveTo>
                    <a:pt x="120" y="23"/>
                  </a:moveTo>
                  <a:lnTo>
                    <a:pt x="120" y="23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0" y="23"/>
                  </a:lnTo>
                  <a:close/>
                  <a:moveTo>
                    <a:pt x="107" y="21"/>
                  </a:moveTo>
                  <a:lnTo>
                    <a:pt x="107" y="21"/>
                  </a:lnTo>
                  <a:lnTo>
                    <a:pt x="107" y="21"/>
                  </a:lnTo>
                  <a:close/>
                  <a:moveTo>
                    <a:pt x="115" y="21"/>
                  </a:moveTo>
                  <a:lnTo>
                    <a:pt x="115" y="21"/>
                  </a:lnTo>
                  <a:lnTo>
                    <a:pt x="115" y="21"/>
                  </a:lnTo>
                  <a:close/>
                  <a:moveTo>
                    <a:pt x="65" y="20"/>
                  </a:moveTo>
                  <a:lnTo>
                    <a:pt x="64" y="20"/>
                  </a:lnTo>
                  <a:lnTo>
                    <a:pt x="65" y="20"/>
                  </a:lnTo>
                  <a:close/>
                  <a:moveTo>
                    <a:pt x="66" y="20"/>
                  </a:moveTo>
                  <a:lnTo>
                    <a:pt x="65" y="20"/>
                  </a:lnTo>
                  <a:lnTo>
                    <a:pt x="66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118" y="20"/>
                  </a:moveTo>
                  <a:lnTo>
                    <a:pt x="117" y="20"/>
                  </a:lnTo>
                  <a:lnTo>
                    <a:pt x="118" y="20"/>
                  </a:lnTo>
                  <a:close/>
                  <a:moveTo>
                    <a:pt x="117" y="20"/>
                  </a:moveTo>
                  <a:lnTo>
                    <a:pt x="117" y="20"/>
                  </a:lnTo>
                  <a:lnTo>
                    <a:pt x="117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71" y="20"/>
                  </a:moveTo>
                  <a:lnTo>
                    <a:pt x="71" y="20"/>
                  </a:lnTo>
                  <a:lnTo>
                    <a:pt x="71" y="20"/>
                  </a:lnTo>
                  <a:close/>
                  <a:moveTo>
                    <a:pt x="121" y="19"/>
                  </a:moveTo>
                  <a:lnTo>
                    <a:pt x="122" y="19"/>
                  </a:lnTo>
                  <a:lnTo>
                    <a:pt x="121" y="19"/>
                  </a:lnTo>
                  <a:close/>
                  <a:moveTo>
                    <a:pt x="70" y="19"/>
                  </a:moveTo>
                  <a:lnTo>
                    <a:pt x="69" y="19"/>
                  </a:lnTo>
                  <a:lnTo>
                    <a:pt x="70" y="19"/>
                  </a:lnTo>
                  <a:close/>
                  <a:moveTo>
                    <a:pt x="70" y="19"/>
                  </a:moveTo>
                  <a:lnTo>
                    <a:pt x="71" y="19"/>
                  </a:lnTo>
                  <a:lnTo>
                    <a:pt x="70" y="19"/>
                  </a:lnTo>
                  <a:lnTo>
                    <a:pt x="71" y="19"/>
                  </a:lnTo>
                  <a:lnTo>
                    <a:pt x="70" y="19"/>
                  </a:lnTo>
                  <a:close/>
                  <a:moveTo>
                    <a:pt x="122" y="19"/>
                  </a:moveTo>
                  <a:lnTo>
                    <a:pt x="122" y="19"/>
                  </a:lnTo>
                  <a:lnTo>
                    <a:pt x="122" y="19"/>
                  </a:lnTo>
                  <a:lnTo>
                    <a:pt x="121" y="19"/>
                  </a:lnTo>
                  <a:lnTo>
                    <a:pt x="122" y="19"/>
                  </a:lnTo>
                  <a:close/>
                  <a:moveTo>
                    <a:pt x="50" y="18"/>
                  </a:moveTo>
                  <a:lnTo>
                    <a:pt x="51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close/>
                  <a:moveTo>
                    <a:pt x="113" y="18"/>
                  </a:moveTo>
                  <a:lnTo>
                    <a:pt x="112" y="18"/>
                  </a:lnTo>
                  <a:lnTo>
                    <a:pt x="113" y="18"/>
                  </a:lnTo>
                  <a:close/>
                  <a:moveTo>
                    <a:pt x="112" y="17"/>
                  </a:moveTo>
                  <a:lnTo>
                    <a:pt x="111" y="17"/>
                  </a:lnTo>
                  <a:lnTo>
                    <a:pt x="112" y="17"/>
                  </a:lnTo>
                  <a:close/>
                  <a:moveTo>
                    <a:pt x="50" y="17"/>
                  </a:moveTo>
                  <a:lnTo>
                    <a:pt x="50" y="18"/>
                  </a:lnTo>
                  <a:lnTo>
                    <a:pt x="50" y="18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50" y="17"/>
                  </a:lnTo>
                  <a:close/>
                  <a:moveTo>
                    <a:pt x="54" y="16"/>
                  </a:moveTo>
                  <a:lnTo>
                    <a:pt x="55" y="17"/>
                  </a:lnTo>
                  <a:lnTo>
                    <a:pt x="54" y="17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4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4" y="16"/>
                  </a:move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110" y="14"/>
                  </a:moveTo>
                  <a:lnTo>
                    <a:pt x="111" y="14"/>
                  </a:lnTo>
                  <a:lnTo>
                    <a:pt x="110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8" y="15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close/>
                  <a:moveTo>
                    <a:pt x="111" y="14"/>
                  </a:move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close/>
                  <a:moveTo>
                    <a:pt x="109" y="14"/>
                  </a:moveTo>
                  <a:lnTo>
                    <a:pt x="108" y="14"/>
                  </a:lnTo>
                  <a:lnTo>
                    <a:pt x="109" y="14"/>
                  </a:lnTo>
                  <a:close/>
                  <a:moveTo>
                    <a:pt x="109" y="14"/>
                  </a:moveTo>
                  <a:lnTo>
                    <a:pt x="109" y="14"/>
                  </a:lnTo>
                  <a:lnTo>
                    <a:pt x="109" y="13"/>
                  </a:lnTo>
                  <a:lnTo>
                    <a:pt x="109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2" y="13"/>
                  </a:moveTo>
                  <a:lnTo>
                    <a:pt x="111" y="13"/>
                  </a:lnTo>
                  <a:lnTo>
                    <a:pt x="112" y="13"/>
                  </a:lnTo>
                  <a:close/>
                  <a:moveTo>
                    <a:pt x="80" y="13"/>
                  </a:moveTo>
                  <a:lnTo>
                    <a:pt x="79" y="13"/>
                  </a:lnTo>
                  <a:lnTo>
                    <a:pt x="79" y="14"/>
                  </a:lnTo>
                  <a:lnTo>
                    <a:pt x="79" y="13"/>
                  </a:lnTo>
                  <a:lnTo>
                    <a:pt x="80" y="13"/>
                  </a:lnTo>
                  <a:close/>
                  <a:moveTo>
                    <a:pt x="108" y="13"/>
                  </a:moveTo>
                  <a:lnTo>
                    <a:pt x="108" y="13"/>
                  </a:lnTo>
                  <a:lnTo>
                    <a:pt x="108" y="12"/>
                  </a:lnTo>
                  <a:lnTo>
                    <a:pt x="108" y="13"/>
                  </a:lnTo>
                  <a:close/>
                  <a:moveTo>
                    <a:pt x="142" y="13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lnTo>
                    <a:pt x="143" y="13"/>
                  </a:lnTo>
                  <a:lnTo>
                    <a:pt x="142" y="13"/>
                  </a:lnTo>
                  <a:close/>
                  <a:moveTo>
                    <a:pt x="143" y="12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close/>
                  <a:moveTo>
                    <a:pt x="188" y="11"/>
                  </a:moveTo>
                  <a:lnTo>
                    <a:pt x="189" y="11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8" y="12"/>
                  </a:lnTo>
                  <a:lnTo>
                    <a:pt x="188" y="13"/>
                  </a:lnTo>
                  <a:lnTo>
                    <a:pt x="188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8" y="11"/>
                  </a:lnTo>
                  <a:close/>
                  <a:moveTo>
                    <a:pt x="140" y="11"/>
                  </a:moveTo>
                  <a:lnTo>
                    <a:pt x="139" y="11"/>
                  </a:lnTo>
                  <a:lnTo>
                    <a:pt x="140" y="11"/>
                  </a:lnTo>
                  <a:close/>
                  <a:moveTo>
                    <a:pt x="142" y="11"/>
                  </a:moveTo>
                  <a:lnTo>
                    <a:pt x="142" y="11"/>
                  </a:lnTo>
                  <a:lnTo>
                    <a:pt x="142" y="11"/>
                  </a:lnTo>
                  <a:close/>
                  <a:moveTo>
                    <a:pt x="119" y="11"/>
                  </a:moveTo>
                  <a:lnTo>
                    <a:pt x="119" y="11"/>
                  </a:lnTo>
                  <a:lnTo>
                    <a:pt x="118" y="11"/>
                  </a:lnTo>
                  <a:lnTo>
                    <a:pt x="119" y="11"/>
                  </a:lnTo>
                  <a:lnTo>
                    <a:pt x="119" y="11"/>
                  </a:lnTo>
                  <a:close/>
                  <a:moveTo>
                    <a:pt x="172" y="10"/>
                  </a:moveTo>
                  <a:lnTo>
                    <a:pt x="173" y="10"/>
                  </a:lnTo>
                  <a:lnTo>
                    <a:pt x="172" y="11"/>
                  </a:lnTo>
                  <a:lnTo>
                    <a:pt x="173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69" y="10"/>
                  </a:moveTo>
                  <a:lnTo>
                    <a:pt x="169" y="10"/>
                  </a:lnTo>
                  <a:lnTo>
                    <a:pt x="169" y="10"/>
                  </a:lnTo>
                  <a:close/>
                  <a:moveTo>
                    <a:pt x="132" y="9"/>
                  </a:moveTo>
                  <a:lnTo>
                    <a:pt x="131" y="9"/>
                  </a:lnTo>
                  <a:lnTo>
                    <a:pt x="132" y="9"/>
                  </a:lnTo>
                  <a:close/>
                  <a:moveTo>
                    <a:pt x="171" y="9"/>
                  </a:moveTo>
                  <a:lnTo>
                    <a:pt x="170" y="9"/>
                  </a:lnTo>
                  <a:lnTo>
                    <a:pt x="171" y="9"/>
                  </a:lnTo>
                  <a:close/>
                  <a:moveTo>
                    <a:pt x="169" y="9"/>
                  </a:moveTo>
                  <a:lnTo>
                    <a:pt x="169" y="9"/>
                  </a:lnTo>
                  <a:lnTo>
                    <a:pt x="169" y="9"/>
                  </a:lnTo>
                  <a:close/>
                  <a:moveTo>
                    <a:pt x="133" y="9"/>
                  </a:moveTo>
                  <a:lnTo>
                    <a:pt x="133" y="9"/>
                  </a:lnTo>
                  <a:lnTo>
                    <a:pt x="133" y="9"/>
                  </a:lnTo>
                  <a:close/>
                  <a:moveTo>
                    <a:pt x="133" y="9"/>
                  </a:moveTo>
                  <a:lnTo>
                    <a:pt x="134" y="9"/>
                  </a:lnTo>
                  <a:lnTo>
                    <a:pt x="133" y="9"/>
                  </a:lnTo>
                  <a:close/>
                  <a:moveTo>
                    <a:pt x="134" y="9"/>
                  </a:moveTo>
                  <a:lnTo>
                    <a:pt x="133" y="9"/>
                  </a:lnTo>
                  <a:lnTo>
                    <a:pt x="134" y="8"/>
                  </a:lnTo>
                  <a:lnTo>
                    <a:pt x="134" y="9"/>
                  </a:lnTo>
                  <a:close/>
                  <a:moveTo>
                    <a:pt x="155" y="8"/>
                  </a:moveTo>
                  <a:lnTo>
                    <a:pt x="155" y="9"/>
                  </a:lnTo>
                  <a:lnTo>
                    <a:pt x="154" y="8"/>
                  </a:lnTo>
                  <a:lnTo>
                    <a:pt x="155" y="8"/>
                  </a:lnTo>
                  <a:close/>
                  <a:moveTo>
                    <a:pt x="113" y="8"/>
                  </a:moveTo>
                  <a:lnTo>
                    <a:pt x="113" y="8"/>
                  </a:lnTo>
                  <a:lnTo>
                    <a:pt x="113" y="8"/>
                  </a:lnTo>
                  <a:close/>
                  <a:moveTo>
                    <a:pt x="114" y="8"/>
                  </a:moveTo>
                  <a:lnTo>
                    <a:pt x="113" y="8"/>
                  </a:lnTo>
                  <a:lnTo>
                    <a:pt x="114" y="8"/>
                  </a:lnTo>
                  <a:close/>
                  <a:moveTo>
                    <a:pt x="162" y="8"/>
                  </a:moveTo>
                  <a:lnTo>
                    <a:pt x="161" y="8"/>
                  </a:lnTo>
                  <a:lnTo>
                    <a:pt x="162" y="8"/>
                  </a:lnTo>
                  <a:close/>
                  <a:moveTo>
                    <a:pt x="110" y="9"/>
                  </a:moveTo>
                  <a:lnTo>
                    <a:pt x="111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0" y="9"/>
                  </a:lnTo>
                  <a:close/>
                  <a:moveTo>
                    <a:pt x="135" y="8"/>
                  </a:moveTo>
                  <a:lnTo>
                    <a:pt x="134" y="8"/>
                  </a:lnTo>
                  <a:lnTo>
                    <a:pt x="135" y="8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8"/>
                  </a:lnTo>
                  <a:lnTo>
                    <a:pt x="135" y="8"/>
                  </a:lnTo>
                  <a:close/>
                  <a:moveTo>
                    <a:pt x="158" y="7"/>
                  </a:moveTo>
                  <a:lnTo>
                    <a:pt x="158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58" y="6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58" y="7"/>
                  </a:lnTo>
                  <a:close/>
                  <a:moveTo>
                    <a:pt x="173" y="6"/>
                  </a:moveTo>
                  <a:lnTo>
                    <a:pt x="174" y="6"/>
                  </a:lnTo>
                  <a:lnTo>
                    <a:pt x="173" y="6"/>
                  </a:lnTo>
                  <a:close/>
                  <a:moveTo>
                    <a:pt x="172" y="6"/>
                  </a:moveTo>
                  <a:lnTo>
                    <a:pt x="171" y="6"/>
                  </a:lnTo>
                  <a:lnTo>
                    <a:pt x="172" y="6"/>
                  </a:lnTo>
                  <a:close/>
                  <a:moveTo>
                    <a:pt x="125" y="5"/>
                  </a:moveTo>
                  <a:lnTo>
                    <a:pt x="126" y="5"/>
                  </a:lnTo>
                  <a:lnTo>
                    <a:pt x="125" y="5"/>
                  </a:lnTo>
                  <a:close/>
                  <a:moveTo>
                    <a:pt x="157" y="5"/>
                  </a:moveTo>
                  <a:lnTo>
                    <a:pt x="157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7" y="5"/>
                  </a:lnTo>
                  <a:lnTo>
                    <a:pt x="157" y="5"/>
                  </a:lnTo>
                  <a:close/>
                  <a:moveTo>
                    <a:pt x="126" y="5"/>
                  </a:move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close/>
                  <a:moveTo>
                    <a:pt x="124" y="5"/>
                  </a:moveTo>
                  <a:lnTo>
                    <a:pt x="124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4" y="5"/>
                  </a:lnTo>
                  <a:close/>
                  <a:moveTo>
                    <a:pt x="122" y="3"/>
                  </a:moveTo>
                  <a:lnTo>
                    <a:pt x="122" y="3"/>
                  </a:lnTo>
                  <a:lnTo>
                    <a:pt x="122" y="3"/>
                  </a:lnTo>
                  <a:close/>
                  <a:moveTo>
                    <a:pt x="129" y="3"/>
                  </a:move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7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9" y="3"/>
                  </a:lnTo>
                  <a:close/>
                  <a:moveTo>
                    <a:pt x="134" y="2"/>
                  </a:moveTo>
                  <a:lnTo>
                    <a:pt x="135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2" y="3"/>
                  </a:lnTo>
                  <a:lnTo>
                    <a:pt x="133" y="2"/>
                  </a:lnTo>
                  <a:lnTo>
                    <a:pt x="133" y="3"/>
                  </a:lnTo>
                  <a:lnTo>
                    <a:pt x="133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4" y="2"/>
                  </a:lnTo>
                  <a:close/>
                  <a:moveTo>
                    <a:pt x="127" y="1"/>
                  </a:move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close/>
                  <a:moveTo>
                    <a:pt x="128" y="1"/>
                  </a:moveTo>
                  <a:lnTo>
                    <a:pt x="129" y="1"/>
                  </a:lnTo>
                  <a:lnTo>
                    <a:pt x="129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2"/>
                  </a:lnTo>
                  <a:lnTo>
                    <a:pt x="131" y="2"/>
                  </a:lnTo>
                  <a:lnTo>
                    <a:pt x="131" y="1"/>
                  </a:lnTo>
                  <a:lnTo>
                    <a:pt x="131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3"/>
                  </a:lnTo>
                  <a:lnTo>
                    <a:pt x="130" y="3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9" y="2"/>
                  </a:lnTo>
                  <a:lnTo>
                    <a:pt x="129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close/>
                  <a:moveTo>
                    <a:pt x="127" y="0"/>
                  </a:moveTo>
                  <a:lnTo>
                    <a:pt x="126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8" name="Freeform 84"/>
            <p:cNvSpPr>
              <a:spLocks noEditPoints="1"/>
            </p:cNvSpPr>
            <p:nvPr/>
          </p:nvSpPr>
          <p:spPr bwMode="auto">
            <a:xfrm>
              <a:off x="5806159" y="3078313"/>
              <a:ext cx="279340" cy="446417"/>
            </a:xfrm>
            <a:custGeom>
              <a:avLst/>
              <a:gdLst>
                <a:gd name="T0" fmla="*/ 19 w 214"/>
                <a:gd name="T1" fmla="*/ 322 h 324"/>
                <a:gd name="T2" fmla="*/ 7 w 214"/>
                <a:gd name="T3" fmla="*/ 310 h 324"/>
                <a:gd name="T4" fmla="*/ 49 w 214"/>
                <a:gd name="T5" fmla="*/ 308 h 324"/>
                <a:gd name="T6" fmla="*/ 5 w 214"/>
                <a:gd name="T7" fmla="*/ 302 h 324"/>
                <a:gd name="T8" fmla="*/ 4 w 214"/>
                <a:gd name="T9" fmla="*/ 297 h 324"/>
                <a:gd name="T10" fmla="*/ 5 w 214"/>
                <a:gd name="T11" fmla="*/ 292 h 324"/>
                <a:gd name="T12" fmla="*/ 3 w 214"/>
                <a:gd name="T13" fmla="*/ 288 h 324"/>
                <a:gd name="T14" fmla="*/ 1 w 214"/>
                <a:gd name="T15" fmla="*/ 285 h 324"/>
                <a:gd name="T16" fmla="*/ 2 w 214"/>
                <a:gd name="T17" fmla="*/ 279 h 324"/>
                <a:gd name="T18" fmla="*/ 5 w 214"/>
                <a:gd name="T19" fmla="*/ 276 h 324"/>
                <a:gd name="T20" fmla="*/ 13 w 214"/>
                <a:gd name="T21" fmla="*/ 266 h 324"/>
                <a:gd name="T22" fmla="*/ 16 w 214"/>
                <a:gd name="T23" fmla="*/ 260 h 324"/>
                <a:gd name="T24" fmla="*/ 34 w 214"/>
                <a:gd name="T25" fmla="*/ 259 h 324"/>
                <a:gd name="T26" fmla="*/ 28 w 214"/>
                <a:gd name="T27" fmla="*/ 255 h 324"/>
                <a:gd name="T28" fmla="*/ 29 w 214"/>
                <a:gd name="T29" fmla="*/ 254 h 324"/>
                <a:gd name="T30" fmla="*/ 27 w 214"/>
                <a:gd name="T31" fmla="*/ 253 h 324"/>
                <a:gd name="T32" fmla="*/ 30 w 214"/>
                <a:gd name="T33" fmla="*/ 251 h 324"/>
                <a:gd name="T34" fmla="*/ 38 w 214"/>
                <a:gd name="T35" fmla="*/ 249 h 324"/>
                <a:gd name="T36" fmla="*/ 32 w 214"/>
                <a:gd name="T37" fmla="*/ 249 h 324"/>
                <a:gd name="T38" fmla="*/ 34 w 214"/>
                <a:gd name="T39" fmla="*/ 248 h 324"/>
                <a:gd name="T40" fmla="*/ 31 w 214"/>
                <a:gd name="T41" fmla="*/ 247 h 324"/>
                <a:gd name="T42" fmla="*/ 32 w 214"/>
                <a:gd name="T43" fmla="*/ 246 h 324"/>
                <a:gd name="T44" fmla="*/ 37 w 214"/>
                <a:gd name="T45" fmla="*/ 244 h 324"/>
                <a:gd name="T46" fmla="*/ 55 w 214"/>
                <a:gd name="T47" fmla="*/ 239 h 324"/>
                <a:gd name="T48" fmla="*/ 51 w 214"/>
                <a:gd name="T49" fmla="*/ 236 h 324"/>
                <a:gd name="T50" fmla="*/ 54 w 214"/>
                <a:gd name="T51" fmla="*/ 234 h 324"/>
                <a:gd name="T52" fmla="*/ 53 w 214"/>
                <a:gd name="T53" fmla="*/ 233 h 324"/>
                <a:gd name="T54" fmla="*/ 55 w 214"/>
                <a:gd name="T55" fmla="*/ 232 h 324"/>
                <a:gd name="T56" fmla="*/ 53 w 214"/>
                <a:gd name="T57" fmla="*/ 231 h 324"/>
                <a:gd name="T58" fmla="*/ 60 w 214"/>
                <a:gd name="T59" fmla="*/ 228 h 324"/>
                <a:gd name="T60" fmla="*/ 58 w 214"/>
                <a:gd name="T61" fmla="*/ 223 h 324"/>
                <a:gd name="T62" fmla="*/ 61 w 214"/>
                <a:gd name="T63" fmla="*/ 222 h 324"/>
                <a:gd name="T64" fmla="*/ 60 w 214"/>
                <a:gd name="T65" fmla="*/ 220 h 324"/>
                <a:gd name="T66" fmla="*/ 65 w 214"/>
                <a:gd name="T67" fmla="*/ 219 h 324"/>
                <a:gd name="T68" fmla="*/ 61 w 214"/>
                <a:gd name="T69" fmla="*/ 219 h 324"/>
                <a:gd name="T70" fmla="*/ 58 w 214"/>
                <a:gd name="T71" fmla="*/ 217 h 324"/>
                <a:gd name="T72" fmla="*/ 65 w 214"/>
                <a:gd name="T73" fmla="*/ 216 h 324"/>
                <a:gd name="T74" fmla="*/ 62 w 214"/>
                <a:gd name="T75" fmla="*/ 214 h 324"/>
                <a:gd name="T76" fmla="*/ 66 w 214"/>
                <a:gd name="T77" fmla="*/ 213 h 324"/>
                <a:gd name="T78" fmla="*/ 69 w 214"/>
                <a:gd name="T79" fmla="*/ 211 h 324"/>
                <a:gd name="T80" fmla="*/ 65 w 214"/>
                <a:gd name="T81" fmla="*/ 210 h 324"/>
                <a:gd name="T82" fmla="*/ 66 w 214"/>
                <a:gd name="T83" fmla="*/ 208 h 324"/>
                <a:gd name="T84" fmla="*/ 65 w 214"/>
                <a:gd name="T85" fmla="*/ 207 h 324"/>
                <a:gd name="T86" fmla="*/ 68 w 214"/>
                <a:gd name="T87" fmla="*/ 206 h 324"/>
                <a:gd name="T88" fmla="*/ 75 w 214"/>
                <a:gd name="T89" fmla="*/ 202 h 324"/>
                <a:gd name="T90" fmla="*/ 76 w 214"/>
                <a:gd name="T91" fmla="*/ 200 h 324"/>
                <a:gd name="T92" fmla="*/ 80 w 214"/>
                <a:gd name="T93" fmla="*/ 198 h 324"/>
                <a:gd name="T94" fmla="*/ 82 w 214"/>
                <a:gd name="T95" fmla="*/ 196 h 324"/>
                <a:gd name="T96" fmla="*/ 83 w 214"/>
                <a:gd name="T97" fmla="*/ 193 h 324"/>
                <a:gd name="T98" fmla="*/ 86 w 214"/>
                <a:gd name="T99" fmla="*/ 191 h 324"/>
                <a:gd name="T100" fmla="*/ 73 w 214"/>
                <a:gd name="T101" fmla="*/ 188 h 324"/>
                <a:gd name="T102" fmla="*/ 82 w 214"/>
                <a:gd name="T103" fmla="*/ 187 h 324"/>
                <a:gd name="T104" fmla="*/ 74 w 214"/>
                <a:gd name="T105" fmla="*/ 185 h 324"/>
                <a:gd name="T106" fmla="*/ 90 w 214"/>
                <a:gd name="T107" fmla="*/ 184 h 324"/>
                <a:gd name="T108" fmla="*/ 97 w 214"/>
                <a:gd name="T109" fmla="*/ 178 h 324"/>
                <a:gd name="T110" fmla="*/ 96 w 214"/>
                <a:gd name="T111" fmla="*/ 174 h 324"/>
                <a:gd name="T112" fmla="*/ 142 w 214"/>
                <a:gd name="T113" fmla="*/ 164 h 324"/>
                <a:gd name="T114" fmla="*/ 165 w 214"/>
                <a:gd name="T115" fmla="*/ 159 h 324"/>
                <a:gd name="T116" fmla="*/ 191 w 214"/>
                <a:gd name="T117" fmla="*/ 155 h 324"/>
                <a:gd name="T118" fmla="*/ 166 w 214"/>
                <a:gd name="T119" fmla="*/ 146 h 324"/>
                <a:gd name="T120" fmla="*/ 103 w 214"/>
                <a:gd name="T121" fmla="*/ 40 h 324"/>
                <a:gd name="T122" fmla="*/ 190 w 214"/>
                <a:gd name="T123" fmla="*/ 26 h 324"/>
                <a:gd name="T124" fmla="*/ 112 w 214"/>
                <a:gd name="T125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324">
                  <a:moveTo>
                    <a:pt x="25" y="324"/>
                  </a:moveTo>
                  <a:lnTo>
                    <a:pt x="25" y="324"/>
                  </a:lnTo>
                  <a:lnTo>
                    <a:pt x="25" y="324"/>
                  </a:lnTo>
                  <a:close/>
                  <a:moveTo>
                    <a:pt x="24" y="324"/>
                  </a:moveTo>
                  <a:lnTo>
                    <a:pt x="24" y="323"/>
                  </a:lnTo>
                  <a:lnTo>
                    <a:pt x="24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3"/>
                  </a:moveTo>
                  <a:lnTo>
                    <a:pt x="25" y="324"/>
                  </a:lnTo>
                  <a:lnTo>
                    <a:pt x="25" y="323"/>
                  </a:lnTo>
                  <a:close/>
                  <a:moveTo>
                    <a:pt x="22" y="324"/>
                  </a:moveTo>
                  <a:lnTo>
                    <a:pt x="21" y="324"/>
                  </a:lnTo>
                  <a:lnTo>
                    <a:pt x="22" y="323"/>
                  </a:lnTo>
                  <a:lnTo>
                    <a:pt x="22" y="324"/>
                  </a:lnTo>
                  <a:close/>
                  <a:moveTo>
                    <a:pt x="24" y="323"/>
                  </a:moveTo>
                  <a:lnTo>
                    <a:pt x="24" y="324"/>
                  </a:lnTo>
                  <a:lnTo>
                    <a:pt x="24" y="323"/>
                  </a:lnTo>
                  <a:close/>
                  <a:moveTo>
                    <a:pt x="26" y="323"/>
                  </a:moveTo>
                  <a:lnTo>
                    <a:pt x="25" y="323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5" y="322"/>
                  </a:moveTo>
                  <a:lnTo>
                    <a:pt x="25" y="323"/>
                  </a:lnTo>
                  <a:lnTo>
                    <a:pt x="25" y="322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5" y="322"/>
                  </a:ln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6" y="322"/>
                  </a:moveTo>
                  <a:lnTo>
                    <a:pt x="26" y="323"/>
                  </a:lnTo>
                  <a:lnTo>
                    <a:pt x="26" y="322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2"/>
                  </a:moveTo>
                  <a:lnTo>
                    <a:pt x="27" y="323"/>
                  </a:lnTo>
                  <a:lnTo>
                    <a:pt x="27" y="322"/>
                  </a:lnTo>
                  <a:close/>
                  <a:moveTo>
                    <a:pt x="20" y="322"/>
                  </a:moveTo>
                  <a:lnTo>
                    <a:pt x="21" y="322"/>
                  </a:lnTo>
                  <a:lnTo>
                    <a:pt x="20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9" y="322"/>
                  </a:moveTo>
                  <a:lnTo>
                    <a:pt x="29" y="322"/>
                  </a:lnTo>
                  <a:lnTo>
                    <a:pt x="29" y="322"/>
                  </a:lnTo>
                  <a:close/>
                  <a:moveTo>
                    <a:pt x="29" y="322"/>
                  </a:moveTo>
                  <a:lnTo>
                    <a:pt x="28" y="322"/>
                  </a:lnTo>
                  <a:lnTo>
                    <a:pt x="29" y="322"/>
                  </a:lnTo>
                  <a:close/>
                  <a:moveTo>
                    <a:pt x="30" y="322"/>
                  </a:moveTo>
                  <a:lnTo>
                    <a:pt x="31" y="322"/>
                  </a:lnTo>
                  <a:lnTo>
                    <a:pt x="30" y="322"/>
                  </a:lnTo>
                  <a:close/>
                  <a:moveTo>
                    <a:pt x="28" y="321"/>
                  </a:moveTo>
                  <a:lnTo>
                    <a:pt x="28" y="322"/>
                  </a:lnTo>
                  <a:lnTo>
                    <a:pt x="28" y="321"/>
                  </a:lnTo>
                  <a:close/>
                  <a:moveTo>
                    <a:pt x="31" y="321"/>
                  </a:moveTo>
                  <a:lnTo>
                    <a:pt x="31" y="321"/>
                  </a:lnTo>
                  <a:lnTo>
                    <a:pt x="31" y="321"/>
                  </a:lnTo>
                  <a:close/>
                  <a:moveTo>
                    <a:pt x="31" y="321"/>
                  </a:moveTo>
                  <a:lnTo>
                    <a:pt x="31" y="320"/>
                  </a:lnTo>
                  <a:lnTo>
                    <a:pt x="31" y="321"/>
                  </a:lnTo>
                  <a:close/>
                  <a:moveTo>
                    <a:pt x="33" y="319"/>
                  </a:moveTo>
                  <a:lnTo>
                    <a:pt x="33" y="319"/>
                  </a:lnTo>
                  <a:lnTo>
                    <a:pt x="33" y="319"/>
                  </a:lnTo>
                  <a:close/>
                  <a:moveTo>
                    <a:pt x="35" y="318"/>
                  </a:moveTo>
                  <a:lnTo>
                    <a:pt x="34" y="318"/>
                  </a:lnTo>
                  <a:lnTo>
                    <a:pt x="35" y="318"/>
                  </a:lnTo>
                  <a:close/>
                  <a:moveTo>
                    <a:pt x="12" y="318"/>
                  </a:moveTo>
                  <a:lnTo>
                    <a:pt x="12" y="318"/>
                  </a:lnTo>
                  <a:lnTo>
                    <a:pt x="12" y="318"/>
                  </a:lnTo>
                  <a:close/>
                  <a:moveTo>
                    <a:pt x="36" y="317"/>
                  </a:moveTo>
                  <a:lnTo>
                    <a:pt x="36" y="316"/>
                  </a:lnTo>
                  <a:lnTo>
                    <a:pt x="36" y="317"/>
                  </a:lnTo>
                  <a:close/>
                  <a:moveTo>
                    <a:pt x="38" y="315"/>
                  </a:moveTo>
                  <a:lnTo>
                    <a:pt x="38" y="315"/>
                  </a:lnTo>
                  <a:lnTo>
                    <a:pt x="38" y="315"/>
                  </a:lnTo>
                  <a:close/>
                  <a:moveTo>
                    <a:pt x="39" y="312"/>
                  </a:moveTo>
                  <a:lnTo>
                    <a:pt x="39" y="313"/>
                  </a:lnTo>
                  <a:lnTo>
                    <a:pt x="39" y="312"/>
                  </a:lnTo>
                  <a:close/>
                  <a:moveTo>
                    <a:pt x="41" y="312"/>
                  </a:moveTo>
                  <a:lnTo>
                    <a:pt x="41" y="311"/>
                  </a:lnTo>
                  <a:lnTo>
                    <a:pt x="41" y="312"/>
                  </a:lnTo>
                  <a:close/>
                  <a:moveTo>
                    <a:pt x="44" y="311"/>
                  </a:moveTo>
                  <a:lnTo>
                    <a:pt x="43" y="311"/>
                  </a:lnTo>
                  <a:lnTo>
                    <a:pt x="44" y="311"/>
                  </a:lnTo>
                  <a:close/>
                  <a:moveTo>
                    <a:pt x="42" y="311"/>
                  </a:moveTo>
                  <a:lnTo>
                    <a:pt x="42" y="311"/>
                  </a:lnTo>
                  <a:lnTo>
                    <a:pt x="42" y="311"/>
                  </a:lnTo>
                  <a:close/>
                  <a:moveTo>
                    <a:pt x="8" y="311"/>
                  </a:moveTo>
                  <a:lnTo>
                    <a:pt x="8" y="311"/>
                  </a:lnTo>
                  <a:lnTo>
                    <a:pt x="8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11" y="311"/>
                  </a:moveTo>
                  <a:lnTo>
                    <a:pt x="11" y="310"/>
                  </a:lnTo>
                  <a:lnTo>
                    <a:pt x="11" y="311"/>
                  </a:lnTo>
                  <a:close/>
                  <a:moveTo>
                    <a:pt x="11" y="310"/>
                  </a:moveTo>
                  <a:lnTo>
                    <a:pt x="10" y="310"/>
                  </a:lnTo>
                  <a:lnTo>
                    <a:pt x="11" y="310"/>
                  </a:lnTo>
                  <a:close/>
                  <a:moveTo>
                    <a:pt x="10" y="310"/>
                  </a:moveTo>
                  <a:lnTo>
                    <a:pt x="10" y="310"/>
                  </a:lnTo>
                  <a:lnTo>
                    <a:pt x="10" y="310"/>
                  </a:lnTo>
                  <a:close/>
                  <a:moveTo>
                    <a:pt x="7" y="310"/>
                  </a:moveTo>
                  <a:lnTo>
                    <a:pt x="8" y="310"/>
                  </a:lnTo>
                  <a:lnTo>
                    <a:pt x="7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43" y="310"/>
                  </a:moveTo>
                  <a:lnTo>
                    <a:pt x="42" y="310"/>
                  </a:lnTo>
                  <a:lnTo>
                    <a:pt x="43" y="310"/>
                  </a:lnTo>
                  <a:close/>
                  <a:moveTo>
                    <a:pt x="9" y="310"/>
                  </a:moveTo>
                  <a:lnTo>
                    <a:pt x="9" y="310"/>
                  </a:lnTo>
                  <a:lnTo>
                    <a:pt x="9" y="310"/>
                  </a:lnTo>
                  <a:close/>
                  <a:moveTo>
                    <a:pt x="48" y="310"/>
                  </a:moveTo>
                  <a:lnTo>
                    <a:pt x="47" y="310"/>
                  </a:lnTo>
                  <a:lnTo>
                    <a:pt x="4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46" y="310"/>
                  </a:moveTo>
                  <a:lnTo>
                    <a:pt x="46" y="310"/>
                  </a:lnTo>
                  <a:lnTo>
                    <a:pt x="46" y="310"/>
                  </a:lnTo>
                  <a:close/>
                  <a:moveTo>
                    <a:pt x="8" y="310"/>
                  </a:moveTo>
                  <a:lnTo>
                    <a:pt x="8" y="309"/>
                  </a:lnTo>
                  <a:lnTo>
                    <a:pt x="8" y="310"/>
                  </a:lnTo>
                  <a:close/>
                  <a:moveTo>
                    <a:pt x="9" y="309"/>
                  </a:moveTo>
                  <a:lnTo>
                    <a:pt x="9" y="310"/>
                  </a:lnTo>
                  <a:lnTo>
                    <a:pt x="9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53" y="309"/>
                  </a:moveTo>
                  <a:lnTo>
                    <a:pt x="52" y="309"/>
                  </a:lnTo>
                  <a:lnTo>
                    <a:pt x="53" y="309"/>
                  </a:lnTo>
                  <a:close/>
                  <a:moveTo>
                    <a:pt x="11" y="309"/>
                  </a:moveTo>
                  <a:lnTo>
                    <a:pt x="11" y="309"/>
                  </a:lnTo>
                  <a:lnTo>
                    <a:pt x="11" y="309"/>
                  </a:lnTo>
                  <a:close/>
                  <a:moveTo>
                    <a:pt x="51" y="309"/>
                  </a:moveTo>
                  <a:lnTo>
                    <a:pt x="51" y="309"/>
                  </a:lnTo>
                  <a:lnTo>
                    <a:pt x="51" y="309"/>
                  </a:lnTo>
                  <a:close/>
                  <a:moveTo>
                    <a:pt x="47" y="309"/>
                  </a:moveTo>
                  <a:lnTo>
                    <a:pt x="47" y="309"/>
                  </a:lnTo>
                  <a:lnTo>
                    <a:pt x="47" y="309"/>
                  </a:lnTo>
                  <a:close/>
                  <a:moveTo>
                    <a:pt x="6" y="309"/>
                  </a:moveTo>
                  <a:lnTo>
                    <a:pt x="6" y="309"/>
                  </a:lnTo>
                  <a:lnTo>
                    <a:pt x="6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49" y="309"/>
                  </a:moveTo>
                  <a:lnTo>
                    <a:pt x="49" y="308"/>
                  </a:lnTo>
                  <a:lnTo>
                    <a:pt x="49" y="309"/>
                  </a:lnTo>
                  <a:close/>
                  <a:moveTo>
                    <a:pt x="54" y="309"/>
                  </a:moveTo>
                  <a:lnTo>
                    <a:pt x="54" y="308"/>
                  </a:lnTo>
                  <a:lnTo>
                    <a:pt x="54" y="309"/>
                  </a:lnTo>
                  <a:close/>
                  <a:moveTo>
                    <a:pt x="8" y="309"/>
                  </a:moveTo>
                  <a:lnTo>
                    <a:pt x="8" y="308"/>
                  </a:lnTo>
                  <a:lnTo>
                    <a:pt x="8" y="309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8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8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7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8" y="308"/>
                  </a:lnTo>
                  <a:lnTo>
                    <a:pt x="48" y="307"/>
                  </a:ln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48" y="307"/>
                  </a:moveTo>
                  <a:lnTo>
                    <a:pt x="48" y="308"/>
                  </a:lnTo>
                  <a:lnTo>
                    <a:pt x="48" y="307"/>
                  </a:lnTo>
                  <a:close/>
                  <a:moveTo>
                    <a:pt x="49" y="307"/>
                  </a:moveTo>
                  <a:lnTo>
                    <a:pt x="48" y="307"/>
                  </a:lnTo>
                  <a:lnTo>
                    <a:pt x="49" y="307"/>
                  </a:lnTo>
                  <a:close/>
                  <a:moveTo>
                    <a:pt x="10" y="307"/>
                  </a:moveTo>
                  <a:lnTo>
                    <a:pt x="10" y="307"/>
                  </a:lnTo>
                  <a:lnTo>
                    <a:pt x="10" y="307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7" y="307"/>
                  </a:moveTo>
                  <a:lnTo>
                    <a:pt x="7" y="307"/>
                  </a:lnTo>
                  <a:lnTo>
                    <a:pt x="7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6"/>
                  </a:moveTo>
                  <a:lnTo>
                    <a:pt x="5" y="306"/>
                  </a:lnTo>
                  <a:lnTo>
                    <a:pt x="6" y="306"/>
                  </a:lnTo>
                  <a:close/>
                  <a:moveTo>
                    <a:pt x="50" y="306"/>
                  </a:moveTo>
                  <a:lnTo>
                    <a:pt x="49" y="306"/>
                  </a:lnTo>
                  <a:lnTo>
                    <a:pt x="50" y="306"/>
                  </a:lnTo>
                  <a:close/>
                  <a:moveTo>
                    <a:pt x="5" y="306"/>
                  </a:moveTo>
                  <a:lnTo>
                    <a:pt x="6" y="306"/>
                  </a:lnTo>
                  <a:lnTo>
                    <a:pt x="5" y="306"/>
                  </a:lnTo>
                  <a:close/>
                  <a:moveTo>
                    <a:pt x="49" y="305"/>
                  </a:moveTo>
                  <a:lnTo>
                    <a:pt x="49" y="305"/>
                  </a:lnTo>
                  <a:lnTo>
                    <a:pt x="49" y="305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8" y="303"/>
                  </a:moveTo>
                  <a:lnTo>
                    <a:pt x="8" y="302"/>
                  </a:lnTo>
                  <a:lnTo>
                    <a:pt x="8" y="303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8" y="302"/>
                  </a:moveTo>
                  <a:lnTo>
                    <a:pt x="8" y="302"/>
                  </a:lnTo>
                  <a:lnTo>
                    <a:pt x="8" y="302"/>
                  </a:lnTo>
                  <a:close/>
                  <a:moveTo>
                    <a:pt x="49" y="302"/>
                  </a:moveTo>
                  <a:lnTo>
                    <a:pt x="49" y="302"/>
                  </a:lnTo>
                  <a:lnTo>
                    <a:pt x="49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11" y="301"/>
                  </a:moveTo>
                  <a:lnTo>
                    <a:pt x="10" y="301"/>
                  </a:lnTo>
                  <a:lnTo>
                    <a:pt x="11" y="301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9" y="300"/>
                  </a:moveTo>
                  <a:lnTo>
                    <a:pt x="9" y="300"/>
                  </a:lnTo>
                  <a:lnTo>
                    <a:pt x="9" y="300"/>
                  </a:lnTo>
                  <a:close/>
                  <a:moveTo>
                    <a:pt x="49" y="299"/>
                  </a:moveTo>
                  <a:lnTo>
                    <a:pt x="49" y="300"/>
                  </a:lnTo>
                  <a:lnTo>
                    <a:pt x="49" y="299"/>
                  </a:lnTo>
                  <a:close/>
                  <a:moveTo>
                    <a:pt x="49" y="300"/>
                  </a:moveTo>
                  <a:lnTo>
                    <a:pt x="49" y="299"/>
                  </a:lnTo>
                  <a:lnTo>
                    <a:pt x="49" y="300"/>
                  </a:lnTo>
                  <a:close/>
                  <a:moveTo>
                    <a:pt x="50" y="299"/>
                  </a:move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close/>
                  <a:moveTo>
                    <a:pt x="5" y="299"/>
                  </a:moveTo>
                  <a:lnTo>
                    <a:pt x="4" y="299"/>
                  </a:lnTo>
                  <a:lnTo>
                    <a:pt x="5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9"/>
                  </a:moveTo>
                  <a:lnTo>
                    <a:pt x="6" y="299"/>
                  </a:lnTo>
                  <a:lnTo>
                    <a:pt x="6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8"/>
                  </a:moveTo>
                  <a:lnTo>
                    <a:pt x="6" y="299"/>
                  </a:lnTo>
                  <a:lnTo>
                    <a:pt x="6" y="298"/>
                  </a:lnTo>
                  <a:close/>
                  <a:moveTo>
                    <a:pt x="7" y="298"/>
                  </a:moveTo>
                  <a:lnTo>
                    <a:pt x="6" y="298"/>
                  </a:lnTo>
                  <a:lnTo>
                    <a:pt x="7" y="298"/>
                  </a:lnTo>
                  <a:close/>
                  <a:moveTo>
                    <a:pt x="10" y="298"/>
                  </a:moveTo>
                  <a:lnTo>
                    <a:pt x="10" y="298"/>
                  </a:lnTo>
                  <a:lnTo>
                    <a:pt x="10" y="298"/>
                  </a:lnTo>
                  <a:close/>
                  <a:moveTo>
                    <a:pt x="4" y="298"/>
                  </a:moveTo>
                  <a:lnTo>
                    <a:pt x="4" y="297"/>
                  </a:lnTo>
                  <a:lnTo>
                    <a:pt x="4" y="298"/>
                  </a:lnTo>
                  <a:close/>
                  <a:moveTo>
                    <a:pt x="4" y="297"/>
                  </a:moveTo>
                  <a:lnTo>
                    <a:pt x="5" y="297"/>
                  </a:lnTo>
                  <a:lnTo>
                    <a:pt x="4" y="297"/>
                  </a:lnTo>
                  <a:close/>
                  <a:moveTo>
                    <a:pt x="5" y="296"/>
                  </a:moveTo>
                  <a:lnTo>
                    <a:pt x="5" y="297"/>
                  </a:lnTo>
                  <a:lnTo>
                    <a:pt x="5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10" y="296"/>
                  </a:moveTo>
                  <a:lnTo>
                    <a:pt x="10" y="296"/>
                  </a:lnTo>
                  <a:lnTo>
                    <a:pt x="10" y="296"/>
                  </a:lnTo>
                  <a:close/>
                  <a:moveTo>
                    <a:pt x="9" y="296"/>
                  </a:moveTo>
                  <a:lnTo>
                    <a:pt x="9" y="295"/>
                  </a:lnTo>
                  <a:lnTo>
                    <a:pt x="9" y="296"/>
                  </a:lnTo>
                  <a:close/>
                  <a:moveTo>
                    <a:pt x="7" y="295"/>
                  </a:moveTo>
                  <a:lnTo>
                    <a:pt x="7" y="296"/>
                  </a:lnTo>
                  <a:lnTo>
                    <a:pt x="7" y="295"/>
                  </a:lnTo>
                  <a:close/>
                  <a:moveTo>
                    <a:pt x="4" y="296"/>
                  </a:moveTo>
                  <a:lnTo>
                    <a:pt x="4" y="295"/>
                  </a:lnTo>
                  <a:lnTo>
                    <a:pt x="4" y="296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4" y="295"/>
                  </a:moveTo>
                  <a:lnTo>
                    <a:pt x="4" y="295"/>
                  </a:lnTo>
                  <a:lnTo>
                    <a:pt x="4" y="295"/>
                  </a:lnTo>
                  <a:close/>
                  <a:moveTo>
                    <a:pt x="7" y="294"/>
                  </a:moveTo>
                  <a:lnTo>
                    <a:pt x="6" y="294"/>
                  </a:lnTo>
                  <a:lnTo>
                    <a:pt x="7" y="294"/>
                  </a:lnTo>
                  <a:close/>
                  <a:moveTo>
                    <a:pt x="6" y="294"/>
                  </a:moveTo>
                  <a:lnTo>
                    <a:pt x="5" y="294"/>
                  </a:lnTo>
                  <a:lnTo>
                    <a:pt x="6" y="294"/>
                  </a:lnTo>
                  <a:close/>
                  <a:moveTo>
                    <a:pt x="5" y="294"/>
                  </a:moveTo>
                  <a:lnTo>
                    <a:pt x="5" y="293"/>
                  </a:lnTo>
                  <a:lnTo>
                    <a:pt x="5" y="294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15" y="293"/>
                  </a:moveTo>
                  <a:lnTo>
                    <a:pt x="14" y="293"/>
                  </a:lnTo>
                  <a:lnTo>
                    <a:pt x="15" y="293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4" y="292"/>
                  </a:moveTo>
                  <a:lnTo>
                    <a:pt x="4" y="293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3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2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4" y="292"/>
                  </a:lnTo>
                  <a:lnTo>
                    <a:pt x="5" y="292"/>
                  </a:lnTo>
                  <a:close/>
                  <a:moveTo>
                    <a:pt x="4" y="291"/>
                  </a:moveTo>
                  <a:lnTo>
                    <a:pt x="3" y="291"/>
                  </a:lnTo>
                  <a:lnTo>
                    <a:pt x="4" y="291"/>
                  </a:lnTo>
                  <a:close/>
                  <a:moveTo>
                    <a:pt x="3" y="291"/>
                  </a:moveTo>
                  <a:lnTo>
                    <a:pt x="2" y="291"/>
                  </a:lnTo>
                  <a:lnTo>
                    <a:pt x="3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2" y="290"/>
                  </a:moveTo>
                  <a:lnTo>
                    <a:pt x="2" y="291"/>
                  </a:lnTo>
                  <a:lnTo>
                    <a:pt x="2" y="290"/>
                  </a:lnTo>
                  <a:lnTo>
                    <a:pt x="2" y="291"/>
                  </a:lnTo>
                  <a:lnTo>
                    <a:pt x="2" y="290"/>
                  </a:lnTo>
                  <a:close/>
                  <a:moveTo>
                    <a:pt x="4" y="290"/>
                  </a:move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2" y="290"/>
                  </a:moveTo>
                  <a:lnTo>
                    <a:pt x="2" y="290"/>
                  </a:lnTo>
                  <a:lnTo>
                    <a:pt x="2" y="290"/>
                  </a:lnTo>
                  <a:close/>
                  <a:moveTo>
                    <a:pt x="3" y="290"/>
                  </a:moveTo>
                  <a:lnTo>
                    <a:pt x="3" y="289"/>
                  </a:lnTo>
                  <a:lnTo>
                    <a:pt x="3" y="290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4" y="289"/>
                  </a:moveTo>
                  <a:lnTo>
                    <a:pt x="4" y="289"/>
                  </a:lnTo>
                  <a:lnTo>
                    <a:pt x="4" y="289"/>
                  </a:lnTo>
                  <a:close/>
                  <a:moveTo>
                    <a:pt x="5" y="289"/>
                  </a:moveTo>
                  <a:lnTo>
                    <a:pt x="5" y="289"/>
                  </a:lnTo>
                  <a:lnTo>
                    <a:pt x="5" y="289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2" y="289"/>
                  </a:moveTo>
                  <a:lnTo>
                    <a:pt x="2" y="288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3" y="288"/>
                  </a:lnTo>
                  <a:lnTo>
                    <a:pt x="4" y="288"/>
                  </a:lnTo>
                  <a:close/>
                  <a:moveTo>
                    <a:pt x="3" y="288"/>
                  </a:moveTo>
                  <a:lnTo>
                    <a:pt x="2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4" y="287"/>
                  </a:moveTo>
                  <a:lnTo>
                    <a:pt x="3" y="287"/>
                  </a:lnTo>
                  <a:lnTo>
                    <a:pt x="4" y="287"/>
                  </a:lnTo>
                  <a:close/>
                  <a:moveTo>
                    <a:pt x="6" y="287"/>
                  </a:move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4" y="286"/>
                  </a:moveTo>
                  <a:lnTo>
                    <a:pt x="4" y="287"/>
                  </a:lnTo>
                  <a:lnTo>
                    <a:pt x="4" y="286"/>
                  </a:lnTo>
                  <a:close/>
                  <a:moveTo>
                    <a:pt x="3" y="287"/>
                  </a:moveTo>
                  <a:lnTo>
                    <a:pt x="3" y="286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4" y="285"/>
                  </a:lnTo>
                  <a:lnTo>
                    <a:pt x="3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1" y="285"/>
                  </a:moveTo>
                  <a:lnTo>
                    <a:pt x="1" y="284"/>
                  </a:lnTo>
                  <a:lnTo>
                    <a:pt x="1" y="285"/>
                  </a:lnTo>
                  <a:close/>
                  <a:moveTo>
                    <a:pt x="1" y="284"/>
                  </a:moveTo>
                  <a:lnTo>
                    <a:pt x="0" y="284"/>
                  </a:lnTo>
                  <a:lnTo>
                    <a:pt x="1" y="284"/>
                  </a:lnTo>
                  <a:close/>
                  <a:moveTo>
                    <a:pt x="4" y="284"/>
                  </a:move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1" y="284"/>
                  </a:moveTo>
                  <a:lnTo>
                    <a:pt x="1" y="283"/>
                  </a:lnTo>
                  <a:lnTo>
                    <a:pt x="1" y="284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1" y="283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2" y="283"/>
                  </a:lnTo>
                  <a:lnTo>
                    <a:pt x="2" y="283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2" y="282"/>
                  </a:moveTo>
                  <a:lnTo>
                    <a:pt x="2" y="282"/>
                  </a:lnTo>
                  <a:lnTo>
                    <a:pt x="2" y="282"/>
                  </a:lnTo>
                  <a:close/>
                  <a:moveTo>
                    <a:pt x="4" y="281"/>
                  </a:moveTo>
                  <a:lnTo>
                    <a:pt x="4" y="282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4" y="281"/>
                  </a:moveTo>
                  <a:lnTo>
                    <a:pt x="4" y="281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1" y="281"/>
                  </a:moveTo>
                  <a:lnTo>
                    <a:pt x="1" y="281"/>
                  </a:lnTo>
                  <a:lnTo>
                    <a:pt x="1" y="281"/>
                  </a:lnTo>
                  <a:close/>
                  <a:moveTo>
                    <a:pt x="2" y="281"/>
                  </a:moveTo>
                  <a:lnTo>
                    <a:pt x="2" y="280"/>
                  </a:lnTo>
                  <a:lnTo>
                    <a:pt x="2" y="281"/>
                  </a:lnTo>
                  <a:close/>
                  <a:moveTo>
                    <a:pt x="7" y="280"/>
                  </a:moveTo>
                  <a:lnTo>
                    <a:pt x="7" y="280"/>
                  </a:lnTo>
                  <a:lnTo>
                    <a:pt x="7" y="280"/>
                  </a:lnTo>
                  <a:close/>
                  <a:moveTo>
                    <a:pt x="3" y="280"/>
                  </a:move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4" y="280"/>
                  </a:moveTo>
                  <a:lnTo>
                    <a:pt x="3" y="280"/>
                  </a:lnTo>
                  <a:lnTo>
                    <a:pt x="4" y="280"/>
                  </a:lnTo>
                  <a:close/>
                  <a:moveTo>
                    <a:pt x="2" y="279"/>
                  </a:moveTo>
                  <a:lnTo>
                    <a:pt x="1" y="279"/>
                  </a:lnTo>
                  <a:lnTo>
                    <a:pt x="2" y="279"/>
                  </a:lnTo>
                  <a:close/>
                  <a:moveTo>
                    <a:pt x="4" y="279"/>
                  </a:moveTo>
                  <a:lnTo>
                    <a:pt x="3" y="279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close/>
                  <a:moveTo>
                    <a:pt x="8" y="278"/>
                  </a:moveTo>
                  <a:lnTo>
                    <a:pt x="8" y="279"/>
                  </a:lnTo>
                  <a:lnTo>
                    <a:pt x="8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3" y="278"/>
                  </a:move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4" y="277"/>
                  </a:moveTo>
                  <a:lnTo>
                    <a:pt x="5" y="277"/>
                  </a:lnTo>
                  <a:lnTo>
                    <a:pt x="4" y="277"/>
                  </a:lnTo>
                  <a:close/>
                  <a:moveTo>
                    <a:pt x="1" y="277"/>
                  </a:moveTo>
                  <a:lnTo>
                    <a:pt x="2" y="277"/>
                  </a:lnTo>
                  <a:lnTo>
                    <a:pt x="1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2" y="277"/>
                  </a:moveTo>
                  <a:lnTo>
                    <a:pt x="2" y="277"/>
                  </a:lnTo>
                  <a:lnTo>
                    <a:pt x="2" y="277"/>
                  </a:lnTo>
                  <a:close/>
                  <a:moveTo>
                    <a:pt x="6" y="277"/>
                  </a:moveTo>
                  <a:lnTo>
                    <a:pt x="6" y="277"/>
                  </a:lnTo>
                  <a:lnTo>
                    <a:pt x="6" y="277"/>
                  </a:lnTo>
                  <a:close/>
                  <a:moveTo>
                    <a:pt x="3" y="277"/>
                  </a:moveTo>
                  <a:lnTo>
                    <a:pt x="4" y="277"/>
                  </a:lnTo>
                  <a:lnTo>
                    <a:pt x="3" y="277"/>
                  </a:lnTo>
                  <a:close/>
                  <a:moveTo>
                    <a:pt x="6" y="277"/>
                  </a:moveTo>
                  <a:lnTo>
                    <a:pt x="5" y="277"/>
                  </a:lnTo>
                  <a:lnTo>
                    <a:pt x="6" y="277"/>
                  </a:lnTo>
                  <a:close/>
                  <a:moveTo>
                    <a:pt x="5" y="277"/>
                  </a:moveTo>
                  <a:lnTo>
                    <a:pt x="5" y="277"/>
                  </a:lnTo>
                  <a:lnTo>
                    <a:pt x="5" y="276"/>
                  </a:lnTo>
                  <a:lnTo>
                    <a:pt x="5" y="277"/>
                  </a:lnTo>
                  <a:lnTo>
                    <a:pt x="5" y="277"/>
                  </a:lnTo>
                  <a:close/>
                  <a:moveTo>
                    <a:pt x="2" y="276"/>
                  </a:moveTo>
                  <a:lnTo>
                    <a:pt x="3" y="277"/>
                  </a:lnTo>
                  <a:lnTo>
                    <a:pt x="2" y="277"/>
                  </a:lnTo>
                  <a:lnTo>
                    <a:pt x="2" y="276"/>
                  </a:lnTo>
                  <a:close/>
                  <a:moveTo>
                    <a:pt x="3" y="276"/>
                  </a:moveTo>
                  <a:lnTo>
                    <a:pt x="3" y="277"/>
                  </a:lnTo>
                  <a:lnTo>
                    <a:pt x="3" y="276"/>
                  </a:lnTo>
                  <a:close/>
                  <a:moveTo>
                    <a:pt x="5" y="277"/>
                  </a:moveTo>
                  <a:lnTo>
                    <a:pt x="5" y="276"/>
                  </a:lnTo>
                  <a:lnTo>
                    <a:pt x="5" y="277"/>
                  </a:lnTo>
                  <a:close/>
                  <a:moveTo>
                    <a:pt x="3" y="277"/>
                  </a:moveTo>
                  <a:lnTo>
                    <a:pt x="3" y="276"/>
                  </a:lnTo>
                  <a:lnTo>
                    <a:pt x="3" y="277"/>
                  </a:lnTo>
                  <a:close/>
                  <a:moveTo>
                    <a:pt x="4" y="276"/>
                  </a:moveTo>
                  <a:lnTo>
                    <a:pt x="4" y="276"/>
                  </a:lnTo>
                  <a:lnTo>
                    <a:pt x="4" y="276"/>
                  </a:lnTo>
                  <a:close/>
                  <a:moveTo>
                    <a:pt x="3" y="275"/>
                  </a:moveTo>
                  <a:lnTo>
                    <a:pt x="2" y="275"/>
                  </a:lnTo>
                  <a:lnTo>
                    <a:pt x="3" y="275"/>
                  </a:lnTo>
                  <a:close/>
                  <a:moveTo>
                    <a:pt x="2" y="275"/>
                  </a:moveTo>
                  <a:lnTo>
                    <a:pt x="3" y="275"/>
                  </a:lnTo>
                  <a:lnTo>
                    <a:pt x="2" y="275"/>
                  </a:lnTo>
                  <a:close/>
                  <a:moveTo>
                    <a:pt x="2" y="275"/>
                  </a:moveTo>
                  <a:lnTo>
                    <a:pt x="2" y="274"/>
                  </a:lnTo>
                  <a:lnTo>
                    <a:pt x="2" y="275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8" y="273"/>
                  </a:move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4" y="273"/>
                  </a:moveTo>
                  <a:lnTo>
                    <a:pt x="4" y="272"/>
                  </a:lnTo>
                  <a:lnTo>
                    <a:pt x="4" y="273"/>
                  </a:lnTo>
                  <a:close/>
                  <a:moveTo>
                    <a:pt x="7" y="271"/>
                  </a:moveTo>
                  <a:lnTo>
                    <a:pt x="6" y="271"/>
                  </a:lnTo>
                  <a:lnTo>
                    <a:pt x="7" y="271"/>
                  </a:lnTo>
                  <a:close/>
                  <a:moveTo>
                    <a:pt x="6" y="270"/>
                  </a:moveTo>
                  <a:lnTo>
                    <a:pt x="6" y="269"/>
                  </a:lnTo>
                  <a:lnTo>
                    <a:pt x="6" y="270"/>
                  </a:lnTo>
                  <a:close/>
                  <a:moveTo>
                    <a:pt x="8" y="269"/>
                  </a:moveTo>
                  <a:lnTo>
                    <a:pt x="7" y="269"/>
                  </a:lnTo>
                  <a:lnTo>
                    <a:pt x="8" y="269"/>
                  </a:lnTo>
                  <a:close/>
                  <a:moveTo>
                    <a:pt x="7" y="269"/>
                  </a:moveTo>
                  <a:lnTo>
                    <a:pt x="7" y="269"/>
                  </a:lnTo>
                  <a:lnTo>
                    <a:pt x="7" y="269"/>
                  </a:lnTo>
                  <a:close/>
                  <a:moveTo>
                    <a:pt x="11" y="269"/>
                  </a:moveTo>
                  <a:lnTo>
                    <a:pt x="11" y="268"/>
                  </a:lnTo>
                  <a:lnTo>
                    <a:pt x="11" y="269"/>
                  </a:lnTo>
                  <a:close/>
                  <a:moveTo>
                    <a:pt x="12" y="268"/>
                  </a:moveTo>
                  <a:lnTo>
                    <a:pt x="12" y="268"/>
                  </a:lnTo>
                  <a:lnTo>
                    <a:pt x="12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0" y="267"/>
                  </a:moveTo>
                  <a:lnTo>
                    <a:pt x="10" y="267"/>
                  </a:lnTo>
                  <a:lnTo>
                    <a:pt x="10" y="267"/>
                  </a:lnTo>
                  <a:close/>
                  <a:moveTo>
                    <a:pt x="10" y="267"/>
                  </a:moveTo>
                  <a:lnTo>
                    <a:pt x="9" y="267"/>
                  </a:lnTo>
                  <a:lnTo>
                    <a:pt x="10" y="267"/>
                  </a:lnTo>
                  <a:close/>
                  <a:moveTo>
                    <a:pt x="11" y="266"/>
                  </a:moveTo>
                  <a:lnTo>
                    <a:pt x="10" y="266"/>
                  </a:lnTo>
                  <a:lnTo>
                    <a:pt x="11" y="266"/>
                  </a:lnTo>
                  <a:close/>
                  <a:moveTo>
                    <a:pt x="14" y="266"/>
                  </a:moveTo>
                  <a:lnTo>
                    <a:pt x="13" y="266"/>
                  </a:lnTo>
                  <a:lnTo>
                    <a:pt x="14" y="266"/>
                  </a:lnTo>
                  <a:close/>
                  <a:moveTo>
                    <a:pt x="18" y="265"/>
                  </a:moveTo>
                  <a:lnTo>
                    <a:pt x="17" y="265"/>
                  </a:lnTo>
                  <a:lnTo>
                    <a:pt x="18" y="265"/>
                  </a:lnTo>
                  <a:close/>
                  <a:moveTo>
                    <a:pt x="15" y="265"/>
                  </a:moveTo>
                  <a:lnTo>
                    <a:pt x="15" y="265"/>
                  </a:lnTo>
                  <a:lnTo>
                    <a:pt x="15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7" y="265"/>
                  </a:moveTo>
                  <a:lnTo>
                    <a:pt x="17" y="265"/>
                  </a:lnTo>
                  <a:lnTo>
                    <a:pt x="17" y="265"/>
                  </a:lnTo>
                  <a:close/>
                  <a:moveTo>
                    <a:pt x="15" y="265"/>
                  </a:moveTo>
                  <a:lnTo>
                    <a:pt x="14" y="265"/>
                  </a:lnTo>
                  <a:lnTo>
                    <a:pt x="15" y="265"/>
                  </a:lnTo>
                  <a:close/>
                  <a:moveTo>
                    <a:pt x="12" y="264"/>
                  </a:moveTo>
                  <a:lnTo>
                    <a:pt x="12" y="265"/>
                  </a:lnTo>
                  <a:lnTo>
                    <a:pt x="12" y="264"/>
                  </a:lnTo>
                  <a:close/>
                  <a:moveTo>
                    <a:pt x="17" y="263"/>
                  </a:moveTo>
                  <a:lnTo>
                    <a:pt x="17" y="263"/>
                  </a:lnTo>
                  <a:lnTo>
                    <a:pt x="17" y="263"/>
                  </a:lnTo>
                  <a:close/>
                  <a:moveTo>
                    <a:pt x="13" y="263"/>
                  </a:moveTo>
                  <a:lnTo>
                    <a:pt x="13" y="263"/>
                  </a:lnTo>
                  <a:lnTo>
                    <a:pt x="13" y="263"/>
                  </a:lnTo>
                  <a:close/>
                  <a:moveTo>
                    <a:pt x="21" y="263"/>
                  </a:moveTo>
                  <a:lnTo>
                    <a:pt x="21" y="263"/>
                  </a:lnTo>
                  <a:lnTo>
                    <a:pt x="21" y="263"/>
                  </a:lnTo>
                  <a:close/>
                  <a:moveTo>
                    <a:pt x="16" y="263"/>
                  </a:moveTo>
                  <a:lnTo>
                    <a:pt x="15" y="263"/>
                  </a:lnTo>
                  <a:lnTo>
                    <a:pt x="16" y="263"/>
                  </a:lnTo>
                  <a:close/>
                  <a:moveTo>
                    <a:pt x="17" y="263"/>
                  </a:moveTo>
                  <a:lnTo>
                    <a:pt x="17" y="262"/>
                  </a:lnTo>
                  <a:lnTo>
                    <a:pt x="17" y="263"/>
                  </a:lnTo>
                  <a:close/>
                  <a:moveTo>
                    <a:pt x="14" y="263"/>
                  </a:moveTo>
                  <a:lnTo>
                    <a:pt x="14" y="262"/>
                  </a:lnTo>
                  <a:lnTo>
                    <a:pt x="14" y="263"/>
                  </a:lnTo>
                  <a:close/>
                  <a:moveTo>
                    <a:pt x="21" y="262"/>
                  </a:moveTo>
                  <a:lnTo>
                    <a:pt x="21" y="262"/>
                  </a:lnTo>
                  <a:lnTo>
                    <a:pt x="21" y="262"/>
                  </a:lnTo>
                  <a:close/>
                  <a:moveTo>
                    <a:pt x="20" y="262"/>
                  </a:moveTo>
                  <a:lnTo>
                    <a:pt x="19" y="262"/>
                  </a:lnTo>
                  <a:lnTo>
                    <a:pt x="20" y="262"/>
                  </a:lnTo>
                  <a:close/>
                  <a:moveTo>
                    <a:pt x="16" y="262"/>
                  </a:moveTo>
                  <a:lnTo>
                    <a:pt x="15" y="262"/>
                  </a:lnTo>
                  <a:lnTo>
                    <a:pt x="16" y="262"/>
                  </a:lnTo>
                  <a:close/>
                  <a:moveTo>
                    <a:pt x="19" y="261"/>
                  </a:moveTo>
                  <a:lnTo>
                    <a:pt x="19" y="261"/>
                  </a:lnTo>
                  <a:lnTo>
                    <a:pt x="19" y="261"/>
                  </a:lnTo>
                  <a:close/>
                  <a:moveTo>
                    <a:pt x="17" y="261"/>
                  </a:moveTo>
                  <a:lnTo>
                    <a:pt x="17" y="261"/>
                  </a:lnTo>
                  <a:lnTo>
                    <a:pt x="17" y="261"/>
                  </a:lnTo>
                  <a:close/>
                  <a:moveTo>
                    <a:pt x="19" y="261"/>
                  </a:moveTo>
                  <a:lnTo>
                    <a:pt x="18" y="261"/>
                  </a:lnTo>
                  <a:lnTo>
                    <a:pt x="19" y="261"/>
                  </a:lnTo>
                  <a:close/>
                  <a:moveTo>
                    <a:pt x="18" y="261"/>
                  </a:moveTo>
                  <a:lnTo>
                    <a:pt x="17" y="261"/>
                  </a:lnTo>
                  <a:lnTo>
                    <a:pt x="18" y="261"/>
                  </a:lnTo>
                  <a:close/>
                  <a:moveTo>
                    <a:pt x="18" y="261"/>
                  </a:moveTo>
                  <a:lnTo>
                    <a:pt x="19" y="261"/>
                  </a:lnTo>
                  <a:lnTo>
                    <a:pt x="18" y="261"/>
                  </a:lnTo>
                  <a:close/>
                  <a:moveTo>
                    <a:pt x="19" y="260"/>
                  </a:moveTo>
                  <a:lnTo>
                    <a:pt x="18" y="261"/>
                  </a:ln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1"/>
                  </a:lnTo>
                  <a:lnTo>
                    <a:pt x="16" y="260"/>
                  </a:lnTo>
                  <a:close/>
                  <a:moveTo>
                    <a:pt x="16" y="260"/>
                  </a:moveTo>
                  <a:lnTo>
                    <a:pt x="15" y="260"/>
                  </a:lnTo>
                  <a:lnTo>
                    <a:pt x="16" y="260"/>
                  </a:lnTo>
                  <a:close/>
                  <a:moveTo>
                    <a:pt x="18" y="260"/>
                  </a:moveTo>
                  <a:lnTo>
                    <a:pt x="19" y="260"/>
                  </a:lnTo>
                  <a:lnTo>
                    <a:pt x="18" y="260"/>
                  </a:lnTo>
                  <a:close/>
                  <a:moveTo>
                    <a:pt x="17" y="260"/>
                  </a:moveTo>
                  <a:lnTo>
                    <a:pt x="16" y="260"/>
                  </a:lnTo>
                  <a:lnTo>
                    <a:pt x="17" y="260"/>
                  </a:lnTo>
                  <a:close/>
                  <a:moveTo>
                    <a:pt x="21" y="260"/>
                  </a:moveTo>
                  <a:lnTo>
                    <a:pt x="21" y="260"/>
                  </a:lnTo>
                  <a:lnTo>
                    <a:pt x="21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0"/>
                  </a:lnTo>
                  <a:lnTo>
                    <a:pt x="16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20" y="260"/>
                  </a:moveTo>
                  <a:lnTo>
                    <a:pt x="19" y="260"/>
                  </a:lnTo>
                  <a:lnTo>
                    <a:pt x="20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20" y="259"/>
                  </a:moveTo>
                  <a:lnTo>
                    <a:pt x="20" y="260"/>
                  </a:lnTo>
                  <a:lnTo>
                    <a:pt x="20" y="259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19" y="259"/>
                  </a:moveTo>
                  <a:lnTo>
                    <a:pt x="19" y="260"/>
                  </a:lnTo>
                  <a:lnTo>
                    <a:pt x="19" y="259"/>
                  </a:lnTo>
                  <a:close/>
                  <a:moveTo>
                    <a:pt x="20" y="259"/>
                  </a:moveTo>
                  <a:lnTo>
                    <a:pt x="19" y="259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9"/>
                  </a:lnTo>
                  <a:lnTo>
                    <a:pt x="20" y="259"/>
                  </a:lnTo>
                  <a:close/>
                  <a:moveTo>
                    <a:pt x="27" y="259"/>
                  </a:moveTo>
                  <a:lnTo>
                    <a:pt x="26" y="259"/>
                  </a:lnTo>
                  <a:lnTo>
                    <a:pt x="27" y="259"/>
                  </a:lnTo>
                  <a:close/>
                  <a:moveTo>
                    <a:pt x="28" y="259"/>
                  </a:moveTo>
                  <a:lnTo>
                    <a:pt x="28" y="259"/>
                  </a:lnTo>
                  <a:lnTo>
                    <a:pt x="28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34" y="258"/>
                  </a:moveTo>
                  <a:lnTo>
                    <a:pt x="34" y="259"/>
                  </a:lnTo>
                  <a:lnTo>
                    <a:pt x="34" y="258"/>
                  </a:lnTo>
                  <a:close/>
                  <a:moveTo>
                    <a:pt x="22" y="258"/>
                  </a:moveTo>
                  <a:lnTo>
                    <a:pt x="21" y="258"/>
                  </a:lnTo>
                  <a:lnTo>
                    <a:pt x="22" y="258"/>
                  </a:lnTo>
                  <a:close/>
                  <a:moveTo>
                    <a:pt x="23" y="258"/>
                  </a:moveTo>
                  <a:lnTo>
                    <a:pt x="22" y="258"/>
                  </a:lnTo>
                  <a:lnTo>
                    <a:pt x="23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2" y="258"/>
                  </a:moveTo>
                  <a:lnTo>
                    <a:pt x="22" y="258"/>
                  </a:lnTo>
                  <a:lnTo>
                    <a:pt x="22" y="258"/>
                  </a:lnTo>
                  <a:close/>
                  <a:moveTo>
                    <a:pt x="25" y="258"/>
                  </a:moveTo>
                  <a:lnTo>
                    <a:pt x="24" y="258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5" y="258"/>
                  </a:moveTo>
                  <a:lnTo>
                    <a:pt x="25" y="257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4" y="257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7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3" y="257"/>
                  </a:lnTo>
                  <a:lnTo>
                    <a:pt x="24" y="257"/>
                  </a:lnTo>
                  <a:close/>
                  <a:moveTo>
                    <a:pt x="25" y="257"/>
                  </a:moveTo>
                  <a:lnTo>
                    <a:pt x="24" y="257"/>
                  </a:lnTo>
                  <a:lnTo>
                    <a:pt x="25" y="257"/>
                  </a:lnTo>
                  <a:close/>
                  <a:moveTo>
                    <a:pt x="23" y="257"/>
                  </a:moveTo>
                  <a:lnTo>
                    <a:pt x="22" y="257"/>
                  </a:lnTo>
                  <a:lnTo>
                    <a:pt x="23" y="257"/>
                  </a:lnTo>
                  <a:close/>
                  <a:moveTo>
                    <a:pt x="22" y="256"/>
                  </a:moveTo>
                  <a:lnTo>
                    <a:pt x="22" y="257"/>
                  </a:lnTo>
                  <a:lnTo>
                    <a:pt x="22" y="256"/>
                  </a:lnTo>
                  <a:close/>
                  <a:moveTo>
                    <a:pt x="28" y="256"/>
                  </a:moveTo>
                  <a:lnTo>
                    <a:pt x="28" y="257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5" y="255"/>
                  </a:moveTo>
                  <a:lnTo>
                    <a:pt x="25" y="256"/>
                  </a:lnTo>
                  <a:lnTo>
                    <a:pt x="25" y="255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5"/>
                  </a:moveTo>
                  <a:lnTo>
                    <a:pt x="27" y="256"/>
                  </a:lnTo>
                  <a:lnTo>
                    <a:pt x="28" y="255"/>
                  </a:lnTo>
                  <a:close/>
                  <a:moveTo>
                    <a:pt x="29" y="255"/>
                  </a:moveTo>
                  <a:lnTo>
                    <a:pt x="29" y="255"/>
                  </a:lnTo>
                  <a:lnTo>
                    <a:pt x="29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6" y="255"/>
                  </a:moveTo>
                  <a:lnTo>
                    <a:pt x="27" y="255"/>
                  </a:lnTo>
                  <a:lnTo>
                    <a:pt x="26" y="255"/>
                  </a:lnTo>
                  <a:close/>
                  <a:moveTo>
                    <a:pt x="31" y="255"/>
                  </a:moveTo>
                  <a:lnTo>
                    <a:pt x="30" y="255"/>
                  </a:lnTo>
                  <a:lnTo>
                    <a:pt x="31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27" y="255"/>
                  </a:moveTo>
                  <a:lnTo>
                    <a:pt x="27" y="254"/>
                  </a:lnTo>
                  <a:lnTo>
                    <a:pt x="27" y="255"/>
                  </a:lnTo>
                  <a:close/>
                  <a:moveTo>
                    <a:pt x="28" y="255"/>
                  </a:moveTo>
                  <a:lnTo>
                    <a:pt x="28" y="254"/>
                  </a:lnTo>
                  <a:lnTo>
                    <a:pt x="28" y="255"/>
                  </a:lnTo>
                  <a:close/>
                  <a:moveTo>
                    <a:pt x="28" y="254"/>
                  </a:moveTo>
                  <a:lnTo>
                    <a:pt x="28" y="255"/>
                  </a:lnTo>
                  <a:lnTo>
                    <a:pt x="28" y="254"/>
                  </a:lnTo>
                  <a:close/>
                  <a:moveTo>
                    <a:pt x="29" y="255"/>
                  </a:moveTo>
                  <a:lnTo>
                    <a:pt x="29" y="254"/>
                  </a:lnTo>
                  <a:lnTo>
                    <a:pt x="29" y="255"/>
                  </a:lnTo>
                  <a:close/>
                  <a:moveTo>
                    <a:pt x="31" y="255"/>
                  </a:moveTo>
                  <a:lnTo>
                    <a:pt x="31" y="254"/>
                  </a:lnTo>
                  <a:lnTo>
                    <a:pt x="31" y="255"/>
                  </a:lnTo>
                  <a:close/>
                  <a:moveTo>
                    <a:pt x="27" y="254"/>
                  </a:moveTo>
                  <a:lnTo>
                    <a:pt x="27" y="255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5"/>
                  </a:lnTo>
                  <a:lnTo>
                    <a:pt x="32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46" y="254"/>
                  </a:moveTo>
                  <a:lnTo>
                    <a:pt x="46" y="254"/>
                  </a:lnTo>
                  <a:lnTo>
                    <a:pt x="4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4"/>
                  </a:moveTo>
                  <a:lnTo>
                    <a:pt x="27" y="254"/>
                  </a:lnTo>
                  <a:lnTo>
                    <a:pt x="2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3"/>
                  </a:moveTo>
                  <a:lnTo>
                    <a:pt x="26" y="254"/>
                  </a:lnTo>
                  <a:lnTo>
                    <a:pt x="26" y="253"/>
                  </a:lnTo>
                  <a:close/>
                  <a:moveTo>
                    <a:pt x="26" y="254"/>
                  </a:moveTo>
                  <a:lnTo>
                    <a:pt x="26" y="253"/>
                  </a:lnTo>
                  <a:lnTo>
                    <a:pt x="26" y="254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6" y="253"/>
                  </a:moveTo>
                  <a:lnTo>
                    <a:pt x="26" y="252"/>
                  </a:lnTo>
                  <a:lnTo>
                    <a:pt x="26" y="253"/>
                  </a:lnTo>
                  <a:close/>
                  <a:moveTo>
                    <a:pt x="27" y="252"/>
                  </a:moveTo>
                  <a:lnTo>
                    <a:pt x="27" y="253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0" y="252"/>
                  </a:moveTo>
                  <a:lnTo>
                    <a:pt x="31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8" y="252"/>
                  </a:moveTo>
                  <a:lnTo>
                    <a:pt x="38" y="252"/>
                  </a:lnTo>
                  <a:lnTo>
                    <a:pt x="38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0" y="252"/>
                  </a:moveTo>
                  <a:lnTo>
                    <a:pt x="29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29" y="252"/>
                  </a:moveTo>
                  <a:lnTo>
                    <a:pt x="28" y="252"/>
                  </a:lnTo>
                  <a:lnTo>
                    <a:pt x="29" y="252"/>
                  </a:lnTo>
                  <a:close/>
                  <a:moveTo>
                    <a:pt x="28" y="252"/>
                  </a:moveTo>
                  <a:lnTo>
                    <a:pt x="29" y="252"/>
                  </a:lnTo>
                  <a:lnTo>
                    <a:pt x="28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36" y="252"/>
                  </a:moveTo>
                  <a:lnTo>
                    <a:pt x="36" y="251"/>
                  </a:lnTo>
                  <a:lnTo>
                    <a:pt x="36" y="252"/>
                  </a:lnTo>
                  <a:close/>
                  <a:moveTo>
                    <a:pt x="36" y="251"/>
                  </a:moveTo>
                  <a:lnTo>
                    <a:pt x="36" y="252"/>
                  </a:lnTo>
                  <a:lnTo>
                    <a:pt x="36" y="251"/>
                  </a:lnTo>
                  <a:close/>
                  <a:moveTo>
                    <a:pt x="31" y="252"/>
                  </a:moveTo>
                  <a:lnTo>
                    <a:pt x="30" y="252"/>
                  </a:ln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1" y="252"/>
                  </a:move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6" y="251"/>
                  </a:moveTo>
                  <a:lnTo>
                    <a:pt x="37" y="251"/>
                  </a:lnTo>
                  <a:lnTo>
                    <a:pt x="36" y="251"/>
                  </a:lnTo>
                  <a:close/>
                  <a:moveTo>
                    <a:pt x="31" y="251"/>
                  </a:moveTo>
                  <a:lnTo>
                    <a:pt x="30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2" y="250"/>
                  </a:lnTo>
                  <a:lnTo>
                    <a:pt x="32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1" y="250"/>
                  </a:moveTo>
                  <a:lnTo>
                    <a:pt x="32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8" y="249"/>
                  </a:moveTo>
                  <a:lnTo>
                    <a:pt x="38" y="250"/>
                  </a:lnTo>
                  <a:lnTo>
                    <a:pt x="38" y="249"/>
                  </a:lnTo>
                  <a:close/>
                  <a:moveTo>
                    <a:pt x="33" y="250"/>
                  </a:moveTo>
                  <a:lnTo>
                    <a:pt x="33" y="249"/>
                  </a:lnTo>
                  <a:lnTo>
                    <a:pt x="33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3" y="249"/>
                  </a:moveTo>
                  <a:lnTo>
                    <a:pt x="32" y="249"/>
                  </a:lnTo>
                  <a:lnTo>
                    <a:pt x="33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1" y="249"/>
                  </a:moveTo>
                  <a:lnTo>
                    <a:pt x="30" y="249"/>
                  </a:lnTo>
                  <a:lnTo>
                    <a:pt x="31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9"/>
                  </a:lnTo>
                  <a:lnTo>
                    <a:pt x="32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1" y="249"/>
                  </a:moveTo>
                  <a:lnTo>
                    <a:pt x="31" y="249"/>
                  </a:lnTo>
                  <a:lnTo>
                    <a:pt x="31" y="249"/>
                  </a:lnTo>
                  <a:close/>
                  <a:moveTo>
                    <a:pt x="36" y="249"/>
                  </a:moveTo>
                  <a:lnTo>
                    <a:pt x="36" y="249"/>
                  </a:lnTo>
                  <a:lnTo>
                    <a:pt x="36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4" y="249"/>
                  </a:lnTo>
                  <a:close/>
                  <a:moveTo>
                    <a:pt x="35" y="249"/>
                  </a:moveTo>
                  <a:lnTo>
                    <a:pt x="34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8"/>
                  </a:lnTo>
                  <a:lnTo>
                    <a:pt x="32" y="249"/>
                  </a:lnTo>
                  <a:close/>
                  <a:moveTo>
                    <a:pt x="35" y="248"/>
                  </a:moveTo>
                  <a:lnTo>
                    <a:pt x="35" y="249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45" y="248"/>
                  </a:moveTo>
                  <a:lnTo>
                    <a:pt x="44" y="248"/>
                  </a:lnTo>
                  <a:lnTo>
                    <a:pt x="45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32" y="248"/>
                  </a:moveTo>
                  <a:lnTo>
                    <a:pt x="33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1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2" y="247"/>
                  </a:moveTo>
                  <a:lnTo>
                    <a:pt x="32" y="248"/>
                  </a:lnTo>
                  <a:lnTo>
                    <a:pt x="32" y="247"/>
                  </a:lnTo>
                  <a:close/>
                  <a:moveTo>
                    <a:pt x="35" y="247"/>
                  </a:moveTo>
                  <a:lnTo>
                    <a:pt x="36" y="248"/>
                  </a:ln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4" y="248"/>
                  </a:moveTo>
                  <a:lnTo>
                    <a:pt x="34" y="247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7"/>
                  </a:lnTo>
                  <a:lnTo>
                    <a:pt x="35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40" y="248"/>
                  </a:moveTo>
                  <a:lnTo>
                    <a:pt x="40" y="247"/>
                  </a:lnTo>
                  <a:lnTo>
                    <a:pt x="40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1" y="248"/>
                  </a:moveTo>
                  <a:lnTo>
                    <a:pt x="31" y="247"/>
                  </a:lnTo>
                  <a:lnTo>
                    <a:pt x="31" y="248"/>
                  </a:lnTo>
                  <a:close/>
                  <a:moveTo>
                    <a:pt x="35" y="247"/>
                  </a:moveTo>
                  <a:lnTo>
                    <a:pt x="36" y="247"/>
                  </a:lnTo>
                  <a:lnTo>
                    <a:pt x="35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3" y="247"/>
                  </a:lnTo>
                  <a:lnTo>
                    <a:pt x="33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42" y="247"/>
                  </a:moveTo>
                  <a:lnTo>
                    <a:pt x="42" y="247"/>
                  </a:lnTo>
                  <a:lnTo>
                    <a:pt x="4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41" y="247"/>
                  </a:moveTo>
                  <a:lnTo>
                    <a:pt x="41" y="246"/>
                  </a:lnTo>
                  <a:lnTo>
                    <a:pt x="41" y="247"/>
                  </a:lnTo>
                  <a:close/>
                  <a:moveTo>
                    <a:pt x="42" y="247"/>
                  </a:moveTo>
                  <a:lnTo>
                    <a:pt x="42" y="246"/>
                  </a:lnTo>
                  <a:lnTo>
                    <a:pt x="42" y="247"/>
                  </a:lnTo>
                  <a:close/>
                  <a:moveTo>
                    <a:pt x="35" y="247"/>
                  </a:moveTo>
                  <a:lnTo>
                    <a:pt x="34" y="247"/>
                  </a:lnTo>
                  <a:lnTo>
                    <a:pt x="34" y="246"/>
                  </a:lnTo>
                  <a:lnTo>
                    <a:pt x="35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33" y="246"/>
                  </a:moveTo>
                  <a:lnTo>
                    <a:pt x="32" y="246"/>
                  </a:lnTo>
                  <a:lnTo>
                    <a:pt x="33" y="246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53" y="246"/>
                  </a:moveTo>
                  <a:lnTo>
                    <a:pt x="53" y="246"/>
                  </a:lnTo>
                  <a:lnTo>
                    <a:pt x="53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6" y="246"/>
                  </a:lnTo>
                  <a:lnTo>
                    <a:pt x="35" y="246"/>
                  </a:lnTo>
                  <a:close/>
                  <a:moveTo>
                    <a:pt x="43" y="246"/>
                  </a:moveTo>
                  <a:lnTo>
                    <a:pt x="43" y="246"/>
                  </a:lnTo>
                  <a:lnTo>
                    <a:pt x="43" y="246"/>
                  </a:lnTo>
                  <a:close/>
                  <a:moveTo>
                    <a:pt x="43" y="245"/>
                  </a:moveTo>
                  <a:lnTo>
                    <a:pt x="43" y="246"/>
                  </a:lnTo>
                  <a:lnTo>
                    <a:pt x="43" y="245"/>
                  </a:lnTo>
                  <a:close/>
                  <a:moveTo>
                    <a:pt x="44" y="245"/>
                  </a:moveTo>
                  <a:lnTo>
                    <a:pt x="44" y="246"/>
                  </a:lnTo>
                  <a:lnTo>
                    <a:pt x="44" y="245"/>
                  </a:lnTo>
                  <a:close/>
                  <a:moveTo>
                    <a:pt x="36" y="245"/>
                  </a:moveTo>
                  <a:lnTo>
                    <a:pt x="35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7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7" y="245"/>
                  </a:moveTo>
                  <a:lnTo>
                    <a:pt x="37" y="245"/>
                  </a:lnTo>
                  <a:lnTo>
                    <a:pt x="37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8" y="245"/>
                  </a:moveTo>
                  <a:lnTo>
                    <a:pt x="37" y="245"/>
                  </a:lnTo>
                  <a:lnTo>
                    <a:pt x="38" y="245"/>
                  </a:lnTo>
                  <a:close/>
                  <a:moveTo>
                    <a:pt x="37" y="244"/>
                  </a:moveTo>
                  <a:lnTo>
                    <a:pt x="37" y="245"/>
                  </a:lnTo>
                  <a:lnTo>
                    <a:pt x="37" y="244"/>
                  </a:lnTo>
                  <a:close/>
                  <a:moveTo>
                    <a:pt x="54" y="244"/>
                  </a:moveTo>
                  <a:lnTo>
                    <a:pt x="55" y="244"/>
                  </a:lnTo>
                  <a:lnTo>
                    <a:pt x="54" y="244"/>
                  </a:lnTo>
                  <a:close/>
                  <a:moveTo>
                    <a:pt x="45" y="244"/>
                  </a:moveTo>
                  <a:lnTo>
                    <a:pt x="44" y="244"/>
                  </a:lnTo>
                  <a:lnTo>
                    <a:pt x="45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44" y="244"/>
                  </a:moveTo>
                  <a:lnTo>
                    <a:pt x="43" y="244"/>
                  </a:lnTo>
                  <a:lnTo>
                    <a:pt x="44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6" y="243"/>
                  </a:moveTo>
                  <a:lnTo>
                    <a:pt x="45" y="243"/>
                  </a:lnTo>
                  <a:lnTo>
                    <a:pt x="46" y="243"/>
                  </a:lnTo>
                  <a:close/>
                  <a:moveTo>
                    <a:pt x="40" y="243"/>
                  </a:moveTo>
                  <a:lnTo>
                    <a:pt x="39" y="243"/>
                  </a:lnTo>
                  <a:lnTo>
                    <a:pt x="40" y="243"/>
                  </a:lnTo>
                  <a:close/>
                  <a:moveTo>
                    <a:pt x="45" y="242"/>
                  </a:moveTo>
                  <a:lnTo>
                    <a:pt x="45" y="242"/>
                  </a:lnTo>
                  <a:lnTo>
                    <a:pt x="45" y="242"/>
                  </a:lnTo>
                  <a:close/>
                  <a:moveTo>
                    <a:pt x="47" y="240"/>
                  </a:moveTo>
                  <a:lnTo>
                    <a:pt x="47" y="240"/>
                  </a:lnTo>
                  <a:lnTo>
                    <a:pt x="47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0" y="239"/>
                  </a:moveTo>
                  <a:lnTo>
                    <a:pt x="50" y="240"/>
                  </a:lnTo>
                  <a:lnTo>
                    <a:pt x="50" y="239"/>
                  </a:lnTo>
                  <a:close/>
                  <a:moveTo>
                    <a:pt x="51" y="239"/>
                  </a:moveTo>
                  <a:lnTo>
                    <a:pt x="50" y="239"/>
                  </a:lnTo>
                  <a:lnTo>
                    <a:pt x="51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6" y="239"/>
                  </a:moveTo>
                  <a:lnTo>
                    <a:pt x="56" y="239"/>
                  </a:lnTo>
                  <a:lnTo>
                    <a:pt x="56" y="239"/>
                  </a:lnTo>
                  <a:close/>
                  <a:moveTo>
                    <a:pt x="56" y="239"/>
                  </a:moveTo>
                  <a:lnTo>
                    <a:pt x="55" y="239"/>
                  </a:lnTo>
                  <a:lnTo>
                    <a:pt x="56" y="239"/>
                  </a:lnTo>
                  <a:lnTo>
                    <a:pt x="55" y="239"/>
                  </a:lnTo>
                  <a:lnTo>
                    <a:pt x="56" y="239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6" y="238"/>
                  </a:moveTo>
                  <a:lnTo>
                    <a:pt x="57" y="238"/>
                  </a:lnTo>
                  <a:lnTo>
                    <a:pt x="56" y="238"/>
                  </a:lnTo>
                  <a:close/>
                  <a:moveTo>
                    <a:pt x="49" y="238"/>
                  </a:moveTo>
                  <a:lnTo>
                    <a:pt x="49" y="237"/>
                  </a:lnTo>
                  <a:lnTo>
                    <a:pt x="49" y="238"/>
                  </a:lnTo>
                  <a:close/>
                  <a:moveTo>
                    <a:pt x="56" y="237"/>
                  </a:moveTo>
                  <a:lnTo>
                    <a:pt x="56" y="238"/>
                  </a:lnTo>
                  <a:lnTo>
                    <a:pt x="56" y="237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3" y="237"/>
                  </a:moveTo>
                  <a:lnTo>
                    <a:pt x="53" y="238"/>
                  </a:lnTo>
                  <a:lnTo>
                    <a:pt x="53" y="237"/>
                  </a:lnTo>
                  <a:close/>
                  <a:moveTo>
                    <a:pt x="51" y="238"/>
                  </a:moveTo>
                  <a:lnTo>
                    <a:pt x="51" y="237"/>
                  </a:lnTo>
                  <a:lnTo>
                    <a:pt x="51" y="238"/>
                  </a:lnTo>
                  <a:close/>
                  <a:moveTo>
                    <a:pt x="56" y="237"/>
                  </a:moveTo>
                  <a:lnTo>
                    <a:pt x="56" y="237"/>
                  </a:lnTo>
                  <a:lnTo>
                    <a:pt x="56" y="237"/>
                  </a:lnTo>
                  <a:close/>
                  <a:moveTo>
                    <a:pt x="50" y="237"/>
                  </a:moveTo>
                  <a:lnTo>
                    <a:pt x="50" y="237"/>
                  </a:lnTo>
                  <a:lnTo>
                    <a:pt x="50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7"/>
                  </a:move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6"/>
                  </a:moveTo>
                  <a:lnTo>
                    <a:pt x="52" y="237"/>
                  </a:lnTo>
                  <a:lnTo>
                    <a:pt x="51" y="237"/>
                  </a:lnTo>
                  <a:lnTo>
                    <a:pt x="51" y="236"/>
                  </a:lnTo>
                  <a:close/>
                  <a:moveTo>
                    <a:pt x="52" y="237"/>
                  </a:moveTo>
                  <a:lnTo>
                    <a:pt x="52" y="236"/>
                  </a:lnTo>
                  <a:lnTo>
                    <a:pt x="52" y="237"/>
                  </a:lnTo>
                  <a:close/>
                  <a:moveTo>
                    <a:pt x="53" y="237"/>
                  </a:moveTo>
                  <a:lnTo>
                    <a:pt x="53" y="236"/>
                  </a:lnTo>
                  <a:lnTo>
                    <a:pt x="53" y="237"/>
                  </a:lnTo>
                  <a:close/>
                  <a:moveTo>
                    <a:pt x="51" y="237"/>
                  </a:moveTo>
                  <a:lnTo>
                    <a:pt x="51" y="236"/>
                  </a:lnTo>
                  <a:lnTo>
                    <a:pt x="51" y="237"/>
                  </a:lnTo>
                  <a:close/>
                  <a:moveTo>
                    <a:pt x="54" y="236"/>
                  </a:moveTo>
                  <a:lnTo>
                    <a:pt x="54" y="236"/>
                  </a:lnTo>
                  <a:lnTo>
                    <a:pt x="54" y="236"/>
                  </a:lnTo>
                  <a:close/>
                  <a:moveTo>
                    <a:pt x="53" y="236"/>
                  </a:moveTo>
                  <a:lnTo>
                    <a:pt x="53" y="236"/>
                  </a:lnTo>
                  <a:lnTo>
                    <a:pt x="53" y="236"/>
                  </a:lnTo>
                  <a:close/>
                  <a:moveTo>
                    <a:pt x="53" y="235"/>
                  </a:moveTo>
                  <a:lnTo>
                    <a:pt x="54" y="235"/>
                  </a:lnTo>
                  <a:lnTo>
                    <a:pt x="53" y="235"/>
                  </a:lnTo>
                  <a:close/>
                  <a:moveTo>
                    <a:pt x="54" y="235"/>
                  </a:moveTo>
                  <a:lnTo>
                    <a:pt x="54" y="235"/>
                  </a:lnTo>
                  <a:lnTo>
                    <a:pt x="54" y="235"/>
                  </a:lnTo>
                  <a:close/>
                  <a:moveTo>
                    <a:pt x="54" y="234"/>
                  </a:moveTo>
                  <a:lnTo>
                    <a:pt x="54" y="235"/>
                  </a:lnTo>
                  <a:lnTo>
                    <a:pt x="54" y="234"/>
                  </a:lnTo>
                  <a:close/>
                  <a:moveTo>
                    <a:pt x="54" y="235"/>
                  </a:moveTo>
                  <a:lnTo>
                    <a:pt x="54" y="234"/>
                  </a:lnTo>
                  <a:lnTo>
                    <a:pt x="54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0" y="235"/>
                  </a:moveTo>
                  <a:lnTo>
                    <a:pt x="50" y="234"/>
                  </a:lnTo>
                  <a:lnTo>
                    <a:pt x="50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5" y="234"/>
                  </a:lnTo>
                  <a:lnTo>
                    <a:pt x="56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49" y="234"/>
                  </a:moveTo>
                  <a:lnTo>
                    <a:pt x="49" y="234"/>
                  </a:lnTo>
                  <a:lnTo>
                    <a:pt x="49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2" y="234"/>
                  </a:moveTo>
                  <a:lnTo>
                    <a:pt x="52" y="234"/>
                  </a:lnTo>
                  <a:lnTo>
                    <a:pt x="52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49" y="234"/>
                  </a:lnTo>
                  <a:lnTo>
                    <a:pt x="50" y="234"/>
                  </a:lnTo>
                  <a:close/>
                  <a:moveTo>
                    <a:pt x="57" y="234"/>
                  </a:moveTo>
                  <a:lnTo>
                    <a:pt x="57" y="234"/>
                  </a:lnTo>
                  <a:lnTo>
                    <a:pt x="57" y="234"/>
                  </a:lnTo>
                  <a:close/>
                  <a:moveTo>
                    <a:pt x="53" y="234"/>
                  </a:moveTo>
                  <a:lnTo>
                    <a:pt x="54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3" y="234"/>
                  </a:moveTo>
                  <a:lnTo>
                    <a:pt x="52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3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1" y="233"/>
                  </a:moveTo>
                  <a:lnTo>
                    <a:pt x="50" y="233"/>
                  </a:lnTo>
                  <a:lnTo>
                    <a:pt x="51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4" y="233"/>
                  </a:moveTo>
                  <a:lnTo>
                    <a:pt x="54" y="234"/>
                  </a:lnTo>
                  <a:lnTo>
                    <a:pt x="54" y="233"/>
                  </a:lnTo>
                  <a:close/>
                  <a:moveTo>
                    <a:pt x="52" y="233"/>
                  </a:moveTo>
                  <a:lnTo>
                    <a:pt x="53" y="233"/>
                  </a:lnTo>
                  <a:lnTo>
                    <a:pt x="52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2" y="233"/>
                  </a:moveTo>
                  <a:lnTo>
                    <a:pt x="51" y="233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3" y="233"/>
                  </a:moveTo>
                  <a:lnTo>
                    <a:pt x="52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49" y="233"/>
                  </a:lnTo>
                  <a:lnTo>
                    <a:pt x="49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50" y="233"/>
                  </a:lnTo>
                  <a:lnTo>
                    <a:pt x="49" y="233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5" y="232"/>
                  </a:moveTo>
                  <a:lnTo>
                    <a:pt x="55" y="233"/>
                  </a:lnTo>
                  <a:lnTo>
                    <a:pt x="55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1" y="232"/>
                  </a:moveTo>
                  <a:lnTo>
                    <a:pt x="51" y="232"/>
                  </a:lnTo>
                  <a:lnTo>
                    <a:pt x="51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0" y="232"/>
                  </a:lnTo>
                  <a:close/>
                  <a:moveTo>
                    <a:pt x="55" y="232"/>
                  </a:moveTo>
                  <a:lnTo>
                    <a:pt x="55" y="232"/>
                  </a:lnTo>
                  <a:lnTo>
                    <a:pt x="55" y="232"/>
                  </a:lnTo>
                  <a:close/>
                  <a:moveTo>
                    <a:pt x="51" y="232"/>
                  </a:moveTo>
                  <a:lnTo>
                    <a:pt x="50" y="232"/>
                  </a:lnTo>
                  <a:lnTo>
                    <a:pt x="51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50" y="232"/>
                  </a:lnTo>
                  <a:lnTo>
                    <a:pt x="49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6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7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3" y="232"/>
                  </a:moveTo>
                  <a:lnTo>
                    <a:pt x="52" y="232"/>
                  </a:lnTo>
                  <a:lnTo>
                    <a:pt x="53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2" y="232"/>
                  </a:moveTo>
                  <a:lnTo>
                    <a:pt x="52" y="231"/>
                  </a:lnTo>
                  <a:lnTo>
                    <a:pt x="52" y="232"/>
                  </a:lnTo>
                  <a:close/>
                  <a:moveTo>
                    <a:pt x="53" y="232"/>
                  </a:moveTo>
                  <a:lnTo>
                    <a:pt x="53" y="231"/>
                  </a:lnTo>
                  <a:lnTo>
                    <a:pt x="53" y="232"/>
                  </a:lnTo>
                  <a:close/>
                  <a:moveTo>
                    <a:pt x="52" y="231"/>
                  </a:moveTo>
                  <a:lnTo>
                    <a:pt x="52" y="232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7" y="231"/>
                  </a:moveTo>
                  <a:lnTo>
                    <a:pt x="57" y="231"/>
                  </a:lnTo>
                  <a:lnTo>
                    <a:pt x="57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2" y="231"/>
                  </a:moveTo>
                  <a:lnTo>
                    <a:pt x="53" y="231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8" y="231"/>
                  </a:moveTo>
                  <a:lnTo>
                    <a:pt x="58" y="231"/>
                  </a:lnTo>
                  <a:lnTo>
                    <a:pt x="58" y="231"/>
                  </a:lnTo>
                  <a:close/>
                  <a:moveTo>
                    <a:pt x="53" y="231"/>
                  </a:moveTo>
                  <a:lnTo>
                    <a:pt x="52" y="231"/>
                  </a:lnTo>
                  <a:lnTo>
                    <a:pt x="53" y="231"/>
                  </a:lnTo>
                  <a:close/>
                  <a:moveTo>
                    <a:pt x="56" y="230"/>
                  </a:moveTo>
                  <a:lnTo>
                    <a:pt x="56" y="231"/>
                  </a:lnTo>
                  <a:lnTo>
                    <a:pt x="56" y="230"/>
                  </a:lnTo>
                  <a:close/>
                  <a:moveTo>
                    <a:pt x="53" y="231"/>
                  </a:moveTo>
                  <a:lnTo>
                    <a:pt x="53" y="230"/>
                  </a:lnTo>
                  <a:lnTo>
                    <a:pt x="53" y="231"/>
                  </a:lnTo>
                  <a:close/>
                  <a:moveTo>
                    <a:pt x="53" y="230"/>
                  </a:moveTo>
                  <a:lnTo>
                    <a:pt x="53" y="230"/>
                  </a:lnTo>
                  <a:lnTo>
                    <a:pt x="53" y="231"/>
                  </a:lnTo>
                  <a:lnTo>
                    <a:pt x="53" y="230"/>
                  </a:lnTo>
                  <a:close/>
                  <a:moveTo>
                    <a:pt x="56" y="230"/>
                  </a:moveTo>
                  <a:lnTo>
                    <a:pt x="56" y="230"/>
                  </a:lnTo>
                  <a:lnTo>
                    <a:pt x="56" y="230"/>
                  </a:lnTo>
                  <a:close/>
                  <a:moveTo>
                    <a:pt x="61" y="230"/>
                  </a:moveTo>
                  <a:lnTo>
                    <a:pt x="61" y="229"/>
                  </a:lnTo>
                  <a:lnTo>
                    <a:pt x="61" y="230"/>
                  </a:lnTo>
                  <a:close/>
                  <a:moveTo>
                    <a:pt x="59" y="230"/>
                  </a:moveTo>
                  <a:lnTo>
                    <a:pt x="59" y="229"/>
                  </a:lnTo>
                  <a:lnTo>
                    <a:pt x="59" y="230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1" y="229"/>
                  </a:lnTo>
                  <a:close/>
                  <a:moveTo>
                    <a:pt x="58" y="230"/>
                  </a:moveTo>
                  <a:lnTo>
                    <a:pt x="58" y="229"/>
                  </a:lnTo>
                  <a:lnTo>
                    <a:pt x="58" y="229"/>
                  </a:lnTo>
                  <a:lnTo>
                    <a:pt x="58" y="230"/>
                  </a:lnTo>
                  <a:close/>
                  <a:moveTo>
                    <a:pt x="58" y="229"/>
                  </a:moveTo>
                  <a:lnTo>
                    <a:pt x="58" y="230"/>
                  </a:lnTo>
                  <a:lnTo>
                    <a:pt x="58" y="229"/>
                  </a:lnTo>
                  <a:lnTo>
                    <a:pt x="58" y="230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60" y="229"/>
                  </a:lnTo>
                  <a:close/>
                  <a:moveTo>
                    <a:pt x="65" y="229"/>
                  </a:moveTo>
                  <a:lnTo>
                    <a:pt x="64" y="229"/>
                  </a:lnTo>
                  <a:lnTo>
                    <a:pt x="65" y="229"/>
                  </a:lnTo>
                  <a:close/>
                  <a:moveTo>
                    <a:pt x="56" y="229"/>
                  </a:move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63" y="229"/>
                  </a:move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57" y="229"/>
                  </a:moveTo>
                  <a:lnTo>
                    <a:pt x="57" y="228"/>
                  </a:lnTo>
                  <a:lnTo>
                    <a:pt x="57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8"/>
                  </a:moveTo>
                  <a:lnTo>
                    <a:pt x="56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56" y="228"/>
                  </a:moveTo>
                  <a:lnTo>
                    <a:pt x="55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1" y="225"/>
                  </a:moveTo>
                  <a:lnTo>
                    <a:pt x="62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0" y="225"/>
                  </a:lnTo>
                  <a:lnTo>
                    <a:pt x="61" y="225"/>
                  </a:lnTo>
                  <a:close/>
                  <a:moveTo>
                    <a:pt x="65" y="225"/>
                  </a:moveTo>
                  <a:lnTo>
                    <a:pt x="65" y="225"/>
                  </a:lnTo>
                  <a:lnTo>
                    <a:pt x="65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4"/>
                  </a:lnTo>
                  <a:lnTo>
                    <a:pt x="62" y="225"/>
                  </a:lnTo>
                  <a:close/>
                  <a:moveTo>
                    <a:pt x="62" y="224"/>
                  </a:moveTo>
                  <a:lnTo>
                    <a:pt x="61" y="224"/>
                  </a:lnTo>
                  <a:lnTo>
                    <a:pt x="62" y="224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58" y="223"/>
                  </a:moveTo>
                  <a:lnTo>
                    <a:pt x="58" y="223"/>
                  </a:lnTo>
                  <a:lnTo>
                    <a:pt x="58" y="223"/>
                  </a:lnTo>
                  <a:close/>
                  <a:moveTo>
                    <a:pt x="57" y="223"/>
                  </a:moveTo>
                  <a:lnTo>
                    <a:pt x="57" y="222"/>
                  </a:lnTo>
                  <a:lnTo>
                    <a:pt x="57" y="223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56" y="223"/>
                  </a:moveTo>
                  <a:lnTo>
                    <a:pt x="56" y="222"/>
                  </a:lnTo>
                  <a:lnTo>
                    <a:pt x="56" y="223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57" y="222"/>
                  </a:moveTo>
                  <a:lnTo>
                    <a:pt x="57" y="222"/>
                  </a:lnTo>
                  <a:lnTo>
                    <a:pt x="57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2" y="222"/>
                  </a:lnTo>
                  <a:close/>
                  <a:moveTo>
                    <a:pt x="62" y="222"/>
                  </a:move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58" y="222"/>
                  </a:moveTo>
                  <a:lnTo>
                    <a:pt x="59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1" y="222"/>
                  </a:moveTo>
                  <a:lnTo>
                    <a:pt x="61" y="222"/>
                  </a:lnTo>
                  <a:lnTo>
                    <a:pt x="61" y="222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1"/>
                  </a:moveTo>
                  <a:lnTo>
                    <a:pt x="59" y="222"/>
                  </a:lnTo>
                  <a:lnTo>
                    <a:pt x="59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2"/>
                  </a:moveTo>
                  <a:lnTo>
                    <a:pt x="59" y="221"/>
                  </a:lnTo>
                  <a:lnTo>
                    <a:pt x="59" y="222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3" y="221"/>
                  </a:moveTo>
                  <a:lnTo>
                    <a:pt x="62" y="221"/>
                  </a:lnTo>
                  <a:lnTo>
                    <a:pt x="63" y="221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1" y="221"/>
                  </a:lnTo>
                  <a:lnTo>
                    <a:pt x="61" y="220"/>
                  </a:lnTo>
                  <a:close/>
                  <a:moveTo>
                    <a:pt x="61" y="221"/>
                  </a:moveTo>
                  <a:lnTo>
                    <a:pt x="61" y="220"/>
                  </a:lnTo>
                  <a:lnTo>
                    <a:pt x="61" y="221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0" y="220"/>
                  </a:moveTo>
                  <a:lnTo>
                    <a:pt x="60" y="221"/>
                  </a:lnTo>
                  <a:lnTo>
                    <a:pt x="60" y="220"/>
                  </a:lnTo>
                  <a:close/>
                  <a:moveTo>
                    <a:pt x="62" y="220"/>
                  </a:moveTo>
                  <a:lnTo>
                    <a:pt x="62" y="221"/>
                  </a:lnTo>
                  <a:lnTo>
                    <a:pt x="62" y="220"/>
                  </a:lnTo>
                  <a:close/>
                  <a:moveTo>
                    <a:pt x="62" y="221"/>
                  </a:moveTo>
                  <a:lnTo>
                    <a:pt x="62" y="220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0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2" y="220"/>
                  </a:moveTo>
                  <a:lnTo>
                    <a:pt x="62" y="220"/>
                  </a:lnTo>
                  <a:lnTo>
                    <a:pt x="62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58" y="219"/>
                  </a:moveTo>
                  <a:lnTo>
                    <a:pt x="58" y="220"/>
                  </a:lnTo>
                  <a:lnTo>
                    <a:pt x="58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59" y="219"/>
                  </a:moveTo>
                  <a:lnTo>
                    <a:pt x="58" y="219"/>
                  </a:lnTo>
                  <a:lnTo>
                    <a:pt x="59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59" y="219"/>
                  </a:moveTo>
                  <a:lnTo>
                    <a:pt x="59" y="219"/>
                  </a:lnTo>
                  <a:lnTo>
                    <a:pt x="59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2" y="219"/>
                  </a:moveTo>
                  <a:lnTo>
                    <a:pt x="62" y="218"/>
                  </a:lnTo>
                  <a:lnTo>
                    <a:pt x="62" y="219"/>
                  </a:lnTo>
                  <a:close/>
                  <a:moveTo>
                    <a:pt x="62" y="218"/>
                  </a:moveTo>
                  <a:lnTo>
                    <a:pt x="62" y="219"/>
                  </a:lnTo>
                  <a:lnTo>
                    <a:pt x="62" y="218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3" y="218"/>
                  </a:moveTo>
                  <a:lnTo>
                    <a:pt x="63" y="218"/>
                  </a:lnTo>
                  <a:lnTo>
                    <a:pt x="63" y="218"/>
                  </a:lnTo>
                  <a:close/>
                  <a:moveTo>
                    <a:pt x="64" y="218"/>
                  </a:moveTo>
                  <a:lnTo>
                    <a:pt x="64" y="218"/>
                  </a:lnTo>
                  <a:lnTo>
                    <a:pt x="64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1" y="218"/>
                  </a:moveTo>
                  <a:lnTo>
                    <a:pt x="62" y="218"/>
                  </a:lnTo>
                  <a:lnTo>
                    <a:pt x="61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0" y="218"/>
                  </a:moveTo>
                  <a:lnTo>
                    <a:pt x="60" y="217"/>
                  </a:lnTo>
                  <a:lnTo>
                    <a:pt x="60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7"/>
                  </a:lnTo>
                  <a:lnTo>
                    <a:pt x="62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8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8" y="217"/>
                  </a:moveTo>
                  <a:lnTo>
                    <a:pt x="59" y="217"/>
                  </a:lnTo>
                  <a:lnTo>
                    <a:pt x="58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9" y="217"/>
                  </a:moveTo>
                  <a:lnTo>
                    <a:pt x="59" y="217"/>
                  </a:lnTo>
                  <a:lnTo>
                    <a:pt x="59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2" y="217"/>
                  </a:moveTo>
                  <a:lnTo>
                    <a:pt x="61" y="217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1" y="216"/>
                  </a:moveTo>
                  <a:lnTo>
                    <a:pt x="60" y="216"/>
                  </a:lnTo>
                  <a:lnTo>
                    <a:pt x="61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3" y="216"/>
                  </a:moveTo>
                  <a:lnTo>
                    <a:pt x="62" y="216"/>
                  </a:lnTo>
                  <a:lnTo>
                    <a:pt x="63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4" y="216"/>
                  </a:moveTo>
                  <a:lnTo>
                    <a:pt x="64" y="215"/>
                  </a:lnTo>
                  <a:lnTo>
                    <a:pt x="64" y="216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1" y="216"/>
                  </a:moveTo>
                  <a:lnTo>
                    <a:pt x="61" y="215"/>
                  </a:lnTo>
                  <a:lnTo>
                    <a:pt x="61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6"/>
                  </a:moveTo>
                  <a:lnTo>
                    <a:pt x="65" y="215"/>
                  </a:lnTo>
                  <a:lnTo>
                    <a:pt x="65" y="216"/>
                  </a:lnTo>
                  <a:close/>
                  <a:moveTo>
                    <a:pt x="62" y="215"/>
                  </a:moveTo>
                  <a:lnTo>
                    <a:pt x="62" y="216"/>
                  </a:lnTo>
                  <a:lnTo>
                    <a:pt x="62" y="215"/>
                  </a:lnTo>
                  <a:close/>
                  <a:moveTo>
                    <a:pt x="62" y="216"/>
                  </a:moveTo>
                  <a:lnTo>
                    <a:pt x="62" y="215"/>
                  </a:lnTo>
                  <a:lnTo>
                    <a:pt x="62" y="216"/>
                  </a:lnTo>
                  <a:close/>
                  <a:moveTo>
                    <a:pt x="60" y="215"/>
                  </a:moveTo>
                  <a:lnTo>
                    <a:pt x="60" y="215"/>
                  </a:lnTo>
                  <a:lnTo>
                    <a:pt x="60" y="215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5"/>
                  </a:moveTo>
                  <a:lnTo>
                    <a:pt x="65" y="216"/>
                  </a:lnTo>
                  <a:lnTo>
                    <a:pt x="65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3" y="215"/>
                  </a:moveTo>
                  <a:lnTo>
                    <a:pt x="63" y="216"/>
                  </a:lnTo>
                  <a:lnTo>
                    <a:pt x="63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1" y="215"/>
                  </a:moveTo>
                  <a:lnTo>
                    <a:pt x="61" y="215"/>
                  </a:lnTo>
                  <a:lnTo>
                    <a:pt x="61" y="215"/>
                  </a:lnTo>
                  <a:close/>
                  <a:moveTo>
                    <a:pt x="62" y="215"/>
                  </a:moveTo>
                  <a:lnTo>
                    <a:pt x="61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4"/>
                  </a:lnTo>
                  <a:lnTo>
                    <a:pt x="62" y="215"/>
                  </a:lnTo>
                  <a:close/>
                  <a:moveTo>
                    <a:pt x="61" y="214"/>
                  </a:moveTo>
                  <a:lnTo>
                    <a:pt x="61" y="215"/>
                  </a:lnTo>
                  <a:lnTo>
                    <a:pt x="61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4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5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4" y="214"/>
                  </a:moveTo>
                  <a:lnTo>
                    <a:pt x="64" y="213"/>
                  </a:lnTo>
                  <a:lnTo>
                    <a:pt x="64" y="214"/>
                  </a:lnTo>
                  <a:close/>
                  <a:moveTo>
                    <a:pt x="65" y="213"/>
                  </a:moveTo>
                  <a:lnTo>
                    <a:pt x="65" y="214"/>
                  </a:lnTo>
                  <a:lnTo>
                    <a:pt x="65" y="213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3"/>
                  </a:moveTo>
                  <a:lnTo>
                    <a:pt x="64" y="213"/>
                  </a:lnTo>
                  <a:lnTo>
                    <a:pt x="65" y="213"/>
                  </a:lnTo>
                  <a:close/>
                  <a:moveTo>
                    <a:pt x="67" y="213"/>
                  </a:moveTo>
                  <a:lnTo>
                    <a:pt x="66" y="213"/>
                  </a:lnTo>
                  <a:lnTo>
                    <a:pt x="67" y="213"/>
                  </a:lnTo>
                  <a:close/>
                  <a:moveTo>
                    <a:pt x="62" y="213"/>
                  </a:moveTo>
                  <a:lnTo>
                    <a:pt x="62" y="213"/>
                  </a:lnTo>
                  <a:lnTo>
                    <a:pt x="62" y="213"/>
                  </a:lnTo>
                  <a:close/>
                  <a:moveTo>
                    <a:pt x="64" y="213"/>
                  </a:moveTo>
                  <a:lnTo>
                    <a:pt x="64" y="213"/>
                  </a:lnTo>
                  <a:lnTo>
                    <a:pt x="64" y="213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4" y="213"/>
                  </a:lnTo>
                  <a:close/>
                  <a:moveTo>
                    <a:pt x="63" y="213"/>
                  </a:moveTo>
                  <a:lnTo>
                    <a:pt x="63" y="212"/>
                  </a:lnTo>
                  <a:lnTo>
                    <a:pt x="63" y="213"/>
                  </a:lnTo>
                  <a:close/>
                  <a:moveTo>
                    <a:pt x="66" y="212"/>
                  </a:moveTo>
                  <a:lnTo>
                    <a:pt x="66" y="213"/>
                  </a:lnTo>
                  <a:lnTo>
                    <a:pt x="66" y="212"/>
                  </a:lnTo>
                  <a:close/>
                  <a:moveTo>
                    <a:pt x="66" y="213"/>
                  </a:moveTo>
                  <a:lnTo>
                    <a:pt x="66" y="212"/>
                  </a:lnTo>
                  <a:lnTo>
                    <a:pt x="66" y="213"/>
                  </a:lnTo>
                  <a:close/>
                  <a:moveTo>
                    <a:pt x="66" y="212"/>
                  </a:moveTo>
                  <a:lnTo>
                    <a:pt x="65" y="212"/>
                  </a:lnTo>
                  <a:lnTo>
                    <a:pt x="66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5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3" y="212"/>
                  </a:moveTo>
                  <a:lnTo>
                    <a:pt x="64" y="212"/>
                  </a:lnTo>
                  <a:lnTo>
                    <a:pt x="63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7" y="212"/>
                  </a:moveTo>
                  <a:lnTo>
                    <a:pt x="66" y="212"/>
                  </a:lnTo>
                  <a:lnTo>
                    <a:pt x="67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7" y="211"/>
                  </a:moveTo>
                  <a:lnTo>
                    <a:pt x="67" y="212"/>
                  </a:lnTo>
                  <a:lnTo>
                    <a:pt x="67" y="211"/>
                  </a:lnTo>
                  <a:close/>
                  <a:moveTo>
                    <a:pt x="69" y="211"/>
                  </a:moveTo>
                  <a:lnTo>
                    <a:pt x="68" y="211"/>
                  </a:lnTo>
                  <a:lnTo>
                    <a:pt x="69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8" y="211"/>
                  </a:moveTo>
                  <a:lnTo>
                    <a:pt x="68" y="211"/>
                  </a:lnTo>
                  <a:lnTo>
                    <a:pt x="68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1" y="211"/>
                  </a:moveTo>
                  <a:lnTo>
                    <a:pt x="61" y="211"/>
                  </a:lnTo>
                  <a:lnTo>
                    <a:pt x="61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1" y="211"/>
                  </a:moveTo>
                  <a:lnTo>
                    <a:pt x="61" y="210"/>
                  </a:lnTo>
                  <a:lnTo>
                    <a:pt x="61" y="211"/>
                  </a:lnTo>
                  <a:close/>
                  <a:moveTo>
                    <a:pt x="65" y="210"/>
                  </a:moveTo>
                  <a:lnTo>
                    <a:pt x="65" y="211"/>
                  </a:lnTo>
                  <a:lnTo>
                    <a:pt x="65" y="210"/>
                  </a:lnTo>
                  <a:close/>
                  <a:moveTo>
                    <a:pt x="67" y="210"/>
                  </a:moveTo>
                  <a:lnTo>
                    <a:pt x="67" y="211"/>
                  </a:lnTo>
                  <a:lnTo>
                    <a:pt x="67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1" y="210"/>
                  </a:moveTo>
                  <a:lnTo>
                    <a:pt x="61" y="210"/>
                  </a:lnTo>
                  <a:lnTo>
                    <a:pt x="61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1" y="210"/>
                  </a:lnTo>
                  <a:lnTo>
                    <a:pt x="62" y="210"/>
                  </a:lnTo>
                  <a:close/>
                  <a:moveTo>
                    <a:pt x="67" y="210"/>
                  </a:moveTo>
                  <a:lnTo>
                    <a:pt x="66" y="210"/>
                  </a:lnTo>
                  <a:lnTo>
                    <a:pt x="67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09"/>
                  </a:lnTo>
                  <a:lnTo>
                    <a:pt x="68" y="210"/>
                  </a:lnTo>
                  <a:close/>
                  <a:moveTo>
                    <a:pt x="65" y="210"/>
                  </a:moveTo>
                  <a:lnTo>
                    <a:pt x="65" y="209"/>
                  </a:lnTo>
                  <a:lnTo>
                    <a:pt x="65" y="210"/>
                  </a:lnTo>
                  <a:close/>
                  <a:moveTo>
                    <a:pt x="62" y="209"/>
                  </a:moveTo>
                  <a:lnTo>
                    <a:pt x="62" y="210"/>
                  </a:lnTo>
                  <a:lnTo>
                    <a:pt x="62" y="209"/>
                  </a:lnTo>
                  <a:close/>
                  <a:moveTo>
                    <a:pt x="67" y="209"/>
                  </a:moveTo>
                  <a:lnTo>
                    <a:pt x="67" y="210"/>
                  </a:lnTo>
                  <a:lnTo>
                    <a:pt x="67" y="209"/>
                  </a:lnTo>
                  <a:close/>
                  <a:moveTo>
                    <a:pt x="65" y="209"/>
                  </a:moveTo>
                  <a:lnTo>
                    <a:pt x="65" y="210"/>
                  </a:lnTo>
                  <a:lnTo>
                    <a:pt x="65" y="209"/>
                  </a:lnTo>
                  <a:close/>
                  <a:moveTo>
                    <a:pt x="69" y="209"/>
                  </a:moveTo>
                  <a:lnTo>
                    <a:pt x="68" y="209"/>
                  </a:lnTo>
                  <a:lnTo>
                    <a:pt x="69" y="209"/>
                  </a:lnTo>
                  <a:close/>
                  <a:moveTo>
                    <a:pt x="65" y="209"/>
                  </a:moveTo>
                  <a:lnTo>
                    <a:pt x="66" y="209"/>
                  </a:lnTo>
                  <a:lnTo>
                    <a:pt x="65" y="209"/>
                  </a:lnTo>
                  <a:close/>
                  <a:moveTo>
                    <a:pt x="67" y="209"/>
                  </a:moveTo>
                  <a:lnTo>
                    <a:pt x="66" y="209"/>
                  </a:lnTo>
                  <a:lnTo>
                    <a:pt x="67" y="209"/>
                  </a:lnTo>
                  <a:close/>
                  <a:moveTo>
                    <a:pt x="66" y="209"/>
                  </a:moveTo>
                  <a:lnTo>
                    <a:pt x="65" y="209"/>
                  </a:lnTo>
                  <a:lnTo>
                    <a:pt x="66" y="209"/>
                  </a:lnTo>
                  <a:close/>
                  <a:moveTo>
                    <a:pt x="69" y="209"/>
                  </a:moveTo>
                  <a:lnTo>
                    <a:pt x="69" y="209"/>
                  </a:lnTo>
                  <a:lnTo>
                    <a:pt x="69" y="209"/>
                  </a:lnTo>
                  <a:close/>
                  <a:moveTo>
                    <a:pt x="66" y="209"/>
                  </a:moveTo>
                  <a:lnTo>
                    <a:pt x="66" y="209"/>
                  </a:lnTo>
                  <a:lnTo>
                    <a:pt x="66" y="209"/>
                  </a:lnTo>
                  <a:close/>
                  <a:moveTo>
                    <a:pt x="62" y="209"/>
                  </a:moveTo>
                  <a:lnTo>
                    <a:pt x="62" y="208"/>
                  </a:lnTo>
                  <a:lnTo>
                    <a:pt x="62" y="209"/>
                  </a:lnTo>
                  <a:close/>
                  <a:moveTo>
                    <a:pt x="68" y="208"/>
                  </a:moveTo>
                  <a:lnTo>
                    <a:pt x="68" y="209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1" y="209"/>
                  </a:lnTo>
                  <a:lnTo>
                    <a:pt x="71" y="208"/>
                  </a:lnTo>
                  <a:close/>
                  <a:moveTo>
                    <a:pt x="66" y="208"/>
                  </a:moveTo>
                  <a:lnTo>
                    <a:pt x="66" y="209"/>
                  </a:lnTo>
                  <a:lnTo>
                    <a:pt x="66" y="208"/>
                  </a:lnTo>
                  <a:close/>
                  <a:moveTo>
                    <a:pt x="68" y="209"/>
                  </a:moveTo>
                  <a:lnTo>
                    <a:pt x="68" y="209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8" y="209"/>
                  </a:lnTo>
                  <a:lnTo>
                    <a:pt x="68" y="209"/>
                  </a:lnTo>
                  <a:close/>
                  <a:moveTo>
                    <a:pt x="62" y="208"/>
                  </a:moveTo>
                  <a:lnTo>
                    <a:pt x="62" y="208"/>
                  </a:lnTo>
                  <a:lnTo>
                    <a:pt x="62" y="208"/>
                  </a:lnTo>
                  <a:close/>
                  <a:moveTo>
                    <a:pt x="71" y="208"/>
                  </a:moveTo>
                  <a:lnTo>
                    <a:pt x="71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9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7"/>
                  </a:lnTo>
                  <a:lnTo>
                    <a:pt x="71" y="208"/>
                  </a:lnTo>
                  <a:close/>
                  <a:moveTo>
                    <a:pt x="64" y="207"/>
                  </a:moveTo>
                  <a:lnTo>
                    <a:pt x="64" y="208"/>
                  </a:lnTo>
                  <a:lnTo>
                    <a:pt x="64" y="207"/>
                  </a:lnTo>
                  <a:close/>
                  <a:moveTo>
                    <a:pt x="70" y="208"/>
                  </a:moveTo>
                  <a:lnTo>
                    <a:pt x="70" y="207"/>
                  </a:lnTo>
                  <a:lnTo>
                    <a:pt x="70" y="208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1" y="207"/>
                  </a:moveTo>
                  <a:lnTo>
                    <a:pt x="70" y="207"/>
                  </a:lnTo>
                  <a:lnTo>
                    <a:pt x="71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69" y="207"/>
                  </a:lnTo>
                  <a:lnTo>
                    <a:pt x="70" y="207"/>
                  </a:lnTo>
                  <a:lnTo>
                    <a:pt x="70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2" y="207"/>
                  </a:moveTo>
                  <a:lnTo>
                    <a:pt x="72" y="207"/>
                  </a:lnTo>
                  <a:lnTo>
                    <a:pt x="72" y="207"/>
                  </a:lnTo>
                  <a:close/>
                  <a:moveTo>
                    <a:pt x="69" y="207"/>
                  </a:moveTo>
                  <a:lnTo>
                    <a:pt x="70" y="207"/>
                  </a:lnTo>
                  <a:lnTo>
                    <a:pt x="69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70" y="207"/>
                  </a:lnTo>
                  <a:close/>
                  <a:moveTo>
                    <a:pt x="72" y="207"/>
                  </a:moveTo>
                  <a:lnTo>
                    <a:pt x="72" y="206"/>
                  </a:lnTo>
                  <a:lnTo>
                    <a:pt x="72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7"/>
                  </a:moveTo>
                  <a:lnTo>
                    <a:pt x="70" y="206"/>
                  </a:lnTo>
                  <a:lnTo>
                    <a:pt x="70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69" y="206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6"/>
                  </a:moveTo>
                  <a:lnTo>
                    <a:pt x="66" y="206"/>
                  </a:lnTo>
                  <a:lnTo>
                    <a:pt x="66" y="206"/>
                  </a:lnTo>
                  <a:close/>
                  <a:moveTo>
                    <a:pt x="73" y="206"/>
                  </a:moveTo>
                  <a:lnTo>
                    <a:pt x="72" y="206"/>
                  </a:lnTo>
                  <a:lnTo>
                    <a:pt x="73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9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68" y="206"/>
                  </a:moveTo>
                  <a:lnTo>
                    <a:pt x="69" y="206"/>
                  </a:lnTo>
                  <a:lnTo>
                    <a:pt x="68" y="206"/>
                  </a:lnTo>
                  <a:close/>
                  <a:moveTo>
                    <a:pt x="70" y="206"/>
                  </a:moveTo>
                  <a:lnTo>
                    <a:pt x="70" y="206"/>
                  </a:lnTo>
                  <a:lnTo>
                    <a:pt x="70" y="206"/>
                  </a:lnTo>
                  <a:close/>
                  <a:moveTo>
                    <a:pt x="68" y="206"/>
                  </a:moveTo>
                  <a:lnTo>
                    <a:pt x="68" y="206"/>
                  </a:lnTo>
                  <a:lnTo>
                    <a:pt x="68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4" y="206"/>
                  </a:moveTo>
                  <a:lnTo>
                    <a:pt x="73" y="206"/>
                  </a:lnTo>
                  <a:lnTo>
                    <a:pt x="74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4"/>
                  </a:moveTo>
                  <a:lnTo>
                    <a:pt x="71" y="204"/>
                  </a:lnTo>
                  <a:lnTo>
                    <a:pt x="71" y="205"/>
                  </a:lnTo>
                  <a:lnTo>
                    <a:pt x="71" y="204"/>
                  </a:lnTo>
                  <a:lnTo>
                    <a:pt x="72" y="204"/>
                  </a:lnTo>
                  <a:close/>
                  <a:moveTo>
                    <a:pt x="72" y="204"/>
                  </a:moveTo>
                  <a:lnTo>
                    <a:pt x="72" y="204"/>
                  </a:lnTo>
                  <a:lnTo>
                    <a:pt x="72" y="204"/>
                  </a:lnTo>
                  <a:close/>
                  <a:moveTo>
                    <a:pt x="71" y="204"/>
                  </a:moveTo>
                  <a:lnTo>
                    <a:pt x="71" y="204"/>
                  </a:lnTo>
                  <a:lnTo>
                    <a:pt x="71" y="204"/>
                  </a:lnTo>
                  <a:close/>
                  <a:moveTo>
                    <a:pt x="69" y="203"/>
                  </a:moveTo>
                  <a:lnTo>
                    <a:pt x="69" y="204"/>
                  </a:lnTo>
                  <a:lnTo>
                    <a:pt x="69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4" y="203"/>
                  </a:moveTo>
                  <a:lnTo>
                    <a:pt x="74" y="203"/>
                  </a:lnTo>
                  <a:lnTo>
                    <a:pt x="74" y="203"/>
                  </a:lnTo>
                  <a:close/>
                  <a:moveTo>
                    <a:pt x="75" y="203"/>
                  </a:moveTo>
                  <a:lnTo>
                    <a:pt x="74" y="203"/>
                  </a:lnTo>
                  <a:lnTo>
                    <a:pt x="75" y="203"/>
                  </a:lnTo>
                  <a:close/>
                  <a:moveTo>
                    <a:pt x="74" y="203"/>
                  </a:moveTo>
                  <a:lnTo>
                    <a:pt x="73" y="203"/>
                  </a:lnTo>
                  <a:lnTo>
                    <a:pt x="74" y="203"/>
                  </a:lnTo>
                  <a:lnTo>
                    <a:pt x="73" y="203"/>
                  </a:lnTo>
                  <a:lnTo>
                    <a:pt x="74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5" y="202"/>
                  </a:moveTo>
                  <a:lnTo>
                    <a:pt x="75" y="203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6" y="201"/>
                  </a:moveTo>
                  <a:lnTo>
                    <a:pt x="76" y="201"/>
                  </a:lnTo>
                  <a:lnTo>
                    <a:pt x="76" y="201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84" y="201"/>
                  </a:moveTo>
                  <a:lnTo>
                    <a:pt x="84" y="200"/>
                  </a:lnTo>
                  <a:lnTo>
                    <a:pt x="84" y="201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7" y="200"/>
                  </a:moveTo>
                  <a:lnTo>
                    <a:pt x="77" y="200"/>
                  </a:lnTo>
                  <a:lnTo>
                    <a:pt x="77" y="200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2" y="199"/>
                  </a:moveTo>
                  <a:lnTo>
                    <a:pt x="72" y="200"/>
                  </a:lnTo>
                  <a:lnTo>
                    <a:pt x="72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3" y="199"/>
                  </a:moveTo>
                  <a:lnTo>
                    <a:pt x="72" y="199"/>
                  </a:lnTo>
                  <a:lnTo>
                    <a:pt x="73" y="199"/>
                  </a:lnTo>
                  <a:close/>
                  <a:moveTo>
                    <a:pt x="79" y="199"/>
                  </a:moveTo>
                  <a:lnTo>
                    <a:pt x="79" y="199"/>
                  </a:lnTo>
                  <a:lnTo>
                    <a:pt x="79" y="199"/>
                  </a:lnTo>
                  <a:close/>
                  <a:moveTo>
                    <a:pt x="76" y="199"/>
                  </a:moveTo>
                  <a:lnTo>
                    <a:pt x="77" y="199"/>
                  </a:lnTo>
                  <a:lnTo>
                    <a:pt x="76" y="199"/>
                  </a:lnTo>
                  <a:close/>
                  <a:moveTo>
                    <a:pt x="77" y="199"/>
                  </a:moveTo>
                  <a:lnTo>
                    <a:pt x="76" y="199"/>
                  </a:lnTo>
                  <a:lnTo>
                    <a:pt x="77" y="199"/>
                  </a:lnTo>
                  <a:close/>
                  <a:moveTo>
                    <a:pt x="74" y="199"/>
                  </a:moveTo>
                  <a:lnTo>
                    <a:pt x="75" y="199"/>
                  </a:lnTo>
                  <a:lnTo>
                    <a:pt x="74" y="199"/>
                  </a:lnTo>
                  <a:close/>
                  <a:moveTo>
                    <a:pt x="78" y="199"/>
                  </a:moveTo>
                  <a:lnTo>
                    <a:pt x="77" y="199"/>
                  </a:lnTo>
                  <a:lnTo>
                    <a:pt x="78" y="199"/>
                  </a:lnTo>
                  <a:close/>
                  <a:moveTo>
                    <a:pt x="81" y="199"/>
                  </a:moveTo>
                  <a:lnTo>
                    <a:pt x="80" y="199"/>
                  </a:lnTo>
                  <a:lnTo>
                    <a:pt x="81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8" y="199"/>
                  </a:moveTo>
                  <a:lnTo>
                    <a:pt x="78" y="198"/>
                  </a:lnTo>
                  <a:lnTo>
                    <a:pt x="78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80" y="198"/>
                  </a:moveTo>
                  <a:lnTo>
                    <a:pt x="80" y="198"/>
                  </a:lnTo>
                  <a:lnTo>
                    <a:pt x="80" y="198"/>
                  </a:lnTo>
                  <a:close/>
                  <a:moveTo>
                    <a:pt x="75" y="198"/>
                  </a:moveTo>
                  <a:lnTo>
                    <a:pt x="76" y="198"/>
                  </a:lnTo>
                  <a:lnTo>
                    <a:pt x="75" y="198"/>
                  </a:lnTo>
                  <a:close/>
                  <a:moveTo>
                    <a:pt x="76" y="198"/>
                  </a:moveTo>
                  <a:lnTo>
                    <a:pt x="75" y="198"/>
                  </a:lnTo>
                  <a:lnTo>
                    <a:pt x="76" y="198"/>
                  </a:lnTo>
                  <a:close/>
                  <a:moveTo>
                    <a:pt x="76" y="198"/>
                  </a:moveTo>
                  <a:lnTo>
                    <a:pt x="76" y="198"/>
                  </a:lnTo>
                  <a:lnTo>
                    <a:pt x="76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75" y="198"/>
                  </a:moveTo>
                  <a:lnTo>
                    <a:pt x="75" y="197"/>
                  </a:lnTo>
                  <a:lnTo>
                    <a:pt x="75" y="198"/>
                  </a:lnTo>
                  <a:close/>
                  <a:moveTo>
                    <a:pt x="76" y="197"/>
                  </a:moveTo>
                  <a:lnTo>
                    <a:pt x="76" y="198"/>
                  </a:lnTo>
                  <a:lnTo>
                    <a:pt x="76" y="197"/>
                  </a:lnTo>
                  <a:close/>
                  <a:moveTo>
                    <a:pt x="75" y="197"/>
                  </a:moveTo>
                  <a:lnTo>
                    <a:pt x="75" y="198"/>
                  </a:lnTo>
                  <a:lnTo>
                    <a:pt x="75" y="197"/>
                  </a:lnTo>
                  <a:close/>
                  <a:moveTo>
                    <a:pt x="80" y="198"/>
                  </a:moveTo>
                  <a:lnTo>
                    <a:pt x="80" y="197"/>
                  </a:lnTo>
                  <a:lnTo>
                    <a:pt x="80" y="198"/>
                  </a:lnTo>
                  <a:close/>
                  <a:moveTo>
                    <a:pt x="77" y="198"/>
                  </a:moveTo>
                  <a:lnTo>
                    <a:pt x="76" y="198"/>
                  </a:lnTo>
                  <a:lnTo>
                    <a:pt x="77" y="197"/>
                  </a:lnTo>
                  <a:lnTo>
                    <a:pt x="77" y="198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6" y="197"/>
                  </a:lnTo>
                  <a:lnTo>
                    <a:pt x="87" y="196"/>
                  </a:lnTo>
                  <a:close/>
                  <a:moveTo>
                    <a:pt x="82" y="196"/>
                  </a:moveTo>
                  <a:lnTo>
                    <a:pt x="82" y="197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5"/>
                  </a:moveTo>
                  <a:lnTo>
                    <a:pt x="82" y="195"/>
                  </a:lnTo>
                  <a:lnTo>
                    <a:pt x="82" y="195"/>
                  </a:lnTo>
                  <a:close/>
                  <a:moveTo>
                    <a:pt x="82" y="195"/>
                  </a:moveTo>
                  <a:lnTo>
                    <a:pt x="83" y="195"/>
                  </a:lnTo>
                  <a:lnTo>
                    <a:pt x="82" y="195"/>
                  </a:lnTo>
                  <a:close/>
                  <a:moveTo>
                    <a:pt x="84" y="195"/>
                  </a:moveTo>
                  <a:lnTo>
                    <a:pt x="83" y="195"/>
                  </a:lnTo>
                  <a:lnTo>
                    <a:pt x="84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4"/>
                  </a:moveTo>
                  <a:lnTo>
                    <a:pt x="82" y="194"/>
                  </a:lnTo>
                  <a:lnTo>
                    <a:pt x="82" y="194"/>
                  </a:lnTo>
                  <a:close/>
                  <a:moveTo>
                    <a:pt x="66" y="194"/>
                  </a:moveTo>
                  <a:lnTo>
                    <a:pt x="66" y="194"/>
                  </a:lnTo>
                  <a:lnTo>
                    <a:pt x="66" y="194"/>
                  </a:lnTo>
                  <a:close/>
                  <a:moveTo>
                    <a:pt x="83" y="193"/>
                  </a:moveTo>
                  <a:lnTo>
                    <a:pt x="82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3" y="193"/>
                  </a:lnTo>
                  <a:lnTo>
                    <a:pt x="82" y="193"/>
                  </a:lnTo>
                  <a:close/>
                  <a:moveTo>
                    <a:pt x="81" y="193"/>
                  </a:moveTo>
                  <a:lnTo>
                    <a:pt x="81" y="193"/>
                  </a:lnTo>
                  <a:lnTo>
                    <a:pt x="81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4" y="193"/>
                  </a:moveTo>
                  <a:lnTo>
                    <a:pt x="84" y="193"/>
                  </a:lnTo>
                  <a:lnTo>
                    <a:pt x="84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2" y="192"/>
                  </a:lnTo>
                  <a:lnTo>
                    <a:pt x="82" y="193"/>
                  </a:lnTo>
                  <a:close/>
                  <a:moveTo>
                    <a:pt x="82" y="192"/>
                  </a:moveTo>
                  <a:lnTo>
                    <a:pt x="82" y="193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3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1" y="192"/>
                  </a:moveTo>
                  <a:lnTo>
                    <a:pt x="82" y="192"/>
                  </a:lnTo>
                  <a:lnTo>
                    <a:pt x="81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3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3" y="191"/>
                  </a:lnTo>
                  <a:lnTo>
                    <a:pt x="82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4" y="190"/>
                  </a:lnTo>
                  <a:lnTo>
                    <a:pt x="84" y="190"/>
                  </a:lnTo>
                  <a:close/>
                  <a:moveTo>
                    <a:pt x="88" y="190"/>
                  </a:moveTo>
                  <a:lnTo>
                    <a:pt x="87" y="190"/>
                  </a:lnTo>
                  <a:lnTo>
                    <a:pt x="88" y="190"/>
                  </a:lnTo>
                  <a:close/>
                  <a:moveTo>
                    <a:pt x="91" y="189"/>
                  </a:moveTo>
                  <a:lnTo>
                    <a:pt x="90" y="189"/>
                  </a:lnTo>
                  <a:lnTo>
                    <a:pt x="91" y="189"/>
                  </a:lnTo>
                  <a:close/>
                  <a:moveTo>
                    <a:pt x="86" y="189"/>
                  </a:moveTo>
                  <a:lnTo>
                    <a:pt x="85" y="189"/>
                  </a:lnTo>
                  <a:lnTo>
                    <a:pt x="86" y="189"/>
                  </a:lnTo>
                  <a:close/>
                  <a:moveTo>
                    <a:pt x="86" y="189"/>
                  </a:moveTo>
                  <a:lnTo>
                    <a:pt x="86" y="189"/>
                  </a:lnTo>
                  <a:lnTo>
                    <a:pt x="86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0" y="189"/>
                  </a:moveTo>
                  <a:lnTo>
                    <a:pt x="70" y="188"/>
                  </a:lnTo>
                  <a:lnTo>
                    <a:pt x="70" y="189"/>
                  </a:lnTo>
                  <a:close/>
                  <a:moveTo>
                    <a:pt x="87" y="188"/>
                  </a:moveTo>
                  <a:lnTo>
                    <a:pt x="87" y="189"/>
                  </a:lnTo>
                  <a:lnTo>
                    <a:pt x="87" y="188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4" y="189"/>
                  </a:moveTo>
                  <a:lnTo>
                    <a:pt x="73" y="189"/>
                  </a:lnTo>
                  <a:lnTo>
                    <a:pt x="74" y="188"/>
                  </a:lnTo>
                  <a:lnTo>
                    <a:pt x="74" y="189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74" y="188"/>
                  </a:moveTo>
                  <a:lnTo>
                    <a:pt x="75" y="188"/>
                  </a:lnTo>
                  <a:lnTo>
                    <a:pt x="74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69" y="188"/>
                  </a:moveTo>
                  <a:lnTo>
                    <a:pt x="69" y="188"/>
                  </a:lnTo>
                  <a:lnTo>
                    <a:pt x="69" y="188"/>
                  </a:lnTo>
                  <a:close/>
                  <a:moveTo>
                    <a:pt x="88" y="188"/>
                  </a:moveTo>
                  <a:lnTo>
                    <a:pt x="88" y="188"/>
                  </a:lnTo>
                  <a:lnTo>
                    <a:pt x="88" y="188"/>
                  </a:lnTo>
                  <a:close/>
                  <a:moveTo>
                    <a:pt x="90" y="188"/>
                  </a:moveTo>
                  <a:lnTo>
                    <a:pt x="91" y="188"/>
                  </a:lnTo>
                  <a:lnTo>
                    <a:pt x="90" y="188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80" y="187"/>
                  </a:moveTo>
                  <a:lnTo>
                    <a:pt x="80" y="188"/>
                  </a:lnTo>
                  <a:lnTo>
                    <a:pt x="80" y="187"/>
                  </a:lnTo>
                  <a:close/>
                  <a:moveTo>
                    <a:pt x="82" y="188"/>
                  </a:moveTo>
                  <a:lnTo>
                    <a:pt x="82" y="187"/>
                  </a:lnTo>
                  <a:lnTo>
                    <a:pt x="82" y="188"/>
                  </a:lnTo>
                  <a:close/>
                  <a:moveTo>
                    <a:pt x="76" y="187"/>
                  </a:moveTo>
                  <a:lnTo>
                    <a:pt x="76" y="188"/>
                  </a:lnTo>
                  <a:lnTo>
                    <a:pt x="76" y="187"/>
                  </a:lnTo>
                  <a:close/>
                  <a:moveTo>
                    <a:pt x="78" y="188"/>
                  </a:moveTo>
                  <a:lnTo>
                    <a:pt x="78" y="187"/>
                  </a:lnTo>
                  <a:lnTo>
                    <a:pt x="78" y="188"/>
                  </a:lnTo>
                  <a:close/>
                  <a:moveTo>
                    <a:pt x="78" y="187"/>
                  </a:moveTo>
                  <a:lnTo>
                    <a:pt x="78" y="188"/>
                  </a:lnTo>
                  <a:lnTo>
                    <a:pt x="78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91" y="187"/>
                  </a:moveTo>
                  <a:lnTo>
                    <a:pt x="90" y="187"/>
                  </a:lnTo>
                  <a:lnTo>
                    <a:pt x="91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5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7" y="187"/>
                  </a:moveTo>
                  <a:lnTo>
                    <a:pt x="77" y="187"/>
                  </a:lnTo>
                  <a:lnTo>
                    <a:pt x="77" y="187"/>
                  </a:lnTo>
                  <a:close/>
                  <a:moveTo>
                    <a:pt x="78" y="186"/>
                  </a:moveTo>
                  <a:lnTo>
                    <a:pt x="77" y="186"/>
                  </a:lnTo>
                  <a:lnTo>
                    <a:pt x="78" y="186"/>
                  </a:lnTo>
                  <a:close/>
                  <a:moveTo>
                    <a:pt x="81" y="186"/>
                  </a:moveTo>
                  <a:lnTo>
                    <a:pt x="81" y="186"/>
                  </a:lnTo>
                  <a:lnTo>
                    <a:pt x="81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5" y="186"/>
                  </a:moveTo>
                  <a:lnTo>
                    <a:pt x="84" y="186"/>
                  </a:lnTo>
                  <a:lnTo>
                    <a:pt x="85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7" y="186"/>
                  </a:moveTo>
                  <a:lnTo>
                    <a:pt x="87" y="185"/>
                  </a:lnTo>
                  <a:lnTo>
                    <a:pt x="87" y="186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6" y="186"/>
                  </a:moveTo>
                  <a:lnTo>
                    <a:pt x="86" y="185"/>
                  </a:lnTo>
                  <a:lnTo>
                    <a:pt x="86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4" y="185"/>
                  </a:moveTo>
                  <a:lnTo>
                    <a:pt x="75" y="185"/>
                  </a:lnTo>
                  <a:lnTo>
                    <a:pt x="74" y="185"/>
                  </a:lnTo>
                  <a:close/>
                  <a:moveTo>
                    <a:pt x="87" y="185"/>
                  </a:moveTo>
                  <a:lnTo>
                    <a:pt x="86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90" y="185"/>
                  </a:move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73" y="185"/>
                  </a:moveTo>
                  <a:lnTo>
                    <a:pt x="73" y="185"/>
                  </a:lnTo>
                  <a:lnTo>
                    <a:pt x="73" y="185"/>
                  </a:lnTo>
                  <a:close/>
                  <a:moveTo>
                    <a:pt x="86" y="185"/>
                  </a:moveTo>
                  <a:lnTo>
                    <a:pt x="86" y="185"/>
                  </a:lnTo>
                  <a:lnTo>
                    <a:pt x="86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79" y="185"/>
                  </a:moveTo>
                  <a:lnTo>
                    <a:pt x="78" y="185"/>
                  </a:lnTo>
                  <a:lnTo>
                    <a:pt x="79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0" y="185"/>
                  </a:moveTo>
                  <a:lnTo>
                    <a:pt x="79" y="185"/>
                  </a:lnTo>
                  <a:lnTo>
                    <a:pt x="80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6" y="185"/>
                  </a:moveTo>
                  <a:lnTo>
                    <a:pt x="86" y="184"/>
                  </a:lnTo>
                  <a:lnTo>
                    <a:pt x="86" y="185"/>
                  </a:lnTo>
                  <a:close/>
                  <a:moveTo>
                    <a:pt x="100" y="184"/>
                  </a:moveTo>
                  <a:lnTo>
                    <a:pt x="99" y="184"/>
                  </a:lnTo>
                  <a:lnTo>
                    <a:pt x="100" y="184"/>
                  </a:lnTo>
                  <a:close/>
                  <a:moveTo>
                    <a:pt x="90" y="184"/>
                  </a:moveTo>
                  <a:lnTo>
                    <a:pt x="90" y="184"/>
                  </a:lnTo>
                  <a:lnTo>
                    <a:pt x="90" y="184"/>
                  </a:lnTo>
                  <a:close/>
                  <a:moveTo>
                    <a:pt x="87" y="184"/>
                  </a:moveTo>
                  <a:lnTo>
                    <a:pt x="87" y="184"/>
                  </a:lnTo>
                  <a:lnTo>
                    <a:pt x="87" y="184"/>
                  </a:lnTo>
                  <a:close/>
                  <a:moveTo>
                    <a:pt x="80" y="184"/>
                  </a:moveTo>
                  <a:lnTo>
                    <a:pt x="79" y="184"/>
                  </a:lnTo>
                  <a:lnTo>
                    <a:pt x="80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close/>
                  <a:moveTo>
                    <a:pt x="92" y="183"/>
                  </a:moveTo>
                  <a:lnTo>
                    <a:pt x="93" y="183"/>
                  </a:lnTo>
                  <a:lnTo>
                    <a:pt x="92" y="183"/>
                  </a:lnTo>
                  <a:close/>
                  <a:moveTo>
                    <a:pt x="93" y="183"/>
                  </a:moveTo>
                  <a:lnTo>
                    <a:pt x="92" y="183"/>
                  </a:lnTo>
                  <a:lnTo>
                    <a:pt x="93" y="183"/>
                  </a:lnTo>
                  <a:close/>
                  <a:moveTo>
                    <a:pt x="100" y="183"/>
                  </a:moveTo>
                  <a:lnTo>
                    <a:pt x="99" y="183"/>
                  </a:lnTo>
                  <a:lnTo>
                    <a:pt x="100" y="183"/>
                  </a:lnTo>
                  <a:close/>
                  <a:moveTo>
                    <a:pt x="106" y="183"/>
                  </a:moveTo>
                  <a:lnTo>
                    <a:pt x="105" y="183"/>
                  </a:lnTo>
                  <a:lnTo>
                    <a:pt x="106" y="183"/>
                  </a:lnTo>
                  <a:close/>
                  <a:moveTo>
                    <a:pt x="86" y="182"/>
                  </a:moveTo>
                  <a:lnTo>
                    <a:pt x="86" y="182"/>
                  </a:lnTo>
                  <a:lnTo>
                    <a:pt x="86" y="182"/>
                  </a:lnTo>
                  <a:close/>
                  <a:moveTo>
                    <a:pt x="84" y="182"/>
                  </a:moveTo>
                  <a:lnTo>
                    <a:pt x="84" y="182"/>
                  </a:lnTo>
                  <a:lnTo>
                    <a:pt x="84" y="182"/>
                  </a:lnTo>
                  <a:close/>
                  <a:moveTo>
                    <a:pt x="97" y="182"/>
                  </a:moveTo>
                  <a:lnTo>
                    <a:pt x="97" y="182"/>
                  </a:lnTo>
                  <a:lnTo>
                    <a:pt x="97" y="182"/>
                  </a:lnTo>
                  <a:close/>
                  <a:moveTo>
                    <a:pt x="97" y="181"/>
                  </a:moveTo>
                  <a:lnTo>
                    <a:pt x="97" y="182"/>
                  </a:lnTo>
                  <a:lnTo>
                    <a:pt x="97" y="181"/>
                  </a:lnTo>
                  <a:close/>
                  <a:moveTo>
                    <a:pt x="87" y="181"/>
                  </a:moveTo>
                  <a:lnTo>
                    <a:pt x="87" y="181"/>
                  </a:lnTo>
                  <a:lnTo>
                    <a:pt x="87" y="181"/>
                  </a:lnTo>
                  <a:close/>
                  <a:moveTo>
                    <a:pt x="88" y="181"/>
                  </a:moveTo>
                  <a:lnTo>
                    <a:pt x="88" y="181"/>
                  </a:lnTo>
                  <a:lnTo>
                    <a:pt x="88" y="181"/>
                  </a:lnTo>
                  <a:close/>
                  <a:moveTo>
                    <a:pt x="80" y="181"/>
                  </a:moveTo>
                  <a:lnTo>
                    <a:pt x="80" y="181"/>
                  </a:lnTo>
                  <a:lnTo>
                    <a:pt x="80" y="181"/>
                  </a:lnTo>
                  <a:close/>
                  <a:moveTo>
                    <a:pt x="83" y="181"/>
                  </a:moveTo>
                  <a:lnTo>
                    <a:pt x="83" y="181"/>
                  </a:lnTo>
                  <a:lnTo>
                    <a:pt x="83" y="181"/>
                  </a:lnTo>
                  <a:close/>
                  <a:moveTo>
                    <a:pt x="82" y="180"/>
                  </a:moveTo>
                  <a:lnTo>
                    <a:pt x="82" y="181"/>
                  </a:lnTo>
                  <a:lnTo>
                    <a:pt x="82" y="180"/>
                  </a:lnTo>
                  <a:close/>
                  <a:moveTo>
                    <a:pt x="82" y="180"/>
                  </a:moveTo>
                  <a:lnTo>
                    <a:pt x="82" y="180"/>
                  </a:lnTo>
                  <a:lnTo>
                    <a:pt x="82" y="180"/>
                  </a:lnTo>
                  <a:close/>
                  <a:moveTo>
                    <a:pt x="83" y="180"/>
                  </a:moveTo>
                  <a:lnTo>
                    <a:pt x="82" y="180"/>
                  </a:lnTo>
                  <a:lnTo>
                    <a:pt x="83" y="180"/>
                  </a:lnTo>
                  <a:close/>
                  <a:moveTo>
                    <a:pt x="82" y="179"/>
                  </a:moveTo>
                  <a:lnTo>
                    <a:pt x="82" y="180"/>
                  </a:lnTo>
                  <a:lnTo>
                    <a:pt x="82" y="179"/>
                  </a:lnTo>
                  <a:close/>
                  <a:moveTo>
                    <a:pt x="86" y="179"/>
                  </a:moveTo>
                  <a:lnTo>
                    <a:pt x="85" y="179"/>
                  </a:lnTo>
                  <a:lnTo>
                    <a:pt x="86" y="179"/>
                  </a:lnTo>
                  <a:close/>
                  <a:moveTo>
                    <a:pt x="97" y="178"/>
                  </a:moveTo>
                  <a:lnTo>
                    <a:pt x="97" y="179"/>
                  </a:lnTo>
                  <a:lnTo>
                    <a:pt x="97" y="178"/>
                  </a:lnTo>
                  <a:close/>
                  <a:moveTo>
                    <a:pt x="84" y="178"/>
                  </a:moveTo>
                  <a:lnTo>
                    <a:pt x="83" y="178"/>
                  </a:lnTo>
                  <a:lnTo>
                    <a:pt x="84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83" y="178"/>
                  </a:moveTo>
                  <a:lnTo>
                    <a:pt x="83" y="178"/>
                  </a:lnTo>
                  <a:lnTo>
                    <a:pt x="83" y="178"/>
                  </a:lnTo>
                  <a:close/>
                  <a:moveTo>
                    <a:pt x="82" y="178"/>
                  </a:moveTo>
                  <a:lnTo>
                    <a:pt x="81" y="178"/>
                  </a:lnTo>
                  <a:lnTo>
                    <a:pt x="82" y="178"/>
                  </a:lnTo>
                  <a:close/>
                  <a:moveTo>
                    <a:pt x="97" y="178"/>
                  </a:moveTo>
                  <a:lnTo>
                    <a:pt x="98" y="178"/>
                  </a:lnTo>
                  <a:lnTo>
                    <a:pt x="97" y="178"/>
                  </a:lnTo>
                  <a:close/>
                  <a:moveTo>
                    <a:pt x="88" y="178"/>
                  </a:moveTo>
                  <a:lnTo>
                    <a:pt x="87" y="178"/>
                  </a:lnTo>
                  <a:lnTo>
                    <a:pt x="88" y="178"/>
                  </a:lnTo>
                  <a:close/>
                  <a:moveTo>
                    <a:pt x="84" y="178"/>
                  </a:moveTo>
                  <a:lnTo>
                    <a:pt x="84" y="177"/>
                  </a:lnTo>
                  <a:lnTo>
                    <a:pt x="84" y="178"/>
                  </a:lnTo>
                  <a:close/>
                  <a:moveTo>
                    <a:pt x="82" y="177"/>
                  </a:moveTo>
                  <a:lnTo>
                    <a:pt x="82" y="177"/>
                  </a:lnTo>
                  <a:lnTo>
                    <a:pt x="82" y="177"/>
                  </a:lnTo>
                  <a:close/>
                  <a:moveTo>
                    <a:pt x="94" y="177"/>
                  </a:moveTo>
                  <a:lnTo>
                    <a:pt x="94" y="177"/>
                  </a:lnTo>
                  <a:lnTo>
                    <a:pt x="94" y="177"/>
                  </a:lnTo>
                  <a:close/>
                  <a:moveTo>
                    <a:pt x="87" y="177"/>
                  </a:moveTo>
                  <a:lnTo>
                    <a:pt x="87" y="177"/>
                  </a:lnTo>
                  <a:lnTo>
                    <a:pt x="87" y="177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5" y="176"/>
                  </a:moveTo>
                  <a:lnTo>
                    <a:pt x="94" y="176"/>
                  </a:lnTo>
                  <a:lnTo>
                    <a:pt x="95" y="176"/>
                  </a:lnTo>
                  <a:close/>
                  <a:moveTo>
                    <a:pt x="86" y="176"/>
                  </a:move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5"/>
                  </a:moveTo>
                  <a:lnTo>
                    <a:pt x="94" y="176"/>
                  </a:lnTo>
                  <a:lnTo>
                    <a:pt x="94" y="175"/>
                  </a:lnTo>
                  <a:close/>
                  <a:moveTo>
                    <a:pt x="102" y="175"/>
                  </a:moveTo>
                  <a:lnTo>
                    <a:pt x="102" y="175"/>
                  </a:lnTo>
                  <a:lnTo>
                    <a:pt x="102" y="175"/>
                  </a:lnTo>
                  <a:close/>
                  <a:moveTo>
                    <a:pt x="105" y="175"/>
                  </a:moveTo>
                  <a:lnTo>
                    <a:pt x="104" y="175"/>
                  </a:lnTo>
                  <a:lnTo>
                    <a:pt x="105" y="175"/>
                  </a:lnTo>
                  <a:close/>
                  <a:moveTo>
                    <a:pt x="97" y="175"/>
                  </a:moveTo>
                  <a:lnTo>
                    <a:pt x="97" y="175"/>
                  </a:lnTo>
                  <a:lnTo>
                    <a:pt x="97" y="175"/>
                  </a:lnTo>
                  <a:close/>
                  <a:moveTo>
                    <a:pt x="95" y="175"/>
                  </a:moveTo>
                  <a:lnTo>
                    <a:pt x="95" y="174"/>
                  </a:lnTo>
                  <a:lnTo>
                    <a:pt x="95" y="174"/>
                  </a:lnTo>
                  <a:lnTo>
                    <a:pt x="95" y="175"/>
                  </a:lnTo>
                  <a:close/>
                  <a:moveTo>
                    <a:pt x="95" y="174"/>
                  </a:moveTo>
                  <a:lnTo>
                    <a:pt x="95" y="174"/>
                  </a:lnTo>
                  <a:lnTo>
                    <a:pt x="95" y="174"/>
                  </a:lnTo>
                  <a:close/>
                  <a:moveTo>
                    <a:pt x="96" y="174"/>
                  </a:moveTo>
                  <a:lnTo>
                    <a:pt x="97" y="174"/>
                  </a:lnTo>
                  <a:lnTo>
                    <a:pt x="96" y="174"/>
                  </a:lnTo>
                  <a:close/>
                  <a:moveTo>
                    <a:pt x="97" y="174"/>
                  </a:moveTo>
                  <a:lnTo>
                    <a:pt x="96" y="174"/>
                  </a:lnTo>
                  <a:lnTo>
                    <a:pt x="97" y="174"/>
                  </a:lnTo>
                  <a:close/>
                  <a:moveTo>
                    <a:pt x="90" y="173"/>
                  </a:moveTo>
                  <a:lnTo>
                    <a:pt x="90" y="173"/>
                  </a:lnTo>
                  <a:lnTo>
                    <a:pt x="90" y="173"/>
                  </a:lnTo>
                  <a:close/>
                  <a:moveTo>
                    <a:pt x="98" y="173"/>
                  </a:moveTo>
                  <a:lnTo>
                    <a:pt x="97" y="173"/>
                  </a:lnTo>
                  <a:lnTo>
                    <a:pt x="98" y="173"/>
                  </a:lnTo>
                  <a:close/>
                  <a:moveTo>
                    <a:pt x="113" y="173"/>
                  </a:moveTo>
                  <a:lnTo>
                    <a:pt x="113" y="173"/>
                  </a:lnTo>
                  <a:lnTo>
                    <a:pt x="113" y="173"/>
                  </a:lnTo>
                  <a:close/>
                  <a:moveTo>
                    <a:pt x="91" y="173"/>
                  </a:moveTo>
                  <a:lnTo>
                    <a:pt x="91" y="173"/>
                  </a:lnTo>
                  <a:lnTo>
                    <a:pt x="91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109" y="172"/>
                  </a:moveTo>
                  <a:lnTo>
                    <a:pt x="109" y="173"/>
                  </a:lnTo>
                  <a:lnTo>
                    <a:pt x="109" y="172"/>
                  </a:lnTo>
                  <a:lnTo>
                    <a:pt x="109" y="172"/>
                  </a:lnTo>
                  <a:close/>
                  <a:moveTo>
                    <a:pt x="99" y="171"/>
                  </a:moveTo>
                  <a:lnTo>
                    <a:pt x="99" y="171"/>
                  </a:lnTo>
                  <a:lnTo>
                    <a:pt x="99" y="171"/>
                  </a:lnTo>
                  <a:close/>
                  <a:moveTo>
                    <a:pt x="101" y="171"/>
                  </a:moveTo>
                  <a:lnTo>
                    <a:pt x="100" y="171"/>
                  </a:lnTo>
                  <a:lnTo>
                    <a:pt x="101" y="171"/>
                  </a:lnTo>
                  <a:close/>
                  <a:moveTo>
                    <a:pt x="109" y="170"/>
                  </a:moveTo>
                  <a:lnTo>
                    <a:pt x="109" y="171"/>
                  </a:lnTo>
                  <a:lnTo>
                    <a:pt x="109" y="170"/>
                  </a:lnTo>
                  <a:close/>
                  <a:moveTo>
                    <a:pt x="122" y="170"/>
                  </a:moveTo>
                  <a:lnTo>
                    <a:pt x="121" y="170"/>
                  </a:lnTo>
                  <a:lnTo>
                    <a:pt x="122" y="170"/>
                  </a:lnTo>
                  <a:close/>
                  <a:moveTo>
                    <a:pt x="102" y="169"/>
                  </a:moveTo>
                  <a:lnTo>
                    <a:pt x="102" y="170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27" y="167"/>
                  </a:moveTo>
                  <a:lnTo>
                    <a:pt x="127" y="168"/>
                  </a:lnTo>
                  <a:lnTo>
                    <a:pt x="127" y="167"/>
                  </a:lnTo>
                  <a:close/>
                  <a:moveTo>
                    <a:pt x="108" y="167"/>
                  </a:moveTo>
                  <a:lnTo>
                    <a:pt x="108" y="167"/>
                  </a:lnTo>
                  <a:lnTo>
                    <a:pt x="108" y="167"/>
                  </a:lnTo>
                  <a:close/>
                  <a:moveTo>
                    <a:pt x="109" y="166"/>
                  </a:moveTo>
                  <a:lnTo>
                    <a:pt x="109" y="167"/>
                  </a:lnTo>
                  <a:lnTo>
                    <a:pt x="109" y="166"/>
                  </a:lnTo>
                  <a:close/>
                  <a:moveTo>
                    <a:pt x="111" y="167"/>
                  </a:moveTo>
                  <a:lnTo>
                    <a:pt x="111" y="166"/>
                  </a:lnTo>
                  <a:lnTo>
                    <a:pt x="111" y="167"/>
                  </a:lnTo>
                  <a:close/>
                  <a:moveTo>
                    <a:pt x="109" y="166"/>
                  </a:moveTo>
                  <a:lnTo>
                    <a:pt x="108" y="166"/>
                  </a:lnTo>
                  <a:lnTo>
                    <a:pt x="109" y="166"/>
                  </a:lnTo>
                  <a:close/>
                  <a:moveTo>
                    <a:pt x="109" y="166"/>
                  </a:moveTo>
                  <a:lnTo>
                    <a:pt x="109" y="166"/>
                  </a:lnTo>
                  <a:lnTo>
                    <a:pt x="109" y="166"/>
                  </a:lnTo>
                  <a:close/>
                  <a:moveTo>
                    <a:pt x="142" y="164"/>
                  </a:moveTo>
                  <a:lnTo>
                    <a:pt x="141" y="164"/>
                  </a:lnTo>
                  <a:lnTo>
                    <a:pt x="142" y="164"/>
                  </a:lnTo>
                  <a:close/>
                  <a:moveTo>
                    <a:pt x="129" y="164"/>
                  </a:moveTo>
                  <a:lnTo>
                    <a:pt x="128" y="164"/>
                  </a:lnTo>
                  <a:lnTo>
                    <a:pt x="129" y="164"/>
                  </a:lnTo>
                  <a:close/>
                  <a:moveTo>
                    <a:pt x="132" y="164"/>
                  </a:moveTo>
                  <a:lnTo>
                    <a:pt x="133" y="164"/>
                  </a:lnTo>
                  <a:lnTo>
                    <a:pt x="132" y="164"/>
                  </a:lnTo>
                  <a:close/>
                  <a:moveTo>
                    <a:pt x="133" y="164"/>
                  </a:moveTo>
                  <a:lnTo>
                    <a:pt x="132" y="164"/>
                  </a:lnTo>
                  <a:lnTo>
                    <a:pt x="133" y="164"/>
                  </a:lnTo>
                  <a:close/>
                  <a:moveTo>
                    <a:pt x="109" y="164"/>
                  </a:moveTo>
                  <a:lnTo>
                    <a:pt x="110" y="164"/>
                  </a:lnTo>
                  <a:lnTo>
                    <a:pt x="109" y="164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120" y="163"/>
                  </a:moveTo>
                  <a:lnTo>
                    <a:pt x="120" y="163"/>
                  </a:lnTo>
                  <a:lnTo>
                    <a:pt x="120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3" y="163"/>
                  </a:moveTo>
                  <a:lnTo>
                    <a:pt x="113" y="163"/>
                  </a:lnTo>
                  <a:lnTo>
                    <a:pt x="113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2" y="162"/>
                  </a:moveTo>
                  <a:lnTo>
                    <a:pt x="112" y="163"/>
                  </a:lnTo>
                  <a:lnTo>
                    <a:pt x="112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2"/>
                  </a:lnTo>
                  <a:lnTo>
                    <a:pt x="139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1"/>
                  </a:lnTo>
                  <a:lnTo>
                    <a:pt x="139" y="162"/>
                  </a:lnTo>
                  <a:close/>
                  <a:moveTo>
                    <a:pt x="113" y="161"/>
                  </a:moveTo>
                  <a:lnTo>
                    <a:pt x="112" y="162"/>
                  </a:lnTo>
                  <a:lnTo>
                    <a:pt x="113" y="161"/>
                  </a:ln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52" y="161"/>
                  </a:moveTo>
                  <a:lnTo>
                    <a:pt x="151" y="161"/>
                  </a:lnTo>
                  <a:lnTo>
                    <a:pt x="152" y="161"/>
                  </a:lnTo>
                  <a:close/>
                  <a:moveTo>
                    <a:pt x="113" y="161"/>
                  </a:move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13" y="160"/>
                  </a:moveTo>
                  <a:lnTo>
                    <a:pt x="113" y="161"/>
                  </a:lnTo>
                  <a:lnTo>
                    <a:pt x="113" y="160"/>
                  </a:lnTo>
                  <a:close/>
                  <a:moveTo>
                    <a:pt x="113" y="160"/>
                  </a:moveTo>
                  <a:lnTo>
                    <a:pt x="113" y="160"/>
                  </a:lnTo>
                  <a:lnTo>
                    <a:pt x="113" y="160"/>
                  </a:lnTo>
                  <a:close/>
                  <a:moveTo>
                    <a:pt x="195" y="160"/>
                  </a:moveTo>
                  <a:lnTo>
                    <a:pt x="195" y="160"/>
                  </a:lnTo>
                  <a:lnTo>
                    <a:pt x="19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15" y="159"/>
                  </a:moveTo>
                  <a:lnTo>
                    <a:pt x="114" y="159"/>
                  </a:lnTo>
                  <a:lnTo>
                    <a:pt x="115" y="159"/>
                  </a:lnTo>
                  <a:close/>
                  <a:moveTo>
                    <a:pt x="166" y="159"/>
                  </a:moveTo>
                  <a:lnTo>
                    <a:pt x="165" y="159"/>
                  </a:lnTo>
                  <a:lnTo>
                    <a:pt x="166" y="159"/>
                  </a:lnTo>
                  <a:close/>
                  <a:moveTo>
                    <a:pt x="114" y="159"/>
                  </a:moveTo>
                  <a:lnTo>
                    <a:pt x="114" y="159"/>
                  </a:lnTo>
                  <a:lnTo>
                    <a:pt x="114" y="159"/>
                  </a:lnTo>
                  <a:close/>
                  <a:moveTo>
                    <a:pt x="125" y="159"/>
                  </a:moveTo>
                  <a:lnTo>
                    <a:pt x="125" y="158"/>
                  </a:lnTo>
                  <a:lnTo>
                    <a:pt x="125" y="159"/>
                  </a:lnTo>
                  <a:close/>
                  <a:moveTo>
                    <a:pt x="117" y="159"/>
                  </a:moveTo>
                  <a:lnTo>
                    <a:pt x="117" y="158"/>
                  </a:lnTo>
                  <a:lnTo>
                    <a:pt x="117" y="159"/>
                  </a:lnTo>
                  <a:close/>
                  <a:moveTo>
                    <a:pt x="166" y="159"/>
                  </a:moveTo>
                  <a:lnTo>
                    <a:pt x="166" y="158"/>
                  </a:lnTo>
                  <a:lnTo>
                    <a:pt x="166" y="159"/>
                  </a:lnTo>
                  <a:close/>
                  <a:moveTo>
                    <a:pt x="166" y="158"/>
                  </a:moveTo>
                  <a:lnTo>
                    <a:pt x="166" y="159"/>
                  </a:lnTo>
                  <a:lnTo>
                    <a:pt x="166" y="158"/>
                  </a:lnTo>
                  <a:close/>
                  <a:moveTo>
                    <a:pt x="165" y="158"/>
                  </a:moveTo>
                  <a:lnTo>
                    <a:pt x="165" y="158"/>
                  </a:lnTo>
                  <a:lnTo>
                    <a:pt x="165" y="158"/>
                  </a:lnTo>
                  <a:close/>
                  <a:moveTo>
                    <a:pt x="121" y="158"/>
                  </a:moveTo>
                  <a:lnTo>
                    <a:pt x="121" y="157"/>
                  </a:lnTo>
                  <a:lnTo>
                    <a:pt x="121" y="158"/>
                  </a:lnTo>
                  <a:close/>
                  <a:moveTo>
                    <a:pt x="119" y="158"/>
                  </a:moveTo>
                  <a:lnTo>
                    <a:pt x="119" y="157"/>
                  </a:lnTo>
                  <a:lnTo>
                    <a:pt x="119" y="158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8" y="157"/>
                  </a:moveTo>
                  <a:lnTo>
                    <a:pt x="118" y="157"/>
                  </a:lnTo>
                  <a:lnTo>
                    <a:pt x="118" y="157"/>
                  </a:lnTo>
                  <a:close/>
                  <a:moveTo>
                    <a:pt x="151" y="156"/>
                  </a:moveTo>
                  <a:lnTo>
                    <a:pt x="151" y="156"/>
                  </a:lnTo>
                  <a:lnTo>
                    <a:pt x="151" y="156"/>
                  </a:lnTo>
                  <a:lnTo>
                    <a:pt x="151" y="156"/>
                  </a:lnTo>
                  <a:close/>
                  <a:moveTo>
                    <a:pt x="166" y="156"/>
                  </a:moveTo>
                  <a:lnTo>
                    <a:pt x="165" y="156"/>
                  </a:lnTo>
                  <a:lnTo>
                    <a:pt x="166" y="155"/>
                  </a:lnTo>
                  <a:lnTo>
                    <a:pt x="166" y="156"/>
                  </a:lnTo>
                  <a:close/>
                  <a:moveTo>
                    <a:pt x="191" y="155"/>
                  </a:moveTo>
                  <a:lnTo>
                    <a:pt x="190" y="155"/>
                  </a:lnTo>
                  <a:lnTo>
                    <a:pt x="191" y="155"/>
                  </a:lnTo>
                  <a:close/>
                  <a:moveTo>
                    <a:pt x="214" y="155"/>
                  </a:moveTo>
                  <a:lnTo>
                    <a:pt x="213" y="155"/>
                  </a:lnTo>
                  <a:lnTo>
                    <a:pt x="214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78" y="154"/>
                  </a:moveTo>
                  <a:lnTo>
                    <a:pt x="178" y="155"/>
                  </a:lnTo>
                  <a:lnTo>
                    <a:pt x="178" y="154"/>
                  </a:lnTo>
                  <a:close/>
                  <a:moveTo>
                    <a:pt x="167" y="154"/>
                  </a:moveTo>
                  <a:lnTo>
                    <a:pt x="166" y="154"/>
                  </a:lnTo>
                  <a:lnTo>
                    <a:pt x="167" y="154"/>
                  </a:lnTo>
                  <a:close/>
                  <a:moveTo>
                    <a:pt x="159" y="154"/>
                  </a:moveTo>
                  <a:lnTo>
                    <a:pt x="158" y="154"/>
                  </a:lnTo>
                  <a:lnTo>
                    <a:pt x="159" y="154"/>
                  </a:lnTo>
                  <a:close/>
                  <a:moveTo>
                    <a:pt x="145" y="154"/>
                  </a:moveTo>
                  <a:lnTo>
                    <a:pt x="145" y="153"/>
                  </a:lnTo>
                  <a:lnTo>
                    <a:pt x="145" y="154"/>
                  </a:lnTo>
                  <a:close/>
                  <a:moveTo>
                    <a:pt x="144" y="153"/>
                  </a:moveTo>
                  <a:lnTo>
                    <a:pt x="144" y="154"/>
                  </a:lnTo>
                  <a:lnTo>
                    <a:pt x="144" y="153"/>
                  </a:lnTo>
                  <a:close/>
                  <a:moveTo>
                    <a:pt x="168" y="153"/>
                  </a:moveTo>
                  <a:lnTo>
                    <a:pt x="167" y="153"/>
                  </a:lnTo>
                  <a:lnTo>
                    <a:pt x="168" y="153"/>
                  </a:lnTo>
                  <a:close/>
                  <a:moveTo>
                    <a:pt x="190" y="153"/>
                  </a:moveTo>
                  <a:lnTo>
                    <a:pt x="190" y="153"/>
                  </a:lnTo>
                  <a:lnTo>
                    <a:pt x="190" y="153"/>
                  </a:lnTo>
                  <a:close/>
                  <a:moveTo>
                    <a:pt x="180" y="152"/>
                  </a:moveTo>
                  <a:lnTo>
                    <a:pt x="180" y="153"/>
                  </a:lnTo>
                  <a:lnTo>
                    <a:pt x="180" y="152"/>
                  </a:lnTo>
                  <a:close/>
                  <a:moveTo>
                    <a:pt x="180" y="152"/>
                  </a:moveTo>
                  <a:lnTo>
                    <a:pt x="180" y="152"/>
                  </a:lnTo>
                  <a:lnTo>
                    <a:pt x="18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6" y="152"/>
                  </a:moveTo>
                  <a:lnTo>
                    <a:pt x="145" y="152"/>
                  </a:lnTo>
                  <a:lnTo>
                    <a:pt x="146" y="152"/>
                  </a:lnTo>
                  <a:close/>
                  <a:moveTo>
                    <a:pt x="206" y="152"/>
                  </a:moveTo>
                  <a:lnTo>
                    <a:pt x="206" y="152"/>
                  </a:lnTo>
                  <a:lnTo>
                    <a:pt x="206" y="152"/>
                  </a:lnTo>
                  <a:close/>
                  <a:moveTo>
                    <a:pt x="149" y="151"/>
                  </a:moveTo>
                  <a:lnTo>
                    <a:pt x="148" y="151"/>
                  </a:lnTo>
                  <a:lnTo>
                    <a:pt x="149" y="151"/>
                  </a:lnTo>
                  <a:close/>
                  <a:moveTo>
                    <a:pt x="199" y="151"/>
                  </a:moveTo>
                  <a:lnTo>
                    <a:pt x="199" y="151"/>
                  </a:lnTo>
                  <a:lnTo>
                    <a:pt x="199" y="151"/>
                  </a:lnTo>
                  <a:close/>
                  <a:moveTo>
                    <a:pt x="147" y="151"/>
                  </a:moveTo>
                  <a:lnTo>
                    <a:pt x="146" y="151"/>
                  </a:lnTo>
                  <a:lnTo>
                    <a:pt x="147" y="151"/>
                  </a:lnTo>
                  <a:close/>
                  <a:moveTo>
                    <a:pt x="200" y="150"/>
                  </a:moveTo>
                  <a:lnTo>
                    <a:pt x="200" y="151"/>
                  </a:lnTo>
                  <a:lnTo>
                    <a:pt x="200" y="150"/>
                  </a:lnTo>
                  <a:close/>
                  <a:moveTo>
                    <a:pt x="200" y="150"/>
                  </a:moveTo>
                  <a:lnTo>
                    <a:pt x="199" y="150"/>
                  </a:lnTo>
                  <a:lnTo>
                    <a:pt x="200" y="150"/>
                  </a:lnTo>
                  <a:close/>
                  <a:moveTo>
                    <a:pt x="161" y="149"/>
                  </a:moveTo>
                  <a:lnTo>
                    <a:pt x="161" y="149"/>
                  </a:lnTo>
                  <a:lnTo>
                    <a:pt x="161" y="149"/>
                  </a:lnTo>
                  <a:close/>
                  <a:moveTo>
                    <a:pt x="191" y="146"/>
                  </a:moveTo>
                  <a:lnTo>
                    <a:pt x="191" y="147"/>
                  </a:lnTo>
                  <a:lnTo>
                    <a:pt x="191" y="146"/>
                  </a:lnTo>
                  <a:close/>
                  <a:moveTo>
                    <a:pt x="191" y="147"/>
                  </a:moveTo>
                  <a:lnTo>
                    <a:pt x="191" y="146"/>
                  </a:lnTo>
                  <a:lnTo>
                    <a:pt x="191" y="147"/>
                  </a:lnTo>
                  <a:close/>
                  <a:moveTo>
                    <a:pt x="163" y="146"/>
                  </a:moveTo>
                  <a:lnTo>
                    <a:pt x="163" y="145"/>
                  </a:lnTo>
                  <a:lnTo>
                    <a:pt x="163" y="146"/>
                  </a:lnTo>
                  <a:close/>
                  <a:moveTo>
                    <a:pt x="166" y="146"/>
                  </a:moveTo>
                  <a:lnTo>
                    <a:pt x="166" y="145"/>
                  </a:lnTo>
                  <a:lnTo>
                    <a:pt x="166" y="146"/>
                  </a:lnTo>
                  <a:close/>
                  <a:moveTo>
                    <a:pt x="172" y="145"/>
                  </a:moveTo>
                  <a:lnTo>
                    <a:pt x="172" y="145"/>
                  </a:lnTo>
                  <a:lnTo>
                    <a:pt x="172" y="145"/>
                  </a:lnTo>
                  <a:close/>
                  <a:moveTo>
                    <a:pt x="188" y="145"/>
                  </a:moveTo>
                  <a:lnTo>
                    <a:pt x="188" y="145"/>
                  </a:lnTo>
                  <a:lnTo>
                    <a:pt x="188" y="145"/>
                  </a:lnTo>
                  <a:close/>
                  <a:moveTo>
                    <a:pt x="168" y="145"/>
                  </a:moveTo>
                  <a:lnTo>
                    <a:pt x="168" y="145"/>
                  </a:lnTo>
                  <a:lnTo>
                    <a:pt x="168" y="145"/>
                  </a:lnTo>
                  <a:close/>
                  <a:moveTo>
                    <a:pt x="158" y="145"/>
                  </a:moveTo>
                  <a:lnTo>
                    <a:pt x="158" y="145"/>
                  </a:lnTo>
                  <a:lnTo>
                    <a:pt x="158" y="145"/>
                  </a:lnTo>
                  <a:close/>
                  <a:moveTo>
                    <a:pt x="157" y="145"/>
                  </a:move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close/>
                  <a:moveTo>
                    <a:pt x="168" y="145"/>
                  </a:moveTo>
                  <a:lnTo>
                    <a:pt x="167" y="145"/>
                  </a:lnTo>
                  <a:lnTo>
                    <a:pt x="168" y="145"/>
                  </a:lnTo>
                  <a:close/>
                  <a:moveTo>
                    <a:pt x="169" y="144"/>
                  </a:moveTo>
                  <a:lnTo>
                    <a:pt x="169" y="144"/>
                  </a:lnTo>
                  <a:lnTo>
                    <a:pt x="169" y="144"/>
                  </a:lnTo>
                  <a:close/>
                  <a:moveTo>
                    <a:pt x="141" y="55"/>
                  </a:moveTo>
                  <a:lnTo>
                    <a:pt x="141" y="56"/>
                  </a:lnTo>
                  <a:lnTo>
                    <a:pt x="141" y="55"/>
                  </a:lnTo>
                  <a:close/>
                  <a:moveTo>
                    <a:pt x="143" y="55"/>
                  </a:moveTo>
                  <a:lnTo>
                    <a:pt x="143" y="55"/>
                  </a:lnTo>
                  <a:lnTo>
                    <a:pt x="143" y="55"/>
                  </a:lnTo>
                  <a:close/>
                  <a:moveTo>
                    <a:pt x="145" y="54"/>
                  </a:moveTo>
                  <a:lnTo>
                    <a:pt x="144" y="54"/>
                  </a:lnTo>
                  <a:lnTo>
                    <a:pt x="145" y="54"/>
                  </a:lnTo>
                  <a:close/>
                  <a:moveTo>
                    <a:pt x="85" y="53"/>
                  </a:moveTo>
                  <a:lnTo>
                    <a:pt x="84" y="53"/>
                  </a:lnTo>
                  <a:lnTo>
                    <a:pt x="85" y="53"/>
                  </a:lnTo>
                  <a:close/>
                  <a:moveTo>
                    <a:pt x="142" y="53"/>
                  </a:moveTo>
                  <a:lnTo>
                    <a:pt x="141" y="53"/>
                  </a:lnTo>
                  <a:lnTo>
                    <a:pt x="142" y="53"/>
                  </a:lnTo>
                  <a:close/>
                  <a:moveTo>
                    <a:pt x="150" y="51"/>
                  </a:moveTo>
                  <a:lnTo>
                    <a:pt x="150" y="51"/>
                  </a:lnTo>
                  <a:lnTo>
                    <a:pt x="150" y="51"/>
                  </a:lnTo>
                  <a:close/>
                  <a:moveTo>
                    <a:pt x="104" y="50"/>
                  </a:moveTo>
                  <a:lnTo>
                    <a:pt x="103" y="50"/>
                  </a:lnTo>
                  <a:lnTo>
                    <a:pt x="104" y="50"/>
                  </a:lnTo>
                  <a:close/>
                  <a:moveTo>
                    <a:pt x="81" y="47"/>
                  </a:moveTo>
                  <a:lnTo>
                    <a:pt x="80" y="47"/>
                  </a:lnTo>
                  <a:lnTo>
                    <a:pt x="81" y="47"/>
                  </a:lnTo>
                  <a:close/>
                  <a:moveTo>
                    <a:pt x="111" y="46"/>
                  </a:moveTo>
                  <a:lnTo>
                    <a:pt x="111" y="46"/>
                  </a:lnTo>
                  <a:lnTo>
                    <a:pt x="111" y="46"/>
                  </a:lnTo>
                  <a:close/>
                  <a:moveTo>
                    <a:pt x="111" y="46"/>
                  </a:moveTo>
                  <a:lnTo>
                    <a:pt x="110" y="46"/>
                  </a:lnTo>
                  <a:lnTo>
                    <a:pt x="111" y="46"/>
                  </a:lnTo>
                  <a:close/>
                  <a:moveTo>
                    <a:pt x="99" y="41"/>
                  </a:moveTo>
                  <a:lnTo>
                    <a:pt x="98" y="41"/>
                  </a:lnTo>
                  <a:lnTo>
                    <a:pt x="99" y="41"/>
                  </a:lnTo>
                  <a:close/>
                  <a:moveTo>
                    <a:pt x="159" y="41"/>
                  </a:moveTo>
                  <a:lnTo>
                    <a:pt x="159" y="41"/>
                  </a:lnTo>
                  <a:lnTo>
                    <a:pt x="159" y="41"/>
                  </a:lnTo>
                  <a:close/>
                  <a:moveTo>
                    <a:pt x="101" y="40"/>
                  </a:moveTo>
                  <a:lnTo>
                    <a:pt x="100" y="41"/>
                  </a:lnTo>
                  <a:lnTo>
                    <a:pt x="100" y="40"/>
                  </a:lnTo>
                  <a:lnTo>
                    <a:pt x="101" y="40"/>
                  </a:lnTo>
                  <a:close/>
                  <a:moveTo>
                    <a:pt x="103" y="40"/>
                  </a:moveTo>
                  <a:lnTo>
                    <a:pt x="102" y="40"/>
                  </a:lnTo>
                  <a:lnTo>
                    <a:pt x="103" y="40"/>
                  </a:lnTo>
                  <a:close/>
                  <a:moveTo>
                    <a:pt x="103" y="40"/>
                  </a:moveTo>
                  <a:lnTo>
                    <a:pt x="103" y="40"/>
                  </a:lnTo>
                  <a:lnTo>
                    <a:pt x="103" y="40"/>
                  </a:lnTo>
                  <a:close/>
                  <a:moveTo>
                    <a:pt x="104" y="40"/>
                  </a:moveTo>
                  <a:lnTo>
                    <a:pt x="103" y="40"/>
                  </a:lnTo>
                  <a:lnTo>
                    <a:pt x="104" y="40"/>
                  </a:lnTo>
                  <a:lnTo>
                    <a:pt x="104" y="40"/>
                  </a:lnTo>
                  <a:close/>
                  <a:moveTo>
                    <a:pt x="151" y="39"/>
                  </a:moveTo>
                  <a:lnTo>
                    <a:pt x="151" y="40"/>
                  </a:lnTo>
                  <a:lnTo>
                    <a:pt x="151" y="39"/>
                  </a:lnTo>
                  <a:close/>
                  <a:moveTo>
                    <a:pt x="131" y="38"/>
                  </a:moveTo>
                  <a:lnTo>
                    <a:pt x="131" y="38"/>
                  </a:lnTo>
                  <a:lnTo>
                    <a:pt x="131" y="38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60" y="35"/>
                  </a:moveTo>
                  <a:lnTo>
                    <a:pt x="60" y="35"/>
                  </a:lnTo>
                  <a:lnTo>
                    <a:pt x="60" y="35"/>
                  </a:lnTo>
                  <a:close/>
                  <a:moveTo>
                    <a:pt x="75" y="35"/>
                  </a:moveTo>
                  <a:lnTo>
                    <a:pt x="74" y="35"/>
                  </a:lnTo>
                  <a:lnTo>
                    <a:pt x="75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76" y="34"/>
                  </a:moveTo>
                  <a:lnTo>
                    <a:pt x="75" y="34"/>
                  </a:lnTo>
                  <a:lnTo>
                    <a:pt x="76" y="34"/>
                  </a:lnTo>
                  <a:close/>
                  <a:moveTo>
                    <a:pt x="131" y="34"/>
                  </a:moveTo>
                  <a:lnTo>
                    <a:pt x="130" y="34"/>
                  </a:lnTo>
                  <a:lnTo>
                    <a:pt x="131" y="34"/>
                  </a:lnTo>
                  <a:close/>
                  <a:moveTo>
                    <a:pt x="95" y="32"/>
                  </a:moveTo>
                  <a:lnTo>
                    <a:pt x="94" y="32"/>
                  </a:lnTo>
                  <a:lnTo>
                    <a:pt x="95" y="32"/>
                  </a:lnTo>
                  <a:close/>
                  <a:moveTo>
                    <a:pt x="80" y="31"/>
                  </a:moveTo>
                  <a:lnTo>
                    <a:pt x="79" y="31"/>
                  </a:lnTo>
                  <a:lnTo>
                    <a:pt x="80" y="31"/>
                  </a:lnTo>
                  <a:close/>
                  <a:moveTo>
                    <a:pt x="141" y="30"/>
                  </a:moveTo>
                  <a:lnTo>
                    <a:pt x="140" y="30"/>
                  </a:lnTo>
                  <a:lnTo>
                    <a:pt x="141" y="30"/>
                  </a:lnTo>
                  <a:close/>
                  <a:moveTo>
                    <a:pt x="54" y="29"/>
                  </a:moveTo>
                  <a:lnTo>
                    <a:pt x="53" y="29"/>
                  </a:lnTo>
                  <a:lnTo>
                    <a:pt x="54" y="29"/>
                  </a:lnTo>
                  <a:close/>
                  <a:moveTo>
                    <a:pt x="81" y="29"/>
                  </a:moveTo>
                  <a:lnTo>
                    <a:pt x="80" y="29"/>
                  </a:lnTo>
                  <a:lnTo>
                    <a:pt x="81" y="29"/>
                  </a:lnTo>
                  <a:close/>
                  <a:moveTo>
                    <a:pt x="134" y="29"/>
                  </a:moveTo>
                  <a:lnTo>
                    <a:pt x="134" y="28"/>
                  </a:lnTo>
                  <a:lnTo>
                    <a:pt x="134" y="29"/>
                  </a:lnTo>
                  <a:close/>
                  <a:moveTo>
                    <a:pt x="129" y="28"/>
                  </a:moveTo>
                  <a:lnTo>
                    <a:pt x="128" y="28"/>
                  </a:lnTo>
                  <a:lnTo>
                    <a:pt x="129" y="28"/>
                  </a:lnTo>
                  <a:close/>
                  <a:moveTo>
                    <a:pt x="57" y="27"/>
                  </a:moveTo>
                  <a:lnTo>
                    <a:pt x="56" y="27"/>
                  </a:lnTo>
                  <a:lnTo>
                    <a:pt x="57" y="27"/>
                  </a:lnTo>
                  <a:close/>
                  <a:moveTo>
                    <a:pt x="195" y="26"/>
                  </a:moveTo>
                  <a:lnTo>
                    <a:pt x="194" y="26"/>
                  </a:lnTo>
                  <a:lnTo>
                    <a:pt x="195" y="26"/>
                  </a:lnTo>
                  <a:close/>
                  <a:moveTo>
                    <a:pt x="194" y="26"/>
                  </a:moveTo>
                  <a:lnTo>
                    <a:pt x="195" y="26"/>
                  </a:lnTo>
                  <a:lnTo>
                    <a:pt x="194" y="26"/>
                  </a:lnTo>
                  <a:close/>
                  <a:moveTo>
                    <a:pt x="190" y="26"/>
                  </a:moveTo>
                  <a:lnTo>
                    <a:pt x="190" y="26"/>
                  </a:lnTo>
                  <a:lnTo>
                    <a:pt x="190" y="26"/>
                  </a:lnTo>
                  <a:close/>
                  <a:moveTo>
                    <a:pt x="134" y="24"/>
                  </a:moveTo>
                  <a:lnTo>
                    <a:pt x="134" y="24"/>
                  </a:lnTo>
                  <a:lnTo>
                    <a:pt x="134" y="24"/>
                  </a:lnTo>
                  <a:close/>
                  <a:moveTo>
                    <a:pt x="190" y="24"/>
                  </a:moveTo>
                  <a:lnTo>
                    <a:pt x="190" y="24"/>
                  </a:lnTo>
                  <a:lnTo>
                    <a:pt x="190" y="24"/>
                  </a:lnTo>
                  <a:close/>
                  <a:moveTo>
                    <a:pt x="136" y="24"/>
                  </a:moveTo>
                  <a:lnTo>
                    <a:pt x="136" y="24"/>
                  </a:lnTo>
                  <a:lnTo>
                    <a:pt x="136" y="24"/>
                  </a:lnTo>
                  <a:close/>
                  <a:moveTo>
                    <a:pt x="140" y="23"/>
                  </a:moveTo>
                  <a:lnTo>
                    <a:pt x="139" y="23"/>
                  </a:lnTo>
                  <a:lnTo>
                    <a:pt x="140" y="23"/>
                  </a:lnTo>
                  <a:close/>
                  <a:moveTo>
                    <a:pt x="137" y="23"/>
                  </a:moveTo>
                  <a:lnTo>
                    <a:pt x="137" y="23"/>
                  </a:lnTo>
                  <a:lnTo>
                    <a:pt x="137" y="23"/>
                  </a:lnTo>
                  <a:close/>
                  <a:moveTo>
                    <a:pt x="61" y="23"/>
                  </a:moveTo>
                  <a:lnTo>
                    <a:pt x="61" y="23"/>
                  </a:lnTo>
                  <a:lnTo>
                    <a:pt x="61" y="23"/>
                  </a:lnTo>
                  <a:close/>
                  <a:moveTo>
                    <a:pt x="95" y="23"/>
                  </a:moveTo>
                  <a:lnTo>
                    <a:pt x="94" y="23"/>
                  </a:lnTo>
                  <a:lnTo>
                    <a:pt x="95" y="23"/>
                  </a:lnTo>
                  <a:close/>
                  <a:moveTo>
                    <a:pt x="136" y="23"/>
                  </a:moveTo>
                  <a:lnTo>
                    <a:pt x="135" y="23"/>
                  </a:lnTo>
                  <a:lnTo>
                    <a:pt x="136" y="23"/>
                  </a:lnTo>
                  <a:close/>
                  <a:moveTo>
                    <a:pt x="124" y="23"/>
                  </a:moveTo>
                  <a:lnTo>
                    <a:pt x="124" y="23"/>
                  </a:lnTo>
                  <a:lnTo>
                    <a:pt x="124" y="23"/>
                  </a:lnTo>
                  <a:close/>
                  <a:moveTo>
                    <a:pt x="90" y="21"/>
                  </a:moveTo>
                  <a:lnTo>
                    <a:pt x="90" y="21"/>
                  </a:lnTo>
                  <a:lnTo>
                    <a:pt x="90" y="21"/>
                  </a:lnTo>
                  <a:close/>
                  <a:moveTo>
                    <a:pt x="127" y="19"/>
                  </a:moveTo>
                  <a:lnTo>
                    <a:pt x="126" y="19"/>
                  </a:lnTo>
                  <a:lnTo>
                    <a:pt x="127" y="19"/>
                  </a:lnTo>
                  <a:close/>
                  <a:moveTo>
                    <a:pt x="121" y="16"/>
                  </a:moveTo>
                  <a:lnTo>
                    <a:pt x="120" y="16"/>
                  </a:lnTo>
                  <a:lnTo>
                    <a:pt x="121" y="16"/>
                  </a:lnTo>
                  <a:close/>
                  <a:moveTo>
                    <a:pt x="72" y="16"/>
                  </a:moveTo>
                  <a:lnTo>
                    <a:pt x="72" y="16"/>
                  </a:lnTo>
                  <a:lnTo>
                    <a:pt x="72" y="16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121" y="15"/>
                  </a:moveTo>
                  <a:lnTo>
                    <a:pt x="121" y="15"/>
                  </a:lnTo>
                  <a:lnTo>
                    <a:pt x="121" y="15"/>
                  </a:lnTo>
                  <a:close/>
                  <a:moveTo>
                    <a:pt x="114" y="13"/>
                  </a:moveTo>
                  <a:lnTo>
                    <a:pt x="114" y="13"/>
                  </a:lnTo>
                  <a:lnTo>
                    <a:pt x="114" y="13"/>
                  </a:lnTo>
                  <a:close/>
                  <a:moveTo>
                    <a:pt x="73" y="13"/>
                  </a:moveTo>
                  <a:lnTo>
                    <a:pt x="72" y="13"/>
                  </a:lnTo>
                  <a:lnTo>
                    <a:pt x="73" y="13"/>
                  </a:lnTo>
                  <a:close/>
                  <a:moveTo>
                    <a:pt x="66" y="13"/>
                  </a:moveTo>
                  <a:lnTo>
                    <a:pt x="66" y="13"/>
                  </a:lnTo>
                  <a:lnTo>
                    <a:pt x="66" y="13"/>
                  </a:lnTo>
                  <a:close/>
                  <a:moveTo>
                    <a:pt x="50" y="12"/>
                  </a:moveTo>
                  <a:lnTo>
                    <a:pt x="50" y="12"/>
                  </a:lnTo>
                  <a:lnTo>
                    <a:pt x="50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74" y="12"/>
                  </a:moveTo>
                  <a:lnTo>
                    <a:pt x="73" y="12"/>
                  </a:lnTo>
                  <a:lnTo>
                    <a:pt x="74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112" y="11"/>
                  </a:moveTo>
                  <a:lnTo>
                    <a:pt x="112" y="10"/>
                  </a:lnTo>
                  <a:lnTo>
                    <a:pt x="112" y="11"/>
                  </a:lnTo>
                  <a:close/>
                  <a:moveTo>
                    <a:pt x="112" y="10"/>
                  </a:moveTo>
                  <a:lnTo>
                    <a:pt x="111" y="10"/>
                  </a:lnTo>
                  <a:lnTo>
                    <a:pt x="112" y="10"/>
                  </a:lnTo>
                  <a:close/>
                  <a:moveTo>
                    <a:pt x="57" y="9"/>
                  </a:moveTo>
                  <a:lnTo>
                    <a:pt x="56" y="9"/>
                  </a:lnTo>
                  <a:lnTo>
                    <a:pt x="57" y="9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112" y="7"/>
                  </a:moveTo>
                  <a:lnTo>
                    <a:pt x="112" y="7"/>
                  </a:lnTo>
                  <a:lnTo>
                    <a:pt x="112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0" y="6"/>
                  </a:moveTo>
                  <a:lnTo>
                    <a:pt x="110" y="7"/>
                  </a:lnTo>
                  <a:lnTo>
                    <a:pt x="110" y="6"/>
                  </a:lnTo>
                  <a:close/>
                  <a:moveTo>
                    <a:pt x="81" y="6"/>
                  </a:moveTo>
                  <a:lnTo>
                    <a:pt x="80" y="6"/>
                  </a:lnTo>
                  <a:lnTo>
                    <a:pt x="81" y="6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close/>
                  <a:moveTo>
                    <a:pt x="117" y="4"/>
                  </a:moveTo>
                  <a:lnTo>
                    <a:pt x="117" y="4"/>
                  </a:lnTo>
                  <a:lnTo>
                    <a:pt x="117" y="4"/>
                  </a:lnTo>
                  <a:close/>
                  <a:moveTo>
                    <a:pt x="154" y="4"/>
                  </a:moveTo>
                  <a:lnTo>
                    <a:pt x="153" y="4"/>
                  </a:lnTo>
                  <a:lnTo>
                    <a:pt x="154" y="4"/>
                  </a:lnTo>
                  <a:close/>
                  <a:moveTo>
                    <a:pt x="155" y="2"/>
                  </a:moveTo>
                  <a:lnTo>
                    <a:pt x="154" y="2"/>
                  </a:lnTo>
                  <a:lnTo>
                    <a:pt x="155" y="2"/>
                  </a:lnTo>
                  <a:close/>
                  <a:moveTo>
                    <a:pt x="163" y="2"/>
                  </a:moveTo>
                  <a:lnTo>
                    <a:pt x="162" y="2"/>
                  </a:lnTo>
                  <a:lnTo>
                    <a:pt x="163" y="2"/>
                  </a:lnTo>
                  <a:close/>
                  <a:moveTo>
                    <a:pt x="156" y="1"/>
                  </a:moveTo>
                  <a:lnTo>
                    <a:pt x="155" y="1"/>
                  </a:lnTo>
                  <a:lnTo>
                    <a:pt x="156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60" y="0"/>
                  </a:moveTo>
                  <a:lnTo>
                    <a:pt x="159" y="0"/>
                  </a:lnTo>
                  <a:lnTo>
                    <a:pt x="160" y="0"/>
                  </a:lnTo>
                  <a:close/>
                  <a:moveTo>
                    <a:pt x="123" y="0"/>
                  </a:move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9" name="Freeform 85"/>
            <p:cNvSpPr>
              <a:spLocks noEditPoints="1"/>
            </p:cNvSpPr>
            <p:nvPr/>
          </p:nvSpPr>
          <p:spPr bwMode="auto">
            <a:xfrm>
              <a:off x="5906669" y="3578466"/>
              <a:ext cx="105731" cy="96448"/>
            </a:xfrm>
            <a:custGeom>
              <a:avLst/>
              <a:gdLst>
                <a:gd name="T0" fmla="*/ 5 w 81"/>
                <a:gd name="T1" fmla="*/ 18 h 70"/>
                <a:gd name="T2" fmla="*/ 2 w 81"/>
                <a:gd name="T3" fmla="*/ 18 h 70"/>
                <a:gd name="T4" fmla="*/ 2 w 81"/>
                <a:gd name="T5" fmla="*/ 11 h 70"/>
                <a:gd name="T6" fmla="*/ 39 w 81"/>
                <a:gd name="T7" fmla="*/ 10 h 70"/>
                <a:gd name="T8" fmla="*/ 43 w 81"/>
                <a:gd name="T9" fmla="*/ 7 h 70"/>
                <a:gd name="T10" fmla="*/ 53 w 81"/>
                <a:gd name="T11" fmla="*/ 6 h 70"/>
                <a:gd name="T12" fmla="*/ 64 w 81"/>
                <a:gd name="T13" fmla="*/ 6 h 70"/>
                <a:gd name="T14" fmla="*/ 73 w 81"/>
                <a:gd name="T15" fmla="*/ 7 h 70"/>
                <a:gd name="T16" fmla="*/ 76 w 81"/>
                <a:gd name="T17" fmla="*/ 13 h 70"/>
                <a:gd name="T18" fmla="*/ 79 w 81"/>
                <a:gd name="T19" fmla="*/ 22 h 70"/>
                <a:gd name="T20" fmla="*/ 74 w 81"/>
                <a:gd name="T21" fmla="*/ 29 h 70"/>
                <a:gd name="T22" fmla="*/ 77 w 81"/>
                <a:gd name="T23" fmla="*/ 35 h 70"/>
                <a:gd name="T24" fmla="*/ 76 w 81"/>
                <a:gd name="T25" fmla="*/ 38 h 70"/>
                <a:gd name="T26" fmla="*/ 77 w 81"/>
                <a:gd name="T27" fmla="*/ 43 h 70"/>
                <a:gd name="T28" fmla="*/ 79 w 81"/>
                <a:gd name="T29" fmla="*/ 46 h 70"/>
                <a:gd name="T30" fmla="*/ 80 w 81"/>
                <a:gd name="T31" fmla="*/ 48 h 70"/>
                <a:gd name="T32" fmla="*/ 78 w 81"/>
                <a:gd name="T33" fmla="*/ 54 h 70"/>
                <a:gd name="T34" fmla="*/ 72 w 81"/>
                <a:gd name="T35" fmla="*/ 60 h 70"/>
                <a:gd name="T36" fmla="*/ 70 w 81"/>
                <a:gd name="T37" fmla="*/ 66 h 70"/>
                <a:gd name="T38" fmla="*/ 70 w 81"/>
                <a:gd name="T39" fmla="*/ 69 h 70"/>
                <a:gd name="T40" fmla="*/ 66 w 81"/>
                <a:gd name="T41" fmla="*/ 68 h 70"/>
                <a:gd name="T42" fmla="*/ 60 w 81"/>
                <a:gd name="T43" fmla="*/ 65 h 70"/>
                <a:gd name="T44" fmla="*/ 55 w 81"/>
                <a:gd name="T45" fmla="*/ 66 h 70"/>
                <a:gd name="T46" fmla="*/ 51 w 81"/>
                <a:gd name="T47" fmla="*/ 65 h 70"/>
                <a:gd name="T48" fmla="*/ 46 w 81"/>
                <a:gd name="T49" fmla="*/ 68 h 70"/>
                <a:gd name="T50" fmla="*/ 43 w 81"/>
                <a:gd name="T51" fmla="*/ 64 h 70"/>
                <a:gd name="T52" fmla="*/ 38 w 81"/>
                <a:gd name="T53" fmla="*/ 64 h 70"/>
                <a:gd name="T54" fmla="*/ 36 w 81"/>
                <a:gd name="T55" fmla="*/ 59 h 70"/>
                <a:gd name="T56" fmla="*/ 32 w 81"/>
                <a:gd name="T57" fmla="*/ 58 h 70"/>
                <a:gd name="T58" fmla="*/ 29 w 81"/>
                <a:gd name="T59" fmla="*/ 56 h 70"/>
                <a:gd name="T60" fmla="*/ 26 w 81"/>
                <a:gd name="T61" fmla="*/ 54 h 70"/>
                <a:gd name="T62" fmla="*/ 24 w 81"/>
                <a:gd name="T63" fmla="*/ 55 h 70"/>
                <a:gd name="T64" fmla="*/ 19 w 81"/>
                <a:gd name="T65" fmla="*/ 55 h 70"/>
                <a:gd name="T66" fmla="*/ 19 w 81"/>
                <a:gd name="T67" fmla="*/ 51 h 70"/>
                <a:gd name="T68" fmla="*/ 14 w 81"/>
                <a:gd name="T69" fmla="*/ 50 h 70"/>
                <a:gd name="T70" fmla="*/ 10 w 81"/>
                <a:gd name="T71" fmla="*/ 47 h 70"/>
                <a:gd name="T72" fmla="*/ 6 w 81"/>
                <a:gd name="T73" fmla="*/ 48 h 70"/>
                <a:gd name="T74" fmla="*/ 7 w 81"/>
                <a:gd name="T75" fmla="*/ 43 h 70"/>
                <a:gd name="T76" fmla="*/ 6 w 81"/>
                <a:gd name="T77" fmla="*/ 40 h 70"/>
                <a:gd name="T78" fmla="*/ 4 w 81"/>
                <a:gd name="T79" fmla="*/ 36 h 70"/>
                <a:gd name="T80" fmla="*/ 5 w 81"/>
                <a:gd name="T81" fmla="*/ 32 h 70"/>
                <a:gd name="T82" fmla="*/ 3 w 81"/>
                <a:gd name="T83" fmla="*/ 26 h 70"/>
                <a:gd name="T84" fmla="*/ 2 w 81"/>
                <a:gd name="T85" fmla="*/ 21 h 70"/>
                <a:gd name="T86" fmla="*/ 5 w 81"/>
                <a:gd name="T87" fmla="*/ 16 h 70"/>
                <a:gd name="T88" fmla="*/ 5 w 81"/>
                <a:gd name="T89" fmla="*/ 11 h 70"/>
                <a:gd name="T90" fmla="*/ 12 w 81"/>
                <a:gd name="T91" fmla="*/ 8 h 70"/>
                <a:gd name="T92" fmla="*/ 20 w 81"/>
                <a:gd name="T93" fmla="*/ 3 h 70"/>
                <a:gd name="T94" fmla="*/ 28 w 81"/>
                <a:gd name="T95" fmla="*/ 0 h 70"/>
                <a:gd name="T96" fmla="*/ 35 w 81"/>
                <a:gd name="T97" fmla="*/ 0 h 70"/>
                <a:gd name="T98" fmla="*/ 35 w 81"/>
                <a:gd name="T99" fmla="*/ 0 h 70"/>
                <a:gd name="T100" fmla="*/ 38 w 81"/>
                <a:gd name="T101" fmla="*/ 6 h 70"/>
                <a:gd name="T102" fmla="*/ 38 w 81"/>
                <a:gd name="T103" fmla="*/ 9 h 70"/>
                <a:gd name="T104" fmla="*/ 37 w 81"/>
                <a:gd name="T105" fmla="*/ 15 h 70"/>
                <a:gd name="T106" fmla="*/ 33 w 81"/>
                <a:gd name="T107" fmla="*/ 20 h 70"/>
                <a:gd name="T108" fmla="*/ 37 w 81"/>
                <a:gd name="T109" fmla="*/ 23 h 70"/>
                <a:gd name="T110" fmla="*/ 39 w 81"/>
                <a:gd name="T111" fmla="*/ 24 h 70"/>
                <a:gd name="T112" fmla="*/ 33 w 81"/>
                <a:gd name="T113" fmla="*/ 21 h 70"/>
                <a:gd name="T114" fmla="*/ 37 w 81"/>
                <a:gd name="T115" fmla="*/ 16 h 70"/>
                <a:gd name="T116" fmla="*/ 38 w 81"/>
                <a:gd name="T117" fmla="*/ 9 h 70"/>
                <a:gd name="T118" fmla="*/ 44 w 81"/>
                <a:gd name="T119" fmla="*/ 5 h 70"/>
                <a:gd name="T120" fmla="*/ 41 w 81"/>
                <a:gd name="T121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1" h="70">
                  <a:moveTo>
                    <a:pt x="2" y="13"/>
                  </a:move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close/>
                  <a:moveTo>
                    <a:pt x="1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close/>
                  <a:moveTo>
                    <a:pt x="40" y="10"/>
                  </a:moveTo>
                  <a:lnTo>
                    <a:pt x="40" y="10"/>
                  </a:lnTo>
                  <a:lnTo>
                    <a:pt x="40" y="9"/>
                  </a:lnTo>
                  <a:lnTo>
                    <a:pt x="40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3" y="30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6" y="32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9" y="48"/>
                  </a:lnTo>
                  <a:lnTo>
                    <a:pt x="80" y="49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2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9" y="53"/>
                  </a:lnTo>
                  <a:lnTo>
                    <a:pt x="78" y="53"/>
                  </a:lnTo>
                  <a:lnTo>
                    <a:pt x="78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5" y="56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0" y="61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70" y="65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0" y="7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7"/>
                  </a:lnTo>
                  <a:lnTo>
                    <a:pt x="64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2" y="65"/>
                  </a:lnTo>
                  <a:lnTo>
                    <a:pt x="62" y="66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7" y="65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8" y="66"/>
                  </a:lnTo>
                  <a:lnTo>
                    <a:pt x="48" y="67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7" y="68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4"/>
                  </a:lnTo>
                  <a:lnTo>
                    <a:pt x="42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8" y="63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0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4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7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0" y="57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3" y="50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8" y="46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4" y="37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38" y="12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9" y="24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5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40" y="10"/>
                  </a:lnTo>
                  <a:close/>
                  <a:moveTo>
                    <a:pt x="42" y="30"/>
                  </a:moveTo>
                  <a:lnTo>
                    <a:pt x="41" y="30"/>
                  </a:lnTo>
                  <a:lnTo>
                    <a:pt x="42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0" name="Freeform 86"/>
            <p:cNvSpPr>
              <a:spLocks noEditPoints="1"/>
            </p:cNvSpPr>
            <p:nvPr/>
          </p:nvSpPr>
          <p:spPr bwMode="auto">
            <a:xfrm>
              <a:off x="5909279" y="3585355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2 w 36"/>
                <a:gd name="T5" fmla="*/ 12 h 12"/>
                <a:gd name="T6" fmla="*/ 3 w 36"/>
                <a:gd name="T7" fmla="*/ 12 h 12"/>
                <a:gd name="T8" fmla="*/ 2 w 36"/>
                <a:gd name="T9" fmla="*/ 12 h 12"/>
                <a:gd name="T10" fmla="*/ 3 w 36"/>
                <a:gd name="T11" fmla="*/ 12 h 12"/>
                <a:gd name="T12" fmla="*/ 3 w 36"/>
                <a:gd name="T13" fmla="*/ 11 h 12"/>
                <a:gd name="T14" fmla="*/ 3 w 36"/>
                <a:gd name="T15" fmla="*/ 12 h 12"/>
                <a:gd name="T16" fmla="*/ 3 w 36"/>
                <a:gd name="T17" fmla="*/ 11 h 12"/>
                <a:gd name="T18" fmla="*/ 2 w 36"/>
                <a:gd name="T19" fmla="*/ 10 h 12"/>
                <a:gd name="T20" fmla="*/ 2 w 36"/>
                <a:gd name="T21" fmla="*/ 11 h 12"/>
                <a:gd name="T22" fmla="*/ 1 w 36"/>
                <a:gd name="T23" fmla="*/ 9 h 12"/>
                <a:gd name="T24" fmla="*/ 0 w 36"/>
                <a:gd name="T25" fmla="*/ 7 h 12"/>
                <a:gd name="T26" fmla="*/ 1 w 36"/>
                <a:gd name="T27" fmla="*/ 6 h 12"/>
                <a:gd name="T28" fmla="*/ 1 w 36"/>
                <a:gd name="T29" fmla="*/ 7 h 12"/>
                <a:gd name="T30" fmla="*/ 1 w 36"/>
                <a:gd name="T31" fmla="*/ 6 h 12"/>
                <a:gd name="T32" fmla="*/ 0 w 36"/>
                <a:gd name="T33" fmla="*/ 7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6 h 12"/>
                <a:gd name="T42" fmla="*/ 0 w 36"/>
                <a:gd name="T43" fmla="*/ 7 h 12"/>
                <a:gd name="T44" fmla="*/ 0 w 36"/>
                <a:gd name="T45" fmla="*/ 6 h 12"/>
                <a:gd name="T46" fmla="*/ 4 w 36"/>
                <a:gd name="T47" fmla="*/ 5 h 12"/>
                <a:gd name="T48" fmla="*/ 3 w 36"/>
                <a:gd name="T49" fmla="*/ 6 h 12"/>
                <a:gd name="T50" fmla="*/ 3 w 36"/>
                <a:gd name="T51" fmla="*/ 6 h 12"/>
                <a:gd name="T52" fmla="*/ 3 w 36"/>
                <a:gd name="T53" fmla="*/ 5 h 12"/>
                <a:gd name="T54" fmla="*/ 4 w 36"/>
                <a:gd name="T55" fmla="*/ 5 h 12"/>
                <a:gd name="T56" fmla="*/ 3 w 36"/>
                <a:gd name="T57" fmla="*/ 5 h 12"/>
                <a:gd name="T58" fmla="*/ 3 w 36"/>
                <a:gd name="T59" fmla="*/ 5 h 12"/>
                <a:gd name="T60" fmla="*/ 3 w 36"/>
                <a:gd name="T61" fmla="*/ 6 h 12"/>
                <a:gd name="T62" fmla="*/ 3 w 36"/>
                <a:gd name="T63" fmla="*/ 6 h 12"/>
                <a:gd name="T64" fmla="*/ 3 w 36"/>
                <a:gd name="T65" fmla="*/ 6 h 12"/>
                <a:gd name="T66" fmla="*/ 3 w 36"/>
                <a:gd name="T67" fmla="*/ 7 h 12"/>
                <a:gd name="T68" fmla="*/ 2 w 36"/>
                <a:gd name="T69" fmla="*/ 7 h 12"/>
                <a:gd name="T70" fmla="*/ 2 w 36"/>
                <a:gd name="T71" fmla="*/ 8 h 12"/>
                <a:gd name="T72" fmla="*/ 2 w 36"/>
                <a:gd name="T73" fmla="*/ 7 h 12"/>
                <a:gd name="T74" fmla="*/ 1 w 36"/>
                <a:gd name="T75" fmla="*/ 6 h 12"/>
                <a:gd name="T76" fmla="*/ 1 w 36"/>
                <a:gd name="T77" fmla="*/ 7 h 12"/>
                <a:gd name="T78" fmla="*/ 1 w 36"/>
                <a:gd name="T79" fmla="*/ 6 h 12"/>
                <a:gd name="T80" fmla="*/ 1 w 36"/>
                <a:gd name="T81" fmla="*/ 6 h 12"/>
                <a:gd name="T82" fmla="*/ 1 w 36"/>
                <a:gd name="T83" fmla="*/ 6 h 12"/>
                <a:gd name="T84" fmla="*/ 0 w 36"/>
                <a:gd name="T85" fmla="*/ 6 h 12"/>
                <a:gd name="T86" fmla="*/ 0 w 36"/>
                <a:gd name="T87" fmla="*/ 6 h 12"/>
                <a:gd name="T88" fmla="*/ 0 w 36"/>
                <a:gd name="T89" fmla="*/ 7 h 12"/>
                <a:gd name="T90" fmla="*/ 0 w 36"/>
                <a:gd name="T91" fmla="*/ 6 h 12"/>
                <a:gd name="T92" fmla="*/ 0 w 36"/>
                <a:gd name="T93" fmla="*/ 6 h 12"/>
                <a:gd name="T94" fmla="*/ 0 w 36"/>
                <a:gd name="T95" fmla="*/ 6 h 12"/>
                <a:gd name="T96" fmla="*/ 1 w 36"/>
                <a:gd name="T97" fmla="*/ 5 h 12"/>
                <a:gd name="T98" fmla="*/ 3 w 36"/>
                <a:gd name="T99" fmla="*/ 5 h 12"/>
                <a:gd name="T100" fmla="*/ 3 w 36"/>
                <a:gd name="T101" fmla="*/ 5 h 12"/>
                <a:gd name="T102" fmla="*/ 4 w 36"/>
                <a:gd name="T103" fmla="*/ 5 h 12"/>
                <a:gd name="T104" fmla="*/ 35 w 36"/>
                <a:gd name="T105" fmla="*/ 0 h 12"/>
                <a:gd name="T106" fmla="*/ 35 w 36"/>
                <a:gd name="T107" fmla="*/ 0 h 12"/>
                <a:gd name="T108" fmla="*/ 35 w 36"/>
                <a:gd name="T109" fmla="*/ 0 h 12"/>
                <a:gd name="T110" fmla="*/ 35 w 36"/>
                <a:gd name="T111" fmla="*/ 0 h 12"/>
                <a:gd name="T112" fmla="*/ 35 w 36"/>
                <a:gd name="T113" fmla="*/ 1 h 12"/>
                <a:gd name="T114" fmla="*/ 35 w 36"/>
                <a:gd name="T115" fmla="*/ 1 h 12"/>
                <a:gd name="T116" fmla="*/ 35 w 36"/>
                <a:gd name="T117" fmla="*/ 1 h 12"/>
                <a:gd name="T118" fmla="*/ 35 w 36"/>
                <a:gd name="T119" fmla="*/ 1 h 12"/>
                <a:gd name="T120" fmla="*/ 35 w 36"/>
                <a:gd name="T121" fmla="*/ 1 h 12"/>
                <a:gd name="T122" fmla="*/ 35 w 36"/>
                <a:gd name="T1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1"/>
                  </a:move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1" y="9"/>
                  </a:move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close/>
                  <a:moveTo>
                    <a:pt x="1" y="7"/>
                  </a:move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1" name="Freeform 87"/>
            <p:cNvSpPr>
              <a:spLocks noEditPoints="1"/>
            </p:cNvSpPr>
            <p:nvPr/>
          </p:nvSpPr>
          <p:spPr bwMode="auto">
            <a:xfrm>
              <a:off x="5909279" y="3586733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3 w 36"/>
                <a:gd name="T5" fmla="*/ 12 h 12"/>
                <a:gd name="T6" fmla="*/ 3 w 36"/>
                <a:gd name="T7" fmla="*/ 10 h 12"/>
                <a:gd name="T8" fmla="*/ 3 w 36"/>
                <a:gd name="T9" fmla="*/ 10 h 12"/>
                <a:gd name="T10" fmla="*/ 3 w 36"/>
                <a:gd name="T11" fmla="*/ 10 h 12"/>
                <a:gd name="T12" fmla="*/ 3 w 36"/>
                <a:gd name="T13" fmla="*/ 10 h 12"/>
                <a:gd name="T14" fmla="*/ 3 w 36"/>
                <a:gd name="T15" fmla="*/ 10 h 12"/>
                <a:gd name="T16" fmla="*/ 3 w 36"/>
                <a:gd name="T17" fmla="*/ 10 h 12"/>
                <a:gd name="T18" fmla="*/ 3 w 36"/>
                <a:gd name="T19" fmla="*/ 10 h 12"/>
                <a:gd name="T20" fmla="*/ 3 w 36"/>
                <a:gd name="T21" fmla="*/ 10 h 12"/>
                <a:gd name="T22" fmla="*/ 3 w 36"/>
                <a:gd name="T23" fmla="*/ 10 h 12"/>
                <a:gd name="T24" fmla="*/ 2 w 36"/>
                <a:gd name="T25" fmla="*/ 8 h 12"/>
                <a:gd name="T26" fmla="*/ 2 w 36"/>
                <a:gd name="T27" fmla="*/ 8 h 12"/>
                <a:gd name="T28" fmla="*/ 2 w 36"/>
                <a:gd name="T29" fmla="*/ 8 h 12"/>
                <a:gd name="T30" fmla="*/ 2 w 36"/>
                <a:gd name="T31" fmla="*/ 8 h 12"/>
                <a:gd name="T32" fmla="*/ 2 w 36"/>
                <a:gd name="T33" fmla="*/ 8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7 h 12"/>
                <a:gd name="T42" fmla="*/ 0 w 36"/>
                <a:gd name="T43" fmla="*/ 6 h 12"/>
                <a:gd name="T44" fmla="*/ 0 w 36"/>
                <a:gd name="T45" fmla="*/ 5 h 12"/>
                <a:gd name="T46" fmla="*/ 0 w 36"/>
                <a:gd name="T47" fmla="*/ 6 h 12"/>
                <a:gd name="T48" fmla="*/ 0 w 36"/>
                <a:gd name="T49" fmla="*/ 5 h 12"/>
                <a:gd name="T50" fmla="*/ 0 w 36"/>
                <a:gd name="T51" fmla="*/ 6 h 12"/>
                <a:gd name="T52" fmla="*/ 0 w 36"/>
                <a:gd name="T53" fmla="*/ 5 h 12"/>
                <a:gd name="T54" fmla="*/ 0 w 36"/>
                <a:gd name="T55" fmla="*/ 6 h 12"/>
                <a:gd name="T56" fmla="*/ 0 w 36"/>
                <a:gd name="T57" fmla="*/ 5 h 12"/>
                <a:gd name="T58" fmla="*/ 1 w 36"/>
                <a:gd name="T59" fmla="*/ 5 h 12"/>
                <a:gd name="T60" fmla="*/ 1 w 36"/>
                <a:gd name="T61" fmla="*/ 5 h 12"/>
                <a:gd name="T62" fmla="*/ 1 w 36"/>
                <a:gd name="T63" fmla="*/ 5 h 12"/>
                <a:gd name="T64" fmla="*/ 0 w 36"/>
                <a:gd name="T65" fmla="*/ 5 h 12"/>
                <a:gd name="T66" fmla="*/ 0 w 36"/>
                <a:gd name="T67" fmla="*/ 5 h 12"/>
                <a:gd name="T68" fmla="*/ 1 w 36"/>
                <a:gd name="T69" fmla="*/ 5 h 12"/>
                <a:gd name="T70" fmla="*/ 0 w 36"/>
                <a:gd name="T71" fmla="*/ 5 h 12"/>
                <a:gd name="T72" fmla="*/ 1 w 36"/>
                <a:gd name="T73" fmla="*/ 5 h 12"/>
                <a:gd name="T74" fmla="*/ 36 w 36"/>
                <a:gd name="T75" fmla="*/ 0 h 12"/>
                <a:gd name="T76" fmla="*/ 36 w 36"/>
                <a:gd name="T77" fmla="*/ 0 h 12"/>
                <a:gd name="T78" fmla="*/ 36 w 36"/>
                <a:gd name="T7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2" name="Freeform 88"/>
            <p:cNvSpPr>
              <a:spLocks/>
            </p:cNvSpPr>
            <p:nvPr/>
          </p:nvSpPr>
          <p:spPr bwMode="auto">
            <a:xfrm>
              <a:off x="5577726" y="3921545"/>
              <a:ext cx="6526" cy="2756"/>
            </a:xfrm>
            <a:custGeom>
              <a:avLst/>
              <a:gdLst>
                <a:gd name="T0" fmla="*/ 1 w 5"/>
                <a:gd name="T1" fmla="*/ 0 h 2"/>
                <a:gd name="T2" fmla="*/ 1 w 5"/>
                <a:gd name="T3" fmla="*/ 0 h 2"/>
                <a:gd name="T4" fmla="*/ 1 w 5"/>
                <a:gd name="T5" fmla="*/ 0 h 2"/>
                <a:gd name="T6" fmla="*/ 1 w 5"/>
                <a:gd name="T7" fmla="*/ 0 h 2"/>
                <a:gd name="T8" fmla="*/ 2 w 5"/>
                <a:gd name="T9" fmla="*/ 0 h 2"/>
                <a:gd name="T10" fmla="*/ 2 w 5"/>
                <a:gd name="T11" fmla="*/ 0 h 2"/>
                <a:gd name="T12" fmla="*/ 2 w 5"/>
                <a:gd name="T13" fmla="*/ 0 h 2"/>
                <a:gd name="T14" fmla="*/ 2 w 5"/>
                <a:gd name="T15" fmla="*/ 0 h 2"/>
                <a:gd name="T16" fmla="*/ 2 w 5"/>
                <a:gd name="T17" fmla="*/ 0 h 2"/>
                <a:gd name="T18" fmla="*/ 2 w 5"/>
                <a:gd name="T19" fmla="*/ 0 h 2"/>
                <a:gd name="T20" fmla="*/ 2 w 5"/>
                <a:gd name="T21" fmla="*/ 0 h 2"/>
                <a:gd name="T22" fmla="*/ 3 w 5"/>
                <a:gd name="T23" fmla="*/ 0 h 2"/>
                <a:gd name="T24" fmla="*/ 3 w 5"/>
                <a:gd name="T25" fmla="*/ 0 h 2"/>
                <a:gd name="T26" fmla="*/ 3 w 5"/>
                <a:gd name="T27" fmla="*/ 0 h 2"/>
                <a:gd name="T28" fmla="*/ 4 w 5"/>
                <a:gd name="T29" fmla="*/ 0 h 2"/>
                <a:gd name="T30" fmla="*/ 4 w 5"/>
                <a:gd name="T31" fmla="*/ 0 h 2"/>
                <a:gd name="T32" fmla="*/ 4 w 5"/>
                <a:gd name="T33" fmla="*/ 0 h 2"/>
                <a:gd name="T34" fmla="*/ 4 w 5"/>
                <a:gd name="T35" fmla="*/ 0 h 2"/>
                <a:gd name="T36" fmla="*/ 4 w 5"/>
                <a:gd name="T37" fmla="*/ 0 h 2"/>
                <a:gd name="T38" fmla="*/ 4 w 5"/>
                <a:gd name="T39" fmla="*/ 1 h 2"/>
                <a:gd name="T40" fmla="*/ 4 w 5"/>
                <a:gd name="T41" fmla="*/ 1 h 2"/>
                <a:gd name="T42" fmla="*/ 4 w 5"/>
                <a:gd name="T43" fmla="*/ 1 h 2"/>
                <a:gd name="T44" fmla="*/ 4 w 5"/>
                <a:gd name="T45" fmla="*/ 1 h 2"/>
                <a:gd name="T46" fmla="*/ 4 w 5"/>
                <a:gd name="T47" fmla="*/ 1 h 2"/>
                <a:gd name="T48" fmla="*/ 5 w 5"/>
                <a:gd name="T49" fmla="*/ 1 h 2"/>
                <a:gd name="T50" fmla="*/ 5 w 5"/>
                <a:gd name="T51" fmla="*/ 1 h 2"/>
                <a:gd name="T52" fmla="*/ 5 w 5"/>
                <a:gd name="T53" fmla="*/ 1 h 2"/>
                <a:gd name="T54" fmla="*/ 5 w 5"/>
                <a:gd name="T55" fmla="*/ 1 h 2"/>
                <a:gd name="T56" fmla="*/ 5 w 5"/>
                <a:gd name="T57" fmla="*/ 1 h 2"/>
                <a:gd name="T58" fmla="*/ 5 w 5"/>
                <a:gd name="T59" fmla="*/ 1 h 2"/>
                <a:gd name="T60" fmla="*/ 5 w 5"/>
                <a:gd name="T61" fmla="*/ 1 h 2"/>
                <a:gd name="T62" fmla="*/ 5 w 5"/>
                <a:gd name="T63" fmla="*/ 1 h 2"/>
                <a:gd name="T64" fmla="*/ 5 w 5"/>
                <a:gd name="T65" fmla="*/ 1 h 2"/>
                <a:gd name="T66" fmla="*/ 5 w 5"/>
                <a:gd name="T67" fmla="*/ 1 h 2"/>
                <a:gd name="T68" fmla="*/ 5 w 5"/>
                <a:gd name="T69" fmla="*/ 1 h 2"/>
                <a:gd name="T70" fmla="*/ 5 w 5"/>
                <a:gd name="T71" fmla="*/ 1 h 2"/>
                <a:gd name="T72" fmla="*/ 4 w 5"/>
                <a:gd name="T73" fmla="*/ 1 h 2"/>
                <a:gd name="T74" fmla="*/ 4 w 5"/>
                <a:gd name="T75" fmla="*/ 1 h 2"/>
                <a:gd name="T76" fmla="*/ 4 w 5"/>
                <a:gd name="T77" fmla="*/ 2 h 2"/>
                <a:gd name="T78" fmla="*/ 4 w 5"/>
                <a:gd name="T79" fmla="*/ 2 h 2"/>
                <a:gd name="T80" fmla="*/ 4 w 5"/>
                <a:gd name="T81" fmla="*/ 2 h 2"/>
                <a:gd name="T82" fmla="*/ 4 w 5"/>
                <a:gd name="T83" fmla="*/ 2 h 2"/>
                <a:gd name="T84" fmla="*/ 3 w 5"/>
                <a:gd name="T85" fmla="*/ 2 h 2"/>
                <a:gd name="T86" fmla="*/ 3 w 5"/>
                <a:gd name="T87" fmla="*/ 2 h 2"/>
                <a:gd name="T88" fmla="*/ 3 w 5"/>
                <a:gd name="T89" fmla="*/ 2 h 2"/>
                <a:gd name="T90" fmla="*/ 2 w 5"/>
                <a:gd name="T91" fmla="*/ 2 h 2"/>
                <a:gd name="T92" fmla="*/ 2 w 5"/>
                <a:gd name="T93" fmla="*/ 2 h 2"/>
                <a:gd name="T94" fmla="*/ 2 w 5"/>
                <a:gd name="T95" fmla="*/ 2 h 2"/>
                <a:gd name="T96" fmla="*/ 2 w 5"/>
                <a:gd name="T97" fmla="*/ 2 h 2"/>
                <a:gd name="T98" fmla="*/ 2 w 5"/>
                <a:gd name="T99" fmla="*/ 1 h 2"/>
                <a:gd name="T100" fmla="*/ 1 w 5"/>
                <a:gd name="T101" fmla="*/ 1 h 2"/>
                <a:gd name="T102" fmla="*/ 1 w 5"/>
                <a:gd name="T103" fmla="*/ 1 h 2"/>
                <a:gd name="T104" fmla="*/ 1 w 5"/>
                <a:gd name="T105" fmla="*/ 1 h 2"/>
                <a:gd name="T106" fmla="*/ 1 w 5"/>
                <a:gd name="T107" fmla="*/ 1 h 2"/>
                <a:gd name="T108" fmla="*/ 1 w 5"/>
                <a:gd name="T109" fmla="*/ 1 h 2"/>
                <a:gd name="T110" fmla="*/ 1 w 5"/>
                <a:gd name="T111" fmla="*/ 1 h 2"/>
                <a:gd name="T112" fmla="*/ 0 w 5"/>
                <a:gd name="T113" fmla="*/ 0 h 2"/>
                <a:gd name="T114" fmla="*/ 1 w 5"/>
                <a:gd name="T115" fmla="*/ 0 h 2"/>
                <a:gd name="T116" fmla="*/ 1 w 5"/>
                <a:gd name="T117" fmla="*/ 0 h 2"/>
                <a:gd name="T118" fmla="*/ 1 w 5"/>
                <a:gd name="T1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3" name="Freeform 89"/>
            <p:cNvSpPr>
              <a:spLocks/>
            </p:cNvSpPr>
            <p:nvPr/>
          </p:nvSpPr>
          <p:spPr bwMode="auto">
            <a:xfrm>
              <a:off x="5487659" y="3847142"/>
              <a:ext cx="7832" cy="2756"/>
            </a:xfrm>
            <a:custGeom>
              <a:avLst/>
              <a:gdLst>
                <a:gd name="T0" fmla="*/ 1 w 6"/>
                <a:gd name="T1" fmla="*/ 0 h 2"/>
                <a:gd name="T2" fmla="*/ 1 w 6"/>
                <a:gd name="T3" fmla="*/ 0 h 2"/>
                <a:gd name="T4" fmla="*/ 1 w 6"/>
                <a:gd name="T5" fmla="*/ 0 h 2"/>
                <a:gd name="T6" fmla="*/ 1 w 6"/>
                <a:gd name="T7" fmla="*/ 0 h 2"/>
                <a:gd name="T8" fmla="*/ 2 w 6"/>
                <a:gd name="T9" fmla="*/ 0 h 2"/>
                <a:gd name="T10" fmla="*/ 2 w 6"/>
                <a:gd name="T11" fmla="*/ 0 h 2"/>
                <a:gd name="T12" fmla="*/ 2 w 6"/>
                <a:gd name="T13" fmla="*/ 0 h 2"/>
                <a:gd name="T14" fmla="*/ 3 w 6"/>
                <a:gd name="T15" fmla="*/ 1 h 2"/>
                <a:gd name="T16" fmla="*/ 3 w 6"/>
                <a:gd name="T17" fmla="*/ 1 h 2"/>
                <a:gd name="T18" fmla="*/ 3 w 6"/>
                <a:gd name="T19" fmla="*/ 1 h 2"/>
                <a:gd name="T20" fmla="*/ 3 w 6"/>
                <a:gd name="T21" fmla="*/ 1 h 2"/>
                <a:gd name="T22" fmla="*/ 3 w 6"/>
                <a:gd name="T23" fmla="*/ 0 h 2"/>
                <a:gd name="T24" fmla="*/ 3 w 6"/>
                <a:gd name="T25" fmla="*/ 0 h 2"/>
                <a:gd name="T26" fmla="*/ 3 w 6"/>
                <a:gd name="T27" fmla="*/ 0 h 2"/>
                <a:gd name="T28" fmla="*/ 3 w 6"/>
                <a:gd name="T29" fmla="*/ 0 h 2"/>
                <a:gd name="T30" fmla="*/ 4 w 6"/>
                <a:gd name="T31" fmla="*/ 0 h 2"/>
                <a:gd name="T32" fmla="*/ 4 w 6"/>
                <a:gd name="T33" fmla="*/ 0 h 2"/>
                <a:gd name="T34" fmla="*/ 4 w 6"/>
                <a:gd name="T35" fmla="*/ 1 h 2"/>
                <a:gd name="T36" fmla="*/ 4 w 6"/>
                <a:gd name="T37" fmla="*/ 0 h 2"/>
                <a:gd name="T38" fmla="*/ 4 w 6"/>
                <a:gd name="T39" fmla="*/ 0 h 2"/>
                <a:gd name="T40" fmla="*/ 4 w 6"/>
                <a:gd name="T41" fmla="*/ 0 h 2"/>
                <a:gd name="T42" fmla="*/ 4 w 6"/>
                <a:gd name="T43" fmla="*/ 0 h 2"/>
                <a:gd name="T44" fmla="*/ 5 w 6"/>
                <a:gd name="T45" fmla="*/ 0 h 2"/>
                <a:gd name="T46" fmla="*/ 5 w 6"/>
                <a:gd name="T47" fmla="*/ 0 h 2"/>
                <a:gd name="T48" fmla="*/ 5 w 6"/>
                <a:gd name="T49" fmla="*/ 0 h 2"/>
                <a:gd name="T50" fmla="*/ 5 w 6"/>
                <a:gd name="T51" fmla="*/ 0 h 2"/>
                <a:gd name="T52" fmla="*/ 6 w 6"/>
                <a:gd name="T53" fmla="*/ 0 h 2"/>
                <a:gd name="T54" fmla="*/ 6 w 6"/>
                <a:gd name="T55" fmla="*/ 1 h 2"/>
                <a:gd name="T56" fmla="*/ 6 w 6"/>
                <a:gd name="T57" fmla="*/ 1 h 2"/>
                <a:gd name="T58" fmla="*/ 6 w 6"/>
                <a:gd name="T59" fmla="*/ 2 h 2"/>
                <a:gd name="T60" fmla="*/ 5 w 6"/>
                <a:gd name="T61" fmla="*/ 2 h 2"/>
                <a:gd name="T62" fmla="*/ 5 w 6"/>
                <a:gd name="T63" fmla="*/ 2 h 2"/>
                <a:gd name="T64" fmla="*/ 5 w 6"/>
                <a:gd name="T65" fmla="*/ 2 h 2"/>
                <a:gd name="T66" fmla="*/ 5 w 6"/>
                <a:gd name="T67" fmla="*/ 2 h 2"/>
                <a:gd name="T68" fmla="*/ 5 w 6"/>
                <a:gd name="T69" fmla="*/ 2 h 2"/>
                <a:gd name="T70" fmla="*/ 5 w 6"/>
                <a:gd name="T71" fmla="*/ 2 h 2"/>
                <a:gd name="T72" fmla="*/ 4 w 6"/>
                <a:gd name="T73" fmla="*/ 2 h 2"/>
                <a:gd name="T74" fmla="*/ 4 w 6"/>
                <a:gd name="T75" fmla="*/ 2 h 2"/>
                <a:gd name="T76" fmla="*/ 4 w 6"/>
                <a:gd name="T77" fmla="*/ 2 h 2"/>
                <a:gd name="T78" fmla="*/ 4 w 6"/>
                <a:gd name="T79" fmla="*/ 2 h 2"/>
                <a:gd name="T80" fmla="*/ 4 w 6"/>
                <a:gd name="T81" fmla="*/ 2 h 2"/>
                <a:gd name="T82" fmla="*/ 3 w 6"/>
                <a:gd name="T83" fmla="*/ 2 h 2"/>
                <a:gd name="T84" fmla="*/ 3 w 6"/>
                <a:gd name="T85" fmla="*/ 2 h 2"/>
                <a:gd name="T86" fmla="*/ 3 w 6"/>
                <a:gd name="T87" fmla="*/ 2 h 2"/>
                <a:gd name="T88" fmla="*/ 3 w 6"/>
                <a:gd name="T89" fmla="*/ 2 h 2"/>
                <a:gd name="T90" fmla="*/ 3 w 6"/>
                <a:gd name="T91" fmla="*/ 2 h 2"/>
                <a:gd name="T92" fmla="*/ 3 w 6"/>
                <a:gd name="T93" fmla="*/ 2 h 2"/>
                <a:gd name="T94" fmla="*/ 2 w 6"/>
                <a:gd name="T95" fmla="*/ 2 h 2"/>
                <a:gd name="T96" fmla="*/ 2 w 6"/>
                <a:gd name="T97" fmla="*/ 2 h 2"/>
                <a:gd name="T98" fmla="*/ 2 w 6"/>
                <a:gd name="T99" fmla="*/ 2 h 2"/>
                <a:gd name="T100" fmla="*/ 2 w 6"/>
                <a:gd name="T101" fmla="*/ 2 h 2"/>
                <a:gd name="T102" fmla="*/ 2 w 6"/>
                <a:gd name="T103" fmla="*/ 2 h 2"/>
                <a:gd name="T104" fmla="*/ 1 w 6"/>
                <a:gd name="T105" fmla="*/ 2 h 2"/>
                <a:gd name="T106" fmla="*/ 1 w 6"/>
                <a:gd name="T107" fmla="*/ 2 h 2"/>
                <a:gd name="T108" fmla="*/ 1 w 6"/>
                <a:gd name="T109" fmla="*/ 1 h 2"/>
                <a:gd name="T110" fmla="*/ 1 w 6"/>
                <a:gd name="T111" fmla="*/ 1 h 2"/>
                <a:gd name="T112" fmla="*/ 1 w 6"/>
                <a:gd name="T113" fmla="*/ 1 h 2"/>
                <a:gd name="T114" fmla="*/ 0 w 6"/>
                <a:gd name="T115" fmla="*/ 0 h 2"/>
                <a:gd name="T116" fmla="*/ 0 w 6"/>
                <a:gd name="T117" fmla="*/ 0 h 2"/>
                <a:gd name="T118" fmla="*/ 0 w 6"/>
                <a:gd name="T119" fmla="*/ 0 h 2"/>
                <a:gd name="T120" fmla="*/ 0 w 6"/>
                <a:gd name="T121" fmla="*/ 0 h 2"/>
                <a:gd name="T122" fmla="*/ 1 w 6"/>
                <a:gd name="T123" fmla="*/ 0 h 2"/>
                <a:gd name="T124" fmla="*/ 1 w 6"/>
                <a:gd name="T1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4" name="Freeform 90"/>
            <p:cNvSpPr>
              <a:spLocks/>
            </p:cNvSpPr>
            <p:nvPr/>
          </p:nvSpPr>
          <p:spPr bwMode="auto">
            <a:xfrm>
              <a:off x="5658656" y="3782385"/>
              <a:ext cx="35243" cy="78537"/>
            </a:xfrm>
            <a:custGeom>
              <a:avLst/>
              <a:gdLst>
                <a:gd name="T0" fmla="*/ 8 w 27"/>
                <a:gd name="T1" fmla="*/ 12 h 57"/>
                <a:gd name="T2" fmla="*/ 7 w 27"/>
                <a:gd name="T3" fmla="*/ 9 h 57"/>
                <a:gd name="T4" fmla="*/ 6 w 27"/>
                <a:gd name="T5" fmla="*/ 6 h 57"/>
                <a:gd name="T6" fmla="*/ 6 w 27"/>
                <a:gd name="T7" fmla="*/ 3 h 57"/>
                <a:gd name="T8" fmla="*/ 10 w 27"/>
                <a:gd name="T9" fmla="*/ 1 h 57"/>
                <a:gd name="T10" fmla="*/ 11 w 27"/>
                <a:gd name="T11" fmla="*/ 2 h 57"/>
                <a:gd name="T12" fmla="*/ 13 w 27"/>
                <a:gd name="T13" fmla="*/ 3 h 57"/>
                <a:gd name="T14" fmla="*/ 17 w 27"/>
                <a:gd name="T15" fmla="*/ 3 h 57"/>
                <a:gd name="T16" fmla="*/ 20 w 27"/>
                <a:gd name="T17" fmla="*/ 2 h 57"/>
                <a:gd name="T18" fmla="*/ 24 w 27"/>
                <a:gd name="T19" fmla="*/ 2 h 57"/>
                <a:gd name="T20" fmla="*/ 25 w 27"/>
                <a:gd name="T21" fmla="*/ 6 h 57"/>
                <a:gd name="T22" fmla="*/ 26 w 27"/>
                <a:gd name="T23" fmla="*/ 8 h 57"/>
                <a:gd name="T24" fmla="*/ 24 w 27"/>
                <a:gd name="T25" fmla="*/ 10 h 57"/>
                <a:gd name="T26" fmla="*/ 22 w 27"/>
                <a:gd name="T27" fmla="*/ 13 h 57"/>
                <a:gd name="T28" fmla="*/ 22 w 27"/>
                <a:gd name="T29" fmla="*/ 16 h 57"/>
                <a:gd name="T30" fmla="*/ 22 w 27"/>
                <a:gd name="T31" fmla="*/ 18 h 57"/>
                <a:gd name="T32" fmla="*/ 21 w 27"/>
                <a:gd name="T33" fmla="*/ 23 h 57"/>
                <a:gd name="T34" fmla="*/ 22 w 27"/>
                <a:gd name="T35" fmla="*/ 25 h 57"/>
                <a:gd name="T36" fmla="*/ 19 w 27"/>
                <a:gd name="T37" fmla="*/ 28 h 57"/>
                <a:gd name="T38" fmla="*/ 18 w 27"/>
                <a:gd name="T39" fmla="*/ 29 h 57"/>
                <a:gd name="T40" fmla="*/ 20 w 27"/>
                <a:gd name="T41" fmla="*/ 34 h 57"/>
                <a:gd name="T42" fmla="*/ 20 w 27"/>
                <a:gd name="T43" fmla="*/ 36 h 57"/>
                <a:gd name="T44" fmla="*/ 18 w 27"/>
                <a:gd name="T45" fmla="*/ 39 h 57"/>
                <a:gd name="T46" fmla="*/ 21 w 27"/>
                <a:gd name="T47" fmla="*/ 44 h 57"/>
                <a:gd name="T48" fmla="*/ 19 w 27"/>
                <a:gd name="T49" fmla="*/ 46 h 57"/>
                <a:gd name="T50" fmla="*/ 17 w 27"/>
                <a:gd name="T51" fmla="*/ 49 h 57"/>
                <a:gd name="T52" fmla="*/ 17 w 27"/>
                <a:gd name="T53" fmla="*/ 53 h 57"/>
                <a:gd name="T54" fmla="*/ 15 w 27"/>
                <a:gd name="T55" fmla="*/ 56 h 57"/>
                <a:gd name="T56" fmla="*/ 13 w 27"/>
                <a:gd name="T57" fmla="*/ 57 h 57"/>
                <a:gd name="T58" fmla="*/ 10 w 27"/>
                <a:gd name="T59" fmla="*/ 56 h 57"/>
                <a:gd name="T60" fmla="*/ 7 w 27"/>
                <a:gd name="T61" fmla="*/ 56 h 57"/>
                <a:gd name="T62" fmla="*/ 5 w 27"/>
                <a:gd name="T63" fmla="*/ 57 h 57"/>
                <a:gd name="T64" fmla="*/ 5 w 27"/>
                <a:gd name="T65" fmla="*/ 54 h 57"/>
                <a:gd name="T66" fmla="*/ 6 w 27"/>
                <a:gd name="T67" fmla="*/ 51 h 57"/>
                <a:gd name="T68" fmla="*/ 6 w 27"/>
                <a:gd name="T69" fmla="*/ 49 h 57"/>
                <a:gd name="T70" fmla="*/ 6 w 27"/>
                <a:gd name="T71" fmla="*/ 45 h 57"/>
                <a:gd name="T72" fmla="*/ 6 w 27"/>
                <a:gd name="T73" fmla="*/ 41 h 57"/>
                <a:gd name="T74" fmla="*/ 7 w 27"/>
                <a:gd name="T75" fmla="*/ 41 h 57"/>
                <a:gd name="T76" fmla="*/ 7 w 27"/>
                <a:gd name="T77" fmla="*/ 41 h 57"/>
                <a:gd name="T78" fmla="*/ 7 w 27"/>
                <a:gd name="T79" fmla="*/ 39 h 57"/>
                <a:gd name="T80" fmla="*/ 6 w 27"/>
                <a:gd name="T81" fmla="*/ 40 h 57"/>
                <a:gd name="T82" fmla="*/ 3 w 27"/>
                <a:gd name="T83" fmla="*/ 41 h 57"/>
                <a:gd name="T84" fmla="*/ 4 w 27"/>
                <a:gd name="T85" fmla="*/ 39 h 57"/>
                <a:gd name="T86" fmla="*/ 4 w 27"/>
                <a:gd name="T87" fmla="*/ 38 h 57"/>
                <a:gd name="T88" fmla="*/ 5 w 27"/>
                <a:gd name="T89" fmla="*/ 36 h 57"/>
                <a:gd name="T90" fmla="*/ 5 w 27"/>
                <a:gd name="T91" fmla="*/ 35 h 57"/>
                <a:gd name="T92" fmla="*/ 3 w 27"/>
                <a:gd name="T93" fmla="*/ 38 h 57"/>
                <a:gd name="T94" fmla="*/ 0 w 27"/>
                <a:gd name="T95" fmla="*/ 37 h 57"/>
                <a:gd name="T96" fmla="*/ 1 w 27"/>
                <a:gd name="T97" fmla="*/ 34 h 57"/>
                <a:gd name="T98" fmla="*/ 2 w 27"/>
                <a:gd name="T99" fmla="*/ 32 h 57"/>
                <a:gd name="T100" fmla="*/ 3 w 27"/>
                <a:gd name="T101" fmla="*/ 30 h 57"/>
                <a:gd name="T102" fmla="*/ 4 w 27"/>
                <a:gd name="T103" fmla="*/ 26 h 57"/>
                <a:gd name="T104" fmla="*/ 6 w 27"/>
                <a:gd name="T105" fmla="*/ 23 h 57"/>
                <a:gd name="T106" fmla="*/ 7 w 27"/>
                <a:gd name="T107" fmla="*/ 17 h 57"/>
                <a:gd name="T108" fmla="*/ 8 w 27"/>
                <a:gd name="T109" fmla="*/ 16 h 57"/>
                <a:gd name="T110" fmla="*/ 7 w 27"/>
                <a:gd name="T111" fmla="*/ 16 h 57"/>
                <a:gd name="T112" fmla="*/ 7 w 27"/>
                <a:gd name="T113" fmla="*/ 15 h 57"/>
                <a:gd name="T114" fmla="*/ 9 w 27"/>
                <a:gd name="T115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57">
                  <a:moveTo>
                    <a:pt x="11" y="12"/>
                  </a:move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1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4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4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2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2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2" y="35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0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1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5" name="Freeform 91"/>
            <p:cNvSpPr>
              <a:spLocks noEditPoints="1"/>
            </p:cNvSpPr>
            <p:nvPr/>
          </p:nvSpPr>
          <p:spPr bwMode="auto">
            <a:xfrm>
              <a:off x="5971935" y="3687314"/>
              <a:ext cx="99205" cy="73025"/>
            </a:xfrm>
            <a:custGeom>
              <a:avLst/>
              <a:gdLst>
                <a:gd name="T0" fmla="*/ 61 w 76"/>
                <a:gd name="T1" fmla="*/ 49 h 53"/>
                <a:gd name="T2" fmla="*/ 56 w 76"/>
                <a:gd name="T3" fmla="*/ 47 h 53"/>
                <a:gd name="T4" fmla="*/ 49 w 76"/>
                <a:gd name="T5" fmla="*/ 48 h 53"/>
                <a:gd name="T6" fmla="*/ 45 w 76"/>
                <a:gd name="T7" fmla="*/ 50 h 53"/>
                <a:gd name="T8" fmla="*/ 39 w 76"/>
                <a:gd name="T9" fmla="*/ 52 h 53"/>
                <a:gd name="T10" fmla="*/ 35 w 76"/>
                <a:gd name="T11" fmla="*/ 51 h 53"/>
                <a:gd name="T12" fmla="*/ 30 w 76"/>
                <a:gd name="T13" fmla="*/ 51 h 53"/>
                <a:gd name="T14" fmla="*/ 24 w 76"/>
                <a:gd name="T15" fmla="*/ 50 h 53"/>
                <a:gd name="T16" fmla="*/ 21 w 76"/>
                <a:gd name="T17" fmla="*/ 49 h 53"/>
                <a:gd name="T18" fmla="*/ 19 w 76"/>
                <a:gd name="T19" fmla="*/ 45 h 53"/>
                <a:gd name="T20" fmla="*/ 19 w 76"/>
                <a:gd name="T21" fmla="*/ 42 h 53"/>
                <a:gd name="T22" fmla="*/ 15 w 76"/>
                <a:gd name="T23" fmla="*/ 43 h 53"/>
                <a:gd name="T24" fmla="*/ 11 w 76"/>
                <a:gd name="T25" fmla="*/ 41 h 53"/>
                <a:gd name="T26" fmla="*/ 10 w 76"/>
                <a:gd name="T27" fmla="*/ 38 h 53"/>
                <a:gd name="T28" fmla="*/ 9 w 76"/>
                <a:gd name="T29" fmla="*/ 35 h 53"/>
                <a:gd name="T30" fmla="*/ 6 w 76"/>
                <a:gd name="T31" fmla="*/ 34 h 53"/>
                <a:gd name="T32" fmla="*/ 4 w 76"/>
                <a:gd name="T33" fmla="*/ 30 h 53"/>
                <a:gd name="T34" fmla="*/ 3 w 76"/>
                <a:gd name="T35" fmla="*/ 28 h 53"/>
                <a:gd name="T36" fmla="*/ 1 w 76"/>
                <a:gd name="T37" fmla="*/ 24 h 53"/>
                <a:gd name="T38" fmla="*/ 5 w 76"/>
                <a:gd name="T39" fmla="*/ 23 h 53"/>
                <a:gd name="T40" fmla="*/ 8 w 76"/>
                <a:gd name="T41" fmla="*/ 19 h 53"/>
                <a:gd name="T42" fmla="*/ 10 w 76"/>
                <a:gd name="T43" fmla="*/ 17 h 53"/>
                <a:gd name="T44" fmla="*/ 11 w 76"/>
                <a:gd name="T45" fmla="*/ 13 h 53"/>
                <a:gd name="T46" fmla="*/ 13 w 76"/>
                <a:gd name="T47" fmla="*/ 9 h 53"/>
                <a:gd name="T48" fmla="*/ 16 w 76"/>
                <a:gd name="T49" fmla="*/ 5 h 53"/>
                <a:gd name="T50" fmla="*/ 20 w 76"/>
                <a:gd name="T51" fmla="*/ 4 h 53"/>
                <a:gd name="T52" fmla="*/ 24 w 76"/>
                <a:gd name="T53" fmla="*/ 1 h 53"/>
                <a:gd name="T54" fmla="*/ 28 w 76"/>
                <a:gd name="T55" fmla="*/ 2 h 53"/>
                <a:gd name="T56" fmla="*/ 31 w 76"/>
                <a:gd name="T57" fmla="*/ 4 h 53"/>
                <a:gd name="T58" fmla="*/ 36 w 76"/>
                <a:gd name="T59" fmla="*/ 4 h 53"/>
                <a:gd name="T60" fmla="*/ 39 w 76"/>
                <a:gd name="T61" fmla="*/ 5 h 53"/>
                <a:gd name="T62" fmla="*/ 45 w 76"/>
                <a:gd name="T63" fmla="*/ 3 h 53"/>
                <a:gd name="T64" fmla="*/ 48 w 76"/>
                <a:gd name="T65" fmla="*/ 1 h 53"/>
                <a:gd name="T66" fmla="*/ 52 w 76"/>
                <a:gd name="T67" fmla="*/ 0 h 53"/>
                <a:gd name="T68" fmla="*/ 54 w 76"/>
                <a:gd name="T69" fmla="*/ 1 h 53"/>
                <a:gd name="T70" fmla="*/ 56 w 76"/>
                <a:gd name="T71" fmla="*/ 5 h 53"/>
                <a:gd name="T72" fmla="*/ 58 w 76"/>
                <a:gd name="T73" fmla="*/ 8 h 53"/>
                <a:gd name="T74" fmla="*/ 58 w 76"/>
                <a:gd name="T75" fmla="*/ 10 h 53"/>
                <a:gd name="T76" fmla="*/ 60 w 76"/>
                <a:gd name="T77" fmla="*/ 12 h 53"/>
                <a:gd name="T78" fmla="*/ 62 w 76"/>
                <a:gd name="T79" fmla="*/ 14 h 53"/>
                <a:gd name="T80" fmla="*/ 63 w 76"/>
                <a:gd name="T81" fmla="*/ 17 h 53"/>
                <a:gd name="T82" fmla="*/ 64 w 76"/>
                <a:gd name="T83" fmla="*/ 20 h 53"/>
                <a:gd name="T84" fmla="*/ 63 w 76"/>
                <a:gd name="T85" fmla="*/ 22 h 53"/>
                <a:gd name="T86" fmla="*/ 63 w 76"/>
                <a:gd name="T87" fmla="*/ 23 h 53"/>
                <a:gd name="T88" fmla="*/ 63 w 76"/>
                <a:gd name="T89" fmla="*/ 26 h 53"/>
                <a:gd name="T90" fmla="*/ 63 w 76"/>
                <a:gd name="T91" fmla="*/ 30 h 53"/>
                <a:gd name="T92" fmla="*/ 64 w 76"/>
                <a:gd name="T93" fmla="*/ 33 h 53"/>
                <a:gd name="T94" fmla="*/ 68 w 76"/>
                <a:gd name="T95" fmla="*/ 35 h 53"/>
                <a:gd name="T96" fmla="*/ 68 w 76"/>
                <a:gd name="T97" fmla="*/ 35 h 53"/>
                <a:gd name="T98" fmla="*/ 70 w 76"/>
                <a:gd name="T99" fmla="*/ 33 h 53"/>
                <a:gd name="T100" fmla="*/ 74 w 76"/>
                <a:gd name="T101" fmla="*/ 33 h 53"/>
                <a:gd name="T102" fmla="*/ 75 w 76"/>
                <a:gd name="T103" fmla="*/ 35 h 53"/>
                <a:gd name="T104" fmla="*/ 73 w 76"/>
                <a:gd name="T105" fmla="*/ 37 h 53"/>
                <a:gd name="T106" fmla="*/ 73 w 76"/>
                <a:gd name="T107" fmla="*/ 39 h 53"/>
                <a:gd name="T108" fmla="*/ 69 w 76"/>
                <a:gd name="T109" fmla="*/ 42 h 53"/>
                <a:gd name="T110" fmla="*/ 67 w 76"/>
                <a:gd name="T111" fmla="*/ 46 h 53"/>
                <a:gd name="T112" fmla="*/ 67 w 76"/>
                <a:gd name="T113" fmla="*/ 47 h 53"/>
                <a:gd name="T114" fmla="*/ 73 w 76"/>
                <a:gd name="T115" fmla="*/ 37 h 53"/>
                <a:gd name="T116" fmla="*/ 71 w 76"/>
                <a:gd name="T117" fmla="*/ 36 h 53"/>
                <a:gd name="T118" fmla="*/ 71 w 76"/>
                <a:gd name="T119" fmla="*/ 3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53">
                  <a:moveTo>
                    <a:pt x="67" y="50"/>
                  </a:moveTo>
                  <a:lnTo>
                    <a:pt x="66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8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59" y="49"/>
                  </a:lnTo>
                  <a:lnTo>
                    <a:pt x="59" y="48"/>
                  </a:lnTo>
                  <a:lnTo>
                    <a:pt x="58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6" y="48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2" y="47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1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1" y="48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8" y="41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5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9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5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3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2" y="33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3" y="33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4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38"/>
                  </a:lnTo>
                  <a:lnTo>
                    <a:pt x="73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40"/>
                  </a:lnTo>
                  <a:lnTo>
                    <a:pt x="70" y="40"/>
                  </a:lnTo>
                  <a:lnTo>
                    <a:pt x="70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8" y="43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50"/>
                  </a:lnTo>
                  <a:lnTo>
                    <a:pt x="67" y="50"/>
                  </a:lnTo>
                  <a:close/>
                  <a:moveTo>
                    <a:pt x="73" y="38"/>
                  </a:moveTo>
                  <a:lnTo>
                    <a:pt x="73" y="37"/>
                  </a:lnTo>
                  <a:lnTo>
                    <a:pt x="73" y="38"/>
                  </a:lnTo>
                  <a:close/>
                  <a:moveTo>
                    <a:pt x="72" y="38"/>
                  </a:moveTo>
                  <a:lnTo>
                    <a:pt x="72" y="37"/>
                  </a:lnTo>
                  <a:lnTo>
                    <a:pt x="72" y="38"/>
                  </a:lnTo>
                  <a:close/>
                  <a:moveTo>
                    <a:pt x="72" y="37"/>
                  </a:moveTo>
                  <a:lnTo>
                    <a:pt x="72" y="37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close/>
                  <a:moveTo>
                    <a:pt x="71" y="36"/>
                  </a:moveTo>
                  <a:lnTo>
                    <a:pt x="71" y="36"/>
                  </a:lnTo>
                  <a:lnTo>
                    <a:pt x="71" y="36"/>
                  </a:lnTo>
                  <a:close/>
                  <a:moveTo>
                    <a:pt x="73" y="38"/>
                  </a:moveTo>
                  <a:lnTo>
                    <a:pt x="72" y="38"/>
                  </a:lnTo>
                  <a:lnTo>
                    <a:pt x="73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6" name="Freeform 92"/>
            <p:cNvSpPr>
              <a:spLocks/>
            </p:cNvSpPr>
            <p:nvPr/>
          </p:nvSpPr>
          <p:spPr bwMode="auto">
            <a:xfrm>
              <a:off x="6068529" y="3741050"/>
              <a:ext cx="1305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0 w 1"/>
                <a:gd name="T9" fmla="*/ 0 w 1"/>
                <a:gd name="T10" fmla="*/ 0 w 1"/>
                <a:gd name="T11" fmla="*/ 0 w 1"/>
                <a:gd name="T12" fmla="*/ 0 w 1"/>
                <a:gd name="T13" fmla="*/ 0 w 1"/>
                <a:gd name="T14" fmla="*/ 0 w 1"/>
                <a:gd name="T15" fmla="*/ 0 w 1"/>
                <a:gd name="T16" fmla="*/ 0 w 1"/>
                <a:gd name="T17" fmla="*/ 0 w 1"/>
                <a:gd name="T18" fmla="*/ 0 w 1"/>
                <a:gd name="T19" fmla="*/ 0 w 1"/>
                <a:gd name="T20" fmla="*/ 0 w 1"/>
                <a:gd name="T21" fmla="*/ 0 w 1"/>
                <a:gd name="T22" fmla="*/ 0 w 1"/>
                <a:gd name="T23" fmla="*/ 0 w 1"/>
                <a:gd name="T24" fmla="*/ 0 w 1"/>
                <a:gd name="T25" fmla="*/ 0 w 1"/>
                <a:gd name="T26" fmla="*/ 0 w 1"/>
                <a:gd name="T27" fmla="*/ 0 w 1"/>
                <a:gd name="T28" fmla="*/ 0 w 1"/>
                <a:gd name="T29" fmla="*/ 0 w 1"/>
                <a:gd name="T30" fmla="*/ 0 w 1"/>
                <a:gd name="T31" fmla="*/ 0 w 1"/>
                <a:gd name="T32" fmla="*/ 0 w 1"/>
                <a:gd name="T33" fmla="*/ 0 w 1"/>
                <a:gd name="T34" fmla="*/ 0 w 1"/>
                <a:gd name="T35" fmla="*/ 0 w 1"/>
                <a:gd name="T36" fmla="*/ 0 w 1"/>
                <a:gd name="T37" fmla="*/ 0 w 1"/>
                <a:gd name="T38" fmla="*/ 0 w 1"/>
                <a:gd name="T39" fmla="*/ 1 w 1"/>
                <a:gd name="T40" fmla="*/ 1 w 1"/>
                <a:gd name="T41" fmla="*/ 1 w 1"/>
                <a:gd name="T42" fmla="*/ 0 w 1"/>
                <a:gd name="T4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7" name="Freeform 93"/>
            <p:cNvSpPr>
              <a:spLocks noEditPoints="1"/>
            </p:cNvSpPr>
            <p:nvPr/>
          </p:nvSpPr>
          <p:spPr bwMode="auto">
            <a:xfrm>
              <a:off x="6056782" y="3734160"/>
              <a:ext cx="13053" cy="22045"/>
            </a:xfrm>
            <a:custGeom>
              <a:avLst/>
              <a:gdLst>
                <a:gd name="T0" fmla="*/ 2 w 10"/>
                <a:gd name="T1" fmla="*/ 16 h 16"/>
                <a:gd name="T2" fmla="*/ 2 w 10"/>
                <a:gd name="T3" fmla="*/ 16 h 16"/>
                <a:gd name="T4" fmla="*/ 2 w 10"/>
                <a:gd name="T5" fmla="*/ 16 h 16"/>
                <a:gd name="T6" fmla="*/ 2 w 10"/>
                <a:gd name="T7" fmla="*/ 16 h 16"/>
                <a:gd name="T8" fmla="*/ 2 w 10"/>
                <a:gd name="T9" fmla="*/ 16 h 16"/>
                <a:gd name="T10" fmla="*/ 2 w 10"/>
                <a:gd name="T11" fmla="*/ 13 h 16"/>
                <a:gd name="T12" fmla="*/ 2 w 10"/>
                <a:gd name="T13" fmla="*/ 13 h 16"/>
                <a:gd name="T14" fmla="*/ 2 w 10"/>
                <a:gd name="T15" fmla="*/ 13 h 16"/>
                <a:gd name="T16" fmla="*/ 2 w 10"/>
                <a:gd name="T17" fmla="*/ 13 h 16"/>
                <a:gd name="T18" fmla="*/ 2 w 10"/>
                <a:gd name="T19" fmla="*/ 13 h 16"/>
                <a:gd name="T20" fmla="*/ 2 w 10"/>
                <a:gd name="T21" fmla="*/ 13 h 16"/>
                <a:gd name="T22" fmla="*/ 2 w 10"/>
                <a:gd name="T23" fmla="*/ 13 h 16"/>
                <a:gd name="T24" fmla="*/ 2 w 10"/>
                <a:gd name="T25" fmla="*/ 11 h 16"/>
                <a:gd name="T26" fmla="*/ 2 w 10"/>
                <a:gd name="T27" fmla="*/ 11 h 16"/>
                <a:gd name="T28" fmla="*/ 2 w 10"/>
                <a:gd name="T29" fmla="*/ 11 h 16"/>
                <a:gd name="T30" fmla="*/ 2 w 10"/>
                <a:gd name="T31" fmla="*/ 11 h 16"/>
                <a:gd name="T32" fmla="*/ 2 w 10"/>
                <a:gd name="T33" fmla="*/ 11 h 16"/>
                <a:gd name="T34" fmla="*/ 2 w 10"/>
                <a:gd name="T35" fmla="*/ 11 h 16"/>
                <a:gd name="T36" fmla="*/ 2 w 10"/>
                <a:gd name="T37" fmla="*/ 11 h 16"/>
                <a:gd name="T38" fmla="*/ 2 w 10"/>
                <a:gd name="T39" fmla="*/ 11 h 16"/>
                <a:gd name="T40" fmla="*/ 9 w 10"/>
                <a:gd name="T41" fmla="*/ 5 h 16"/>
                <a:gd name="T42" fmla="*/ 9 w 10"/>
                <a:gd name="T43" fmla="*/ 5 h 16"/>
                <a:gd name="T44" fmla="*/ 9 w 10"/>
                <a:gd name="T45" fmla="*/ 5 h 16"/>
                <a:gd name="T46" fmla="*/ 9 w 10"/>
                <a:gd name="T47" fmla="*/ 5 h 16"/>
                <a:gd name="T48" fmla="*/ 9 w 10"/>
                <a:gd name="T49" fmla="*/ 5 h 16"/>
                <a:gd name="T50" fmla="*/ 9 w 10"/>
                <a:gd name="T51" fmla="*/ 5 h 16"/>
                <a:gd name="T52" fmla="*/ 10 w 10"/>
                <a:gd name="T53" fmla="*/ 5 h 16"/>
                <a:gd name="T54" fmla="*/ 10 w 10"/>
                <a:gd name="T55" fmla="*/ 5 h 16"/>
                <a:gd name="T56" fmla="*/ 10 w 10"/>
                <a:gd name="T57" fmla="*/ 5 h 16"/>
                <a:gd name="T58" fmla="*/ 10 w 10"/>
                <a:gd name="T59" fmla="*/ 5 h 16"/>
                <a:gd name="T60" fmla="*/ 10 w 10"/>
                <a:gd name="T61" fmla="*/ 5 h 16"/>
                <a:gd name="T62" fmla="*/ 10 w 10"/>
                <a:gd name="T63" fmla="*/ 5 h 16"/>
                <a:gd name="T64" fmla="*/ 10 w 10"/>
                <a:gd name="T65" fmla="*/ 5 h 16"/>
                <a:gd name="T66" fmla="*/ 4 w 10"/>
                <a:gd name="T67" fmla="*/ 1 h 16"/>
                <a:gd name="T68" fmla="*/ 4 w 10"/>
                <a:gd name="T69" fmla="*/ 1 h 16"/>
                <a:gd name="T70" fmla="*/ 4 w 10"/>
                <a:gd name="T71" fmla="*/ 1 h 16"/>
                <a:gd name="T72" fmla="*/ 4 w 10"/>
                <a:gd name="T73" fmla="*/ 1 h 16"/>
                <a:gd name="T74" fmla="*/ 4 w 10"/>
                <a:gd name="T75" fmla="*/ 1 h 16"/>
                <a:gd name="T76" fmla="*/ 0 w 10"/>
                <a:gd name="T77" fmla="*/ 0 h 16"/>
                <a:gd name="T78" fmla="*/ 0 w 10"/>
                <a:gd name="T79" fmla="*/ 0 h 16"/>
                <a:gd name="T80" fmla="*/ 0 w 10"/>
                <a:gd name="T81" fmla="*/ 0 h 16"/>
                <a:gd name="T82" fmla="*/ 0 w 10"/>
                <a:gd name="T83" fmla="*/ 0 h 16"/>
                <a:gd name="T84" fmla="*/ 0 w 10"/>
                <a:gd name="T85" fmla="*/ 0 h 16"/>
                <a:gd name="T86" fmla="*/ 0 w 10"/>
                <a:gd name="T8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" h="16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0" y="5"/>
                  </a:move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8" name="Freeform 94"/>
            <p:cNvSpPr>
              <a:spLocks noEditPoints="1"/>
            </p:cNvSpPr>
            <p:nvPr/>
          </p:nvSpPr>
          <p:spPr bwMode="auto">
            <a:xfrm>
              <a:off x="6358312" y="3057646"/>
              <a:ext cx="1392785" cy="723361"/>
            </a:xfrm>
            <a:custGeom>
              <a:avLst/>
              <a:gdLst>
                <a:gd name="T0" fmla="*/ 1005 w 1067"/>
                <a:gd name="T1" fmla="*/ 202 h 525"/>
                <a:gd name="T2" fmla="*/ 1041 w 1067"/>
                <a:gd name="T3" fmla="*/ 221 h 525"/>
                <a:gd name="T4" fmla="*/ 687 w 1067"/>
                <a:gd name="T5" fmla="*/ 390 h 525"/>
                <a:gd name="T6" fmla="*/ 80 w 1067"/>
                <a:gd name="T7" fmla="*/ 284 h 525"/>
                <a:gd name="T8" fmla="*/ 65 w 1067"/>
                <a:gd name="T9" fmla="*/ 269 h 525"/>
                <a:gd name="T10" fmla="*/ 70 w 1067"/>
                <a:gd name="T11" fmla="*/ 262 h 525"/>
                <a:gd name="T12" fmla="*/ 69 w 1067"/>
                <a:gd name="T13" fmla="*/ 258 h 525"/>
                <a:gd name="T14" fmla="*/ 65 w 1067"/>
                <a:gd name="T15" fmla="*/ 252 h 525"/>
                <a:gd name="T16" fmla="*/ 61 w 1067"/>
                <a:gd name="T17" fmla="*/ 244 h 525"/>
                <a:gd name="T18" fmla="*/ 64 w 1067"/>
                <a:gd name="T19" fmla="*/ 232 h 525"/>
                <a:gd name="T20" fmla="*/ 92 w 1067"/>
                <a:gd name="T21" fmla="*/ 223 h 525"/>
                <a:gd name="T22" fmla="*/ 206 w 1067"/>
                <a:gd name="T23" fmla="*/ 172 h 525"/>
                <a:gd name="T24" fmla="*/ 634 w 1067"/>
                <a:gd name="T25" fmla="*/ 159 h 525"/>
                <a:gd name="T26" fmla="*/ 404 w 1067"/>
                <a:gd name="T27" fmla="*/ 78 h 525"/>
                <a:gd name="T28" fmla="*/ 420 w 1067"/>
                <a:gd name="T29" fmla="*/ 107 h 525"/>
                <a:gd name="T30" fmla="*/ 342 w 1067"/>
                <a:gd name="T31" fmla="*/ 152 h 525"/>
                <a:gd name="T32" fmla="*/ 344 w 1067"/>
                <a:gd name="T33" fmla="*/ 158 h 525"/>
                <a:gd name="T34" fmla="*/ 418 w 1067"/>
                <a:gd name="T35" fmla="*/ 126 h 525"/>
                <a:gd name="T36" fmla="*/ 501 w 1067"/>
                <a:gd name="T37" fmla="*/ 131 h 525"/>
                <a:gd name="T38" fmla="*/ 543 w 1067"/>
                <a:gd name="T39" fmla="*/ 178 h 525"/>
                <a:gd name="T40" fmla="*/ 532 w 1067"/>
                <a:gd name="T41" fmla="*/ 259 h 525"/>
                <a:gd name="T42" fmla="*/ 530 w 1067"/>
                <a:gd name="T43" fmla="*/ 212 h 525"/>
                <a:gd name="T44" fmla="*/ 564 w 1067"/>
                <a:gd name="T45" fmla="*/ 160 h 525"/>
                <a:gd name="T46" fmla="*/ 624 w 1067"/>
                <a:gd name="T47" fmla="*/ 157 h 525"/>
                <a:gd name="T48" fmla="*/ 635 w 1067"/>
                <a:gd name="T49" fmla="*/ 163 h 525"/>
                <a:gd name="T50" fmla="*/ 673 w 1067"/>
                <a:gd name="T51" fmla="*/ 138 h 525"/>
                <a:gd name="T52" fmla="*/ 735 w 1067"/>
                <a:gd name="T53" fmla="*/ 152 h 525"/>
                <a:gd name="T54" fmla="*/ 699 w 1067"/>
                <a:gd name="T55" fmla="*/ 205 h 525"/>
                <a:gd name="T56" fmla="*/ 716 w 1067"/>
                <a:gd name="T57" fmla="*/ 200 h 525"/>
                <a:gd name="T58" fmla="*/ 810 w 1067"/>
                <a:gd name="T59" fmla="*/ 168 h 525"/>
                <a:gd name="T60" fmla="*/ 815 w 1067"/>
                <a:gd name="T61" fmla="*/ 200 h 525"/>
                <a:gd name="T62" fmla="*/ 939 w 1067"/>
                <a:gd name="T63" fmla="*/ 179 h 525"/>
                <a:gd name="T64" fmla="*/ 975 w 1067"/>
                <a:gd name="T65" fmla="*/ 259 h 525"/>
                <a:gd name="T66" fmla="*/ 858 w 1067"/>
                <a:gd name="T67" fmla="*/ 313 h 525"/>
                <a:gd name="T68" fmla="*/ 813 w 1067"/>
                <a:gd name="T69" fmla="*/ 404 h 525"/>
                <a:gd name="T70" fmla="*/ 869 w 1067"/>
                <a:gd name="T71" fmla="*/ 282 h 525"/>
                <a:gd name="T72" fmla="*/ 787 w 1067"/>
                <a:gd name="T73" fmla="*/ 323 h 525"/>
                <a:gd name="T74" fmla="*/ 627 w 1067"/>
                <a:gd name="T75" fmla="*/ 379 h 525"/>
                <a:gd name="T76" fmla="*/ 671 w 1067"/>
                <a:gd name="T77" fmla="*/ 416 h 525"/>
                <a:gd name="T78" fmla="*/ 591 w 1067"/>
                <a:gd name="T79" fmla="*/ 520 h 525"/>
                <a:gd name="T80" fmla="*/ 505 w 1067"/>
                <a:gd name="T81" fmla="*/ 417 h 525"/>
                <a:gd name="T82" fmla="*/ 260 w 1067"/>
                <a:gd name="T83" fmla="*/ 438 h 525"/>
                <a:gd name="T84" fmla="*/ 36 w 1067"/>
                <a:gd name="T85" fmla="*/ 401 h 525"/>
                <a:gd name="T86" fmla="*/ 59 w 1067"/>
                <a:gd name="T87" fmla="*/ 221 h 525"/>
                <a:gd name="T88" fmla="*/ 92 w 1067"/>
                <a:gd name="T89" fmla="*/ 174 h 525"/>
                <a:gd name="T90" fmla="*/ 121 w 1067"/>
                <a:gd name="T91" fmla="*/ 158 h 525"/>
                <a:gd name="T92" fmla="*/ 63 w 1067"/>
                <a:gd name="T93" fmla="*/ 236 h 525"/>
                <a:gd name="T94" fmla="*/ 57 w 1067"/>
                <a:gd name="T95" fmla="*/ 271 h 525"/>
                <a:gd name="T96" fmla="*/ 80 w 1067"/>
                <a:gd name="T97" fmla="*/ 286 h 525"/>
                <a:gd name="T98" fmla="*/ 70 w 1067"/>
                <a:gd name="T99" fmla="*/ 246 h 525"/>
                <a:gd name="T100" fmla="*/ 121 w 1067"/>
                <a:gd name="T101" fmla="*/ 231 h 525"/>
                <a:gd name="T102" fmla="*/ 168 w 1067"/>
                <a:gd name="T103" fmla="*/ 239 h 525"/>
                <a:gd name="T104" fmla="*/ 169 w 1067"/>
                <a:gd name="T105" fmla="*/ 208 h 525"/>
                <a:gd name="T106" fmla="*/ 159 w 1067"/>
                <a:gd name="T107" fmla="*/ 164 h 525"/>
                <a:gd name="T108" fmla="*/ 200 w 1067"/>
                <a:gd name="T109" fmla="*/ 175 h 525"/>
                <a:gd name="T110" fmla="*/ 192 w 1067"/>
                <a:gd name="T111" fmla="*/ 141 h 525"/>
                <a:gd name="T112" fmla="*/ 265 w 1067"/>
                <a:gd name="T113" fmla="*/ 148 h 525"/>
                <a:gd name="T114" fmla="*/ 239 w 1067"/>
                <a:gd name="T115" fmla="*/ 106 h 525"/>
                <a:gd name="T116" fmla="*/ 334 w 1067"/>
                <a:gd name="T117" fmla="*/ 96 h 525"/>
                <a:gd name="T118" fmla="*/ 402 w 1067"/>
                <a:gd name="T119" fmla="*/ 100 h 525"/>
                <a:gd name="T120" fmla="*/ 359 w 1067"/>
                <a:gd name="T121" fmla="*/ 66 h 525"/>
                <a:gd name="T122" fmla="*/ 932 w 1067"/>
                <a:gd name="T123" fmla="*/ 239 h 525"/>
                <a:gd name="T124" fmla="*/ 295 w 1067"/>
                <a:gd name="T125" fmla="*/ 29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525">
                  <a:moveTo>
                    <a:pt x="1067" y="232"/>
                  </a:moveTo>
                  <a:lnTo>
                    <a:pt x="1066" y="232"/>
                  </a:lnTo>
                  <a:lnTo>
                    <a:pt x="1066" y="232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4" y="233"/>
                  </a:lnTo>
                  <a:lnTo>
                    <a:pt x="1063" y="233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2" y="234"/>
                  </a:lnTo>
                  <a:lnTo>
                    <a:pt x="1062" y="234"/>
                  </a:lnTo>
                  <a:lnTo>
                    <a:pt x="1062" y="235"/>
                  </a:lnTo>
                  <a:lnTo>
                    <a:pt x="1062" y="234"/>
                  </a:lnTo>
                  <a:lnTo>
                    <a:pt x="1063" y="234"/>
                  </a:lnTo>
                  <a:lnTo>
                    <a:pt x="1063" y="235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6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2" y="238"/>
                  </a:lnTo>
                  <a:lnTo>
                    <a:pt x="1062" y="238"/>
                  </a:lnTo>
                  <a:lnTo>
                    <a:pt x="1061" y="238"/>
                  </a:lnTo>
                  <a:lnTo>
                    <a:pt x="1060" y="238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7" y="237"/>
                  </a:lnTo>
                  <a:lnTo>
                    <a:pt x="1057" y="236"/>
                  </a:lnTo>
                  <a:lnTo>
                    <a:pt x="1057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5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4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7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8" y="238"/>
                  </a:lnTo>
                  <a:lnTo>
                    <a:pt x="1059" y="238"/>
                  </a:lnTo>
                  <a:lnTo>
                    <a:pt x="1059" y="238"/>
                  </a:lnTo>
                  <a:lnTo>
                    <a:pt x="1059" y="239"/>
                  </a:lnTo>
                  <a:lnTo>
                    <a:pt x="1059" y="240"/>
                  </a:lnTo>
                  <a:lnTo>
                    <a:pt x="1058" y="240"/>
                  </a:lnTo>
                  <a:lnTo>
                    <a:pt x="1058" y="240"/>
                  </a:lnTo>
                  <a:lnTo>
                    <a:pt x="1057" y="240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6" y="239"/>
                  </a:lnTo>
                  <a:lnTo>
                    <a:pt x="1055" y="239"/>
                  </a:lnTo>
                  <a:lnTo>
                    <a:pt x="1055" y="239"/>
                  </a:lnTo>
                  <a:lnTo>
                    <a:pt x="1054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2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0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2" y="240"/>
                  </a:lnTo>
                  <a:lnTo>
                    <a:pt x="1052" y="240"/>
                  </a:lnTo>
                  <a:lnTo>
                    <a:pt x="1052" y="239"/>
                  </a:lnTo>
                  <a:lnTo>
                    <a:pt x="1052" y="239"/>
                  </a:lnTo>
                  <a:lnTo>
                    <a:pt x="1051" y="239"/>
                  </a:lnTo>
                  <a:lnTo>
                    <a:pt x="1051" y="239"/>
                  </a:lnTo>
                  <a:lnTo>
                    <a:pt x="1051" y="238"/>
                  </a:lnTo>
                  <a:lnTo>
                    <a:pt x="1050" y="238"/>
                  </a:lnTo>
                  <a:lnTo>
                    <a:pt x="1049" y="238"/>
                  </a:lnTo>
                  <a:lnTo>
                    <a:pt x="1049" y="239"/>
                  </a:lnTo>
                  <a:lnTo>
                    <a:pt x="1049" y="239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9" y="238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8" y="238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7" y="237"/>
                  </a:lnTo>
                  <a:lnTo>
                    <a:pt x="1047" y="237"/>
                  </a:lnTo>
                  <a:lnTo>
                    <a:pt x="1046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8"/>
                  </a:lnTo>
                  <a:lnTo>
                    <a:pt x="1046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8" y="238"/>
                  </a:lnTo>
                  <a:lnTo>
                    <a:pt x="1047" y="238"/>
                  </a:lnTo>
                  <a:lnTo>
                    <a:pt x="1047" y="239"/>
                  </a:lnTo>
                  <a:lnTo>
                    <a:pt x="1048" y="239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50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1"/>
                  </a:lnTo>
                  <a:lnTo>
                    <a:pt x="1049" y="241"/>
                  </a:lnTo>
                  <a:lnTo>
                    <a:pt x="1049" y="242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6" y="243"/>
                  </a:lnTo>
                  <a:lnTo>
                    <a:pt x="1046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6" y="244"/>
                  </a:lnTo>
                  <a:lnTo>
                    <a:pt x="1046" y="243"/>
                  </a:lnTo>
                  <a:lnTo>
                    <a:pt x="1046" y="244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4"/>
                  </a:lnTo>
                  <a:lnTo>
                    <a:pt x="1049" y="243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5"/>
                  </a:lnTo>
                  <a:lnTo>
                    <a:pt x="1050" y="245"/>
                  </a:lnTo>
                  <a:lnTo>
                    <a:pt x="1049" y="245"/>
                  </a:lnTo>
                  <a:lnTo>
                    <a:pt x="1049" y="246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7" y="247"/>
                  </a:lnTo>
                  <a:lnTo>
                    <a:pt x="1047" y="247"/>
                  </a:lnTo>
                  <a:lnTo>
                    <a:pt x="1047" y="248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6" y="248"/>
                  </a:lnTo>
                  <a:lnTo>
                    <a:pt x="1047" y="248"/>
                  </a:lnTo>
                  <a:lnTo>
                    <a:pt x="1047" y="247"/>
                  </a:lnTo>
                  <a:lnTo>
                    <a:pt x="1046" y="247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4" y="248"/>
                  </a:lnTo>
                  <a:lnTo>
                    <a:pt x="1044" y="248"/>
                  </a:lnTo>
                  <a:lnTo>
                    <a:pt x="1043" y="248"/>
                  </a:lnTo>
                  <a:lnTo>
                    <a:pt x="1043" y="248"/>
                  </a:lnTo>
                  <a:lnTo>
                    <a:pt x="1042" y="248"/>
                  </a:lnTo>
                  <a:lnTo>
                    <a:pt x="1042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2" y="249"/>
                  </a:lnTo>
                  <a:lnTo>
                    <a:pt x="1042" y="249"/>
                  </a:lnTo>
                  <a:lnTo>
                    <a:pt x="1043" y="249"/>
                  </a:lnTo>
                  <a:lnTo>
                    <a:pt x="1043" y="249"/>
                  </a:lnTo>
                  <a:lnTo>
                    <a:pt x="1043" y="248"/>
                  </a:lnTo>
                  <a:lnTo>
                    <a:pt x="1043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50"/>
                  </a:lnTo>
                  <a:lnTo>
                    <a:pt x="1044" y="250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2" y="251"/>
                  </a:lnTo>
                  <a:lnTo>
                    <a:pt x="1042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4" y="252"/>
                  </a:lnTo>
                  <a:lnTo>
                    <a:pt x="1043" y="251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4" y="252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4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6" y="252"/>
                  </a:lnTo>
                  <a:lnTo>
                    <a:pt x="1047" y="252"/>
                  </a:lnTo>
                  <a:lnTo>
                    <a:pt x="1047" y="252"/>
                  </a:lnTo>
                  <a:lnTo>
                    <a:pt x="1047" y="253"/>
                  </a:lnTo>
                  <a:lnTo>
                    <a:pt x="1048" y="254"/>
                  </a:lnTo>
                  <a:lnTo>
                    <a:pt x="1048" y="254"/>
                  </a:lnTo>
                  <a:lnTo>
                    <a:pt x="1049" y="254"/>
                  </a:lnTo>
                  <a:lnTo>
                    <a:pt x="1047" y="254"/>
                  </a:lnTo>
                  <a:lnTo>
                    <a:pt x="1047" y="255"/>
                  </a:lnTo>
                  <a:lnTo>
                    <a:pt x="1046" y="255"/>
                  </a:lnTo>
                  <a:lnTo>
                    <a:pt x="1045" y="255"/>
                  </a:lnTo>
                  <a:lnTo>
                    <a:pt x="1045" y="255"/>
                  </a:lnTo>
                  <a:lnTo>
                    <a:pt x="1045" y="254"/>
                  </a:lnTo>
                  <a:lnTo>
                    <a:pt x="1045" y="254"/>
                  </a:lnTo>
                  <a:lnTo>
                    <a:pt x="1044" y="254"/>
                  </a:lnTo>
                  <a:lnTo>
                    <a:pt x="1044" y="253"/>
                  </a:lnTo>
                  <a:lnTo>
                    <a:pt x="1044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3" y="254"/>
                  </a:lnTo>
                  <a:lnTo>
                    <a:pt x="1043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2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2" y="256"/>
                  </a:lnTo>
                  <a:lnTo>
                    <a:pt x="1041" y="256"/>
                  </a:lnTo>
                  <a:lnTo>
                    <a:pt x="1041" y="256"/>
                  </a:lnTo>
                  <a:lnTo>
                    <a:pt x="1040" y="256"/>
                  </a:lnTo>
                  <a:lnTo>
                    <a:pt x="1040" y="256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41" y="255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0" y="253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3"/>
                  </a:lnTo>
                  <a:lnTo>
                    <a:pt x="1040" y="253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8" y="255"/>
                  </a:lnTo>
                  <a:lnTo>
                    <a:pt x="1037" y="255"/>
                  </a:lnTo>
                  <a:lnTo>
                    <a:pt x="1037" y="256"/>
                  </a:lnTo>
                  <a:lnTo>
                    <a:pt x="1037" y="255"/>
                  </a:lnTo>
                  <a:lnTo>
                    <a:pt x="1037" y="255"/>
                  </a:lnTo>
                  <a:lnTo>
                    <a:pt x="1036" y="255"/>
                  </a:lnTo>
                  <a:lnTo>
                    <a:pt x="1036" y="255"/>
                  </a:lnTo>
                  <a:lnTo>
                    <a:pt x="1035" y="255"/>
                  </a:lnTo>
                  <a:lnTo>
                    <a:pt x="1035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3"/>
                  </a:lnTo>
                  <a:lnTo>
                    <a:pt x="1034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2" y="251"/>
                  </a:lnTo>
                  <a:lnTo>
                    <a:pt x="1031" y="251"/>
                  </a:lnTo>
                  <a:lnTo>
                    <a:pt x="1031" y="251"/>
                  </a:lnTo>
                  <a:lnTo>
                    <a:pt x="1030" y="251"/>
                  </a:lnTo>
                  <a:lnTo>
                    <a:pt x="1030" y="251"/>
                  </a:lnTo>
                  <a:lnTo>
                    <a:pt x="1029" y="250"/>
                  </a:lnTo>
                  <a:lnTo>
                    <a:pt x="1029" y="250"/>
                  </a:lnTo>
                  <a:lnTo>
                    <a:pt x="1028" y="249"/>
                  </a:lnTo>
                  <a:lnTo>
                    <a:pt x="1028" y="249"/>
                  </a:lnTo>
                  <a:lnTo>
                    <a:pt x="1027" y="249"/>
                  </a:lnTo>
                  <a:lnTo>
                    <a:pt x="1026" y="249"/>
                  </a:lnTo>
                  <a:lnTo>
                    <a:pt x="1026" y="249"/>
                  </a:lnTo>
                  <a:lnTo>
                    <a:pt x="1025" y="249"/>
                  </a:lnTo>
                  <a:lnTo>
                    <a:pt x="1025" y="249"/>
                  </a:lnTo>
                  <a:lnTo>
                    <a:pt x="1024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1" y="247"/>
                  </a:lnTo>
                  <a:lnTo>
                    <a:pt x="1021" y="247"/>
                  </a:lnTo>
                  <a:lnTo>
                    <a:pt x="1020" y="247"/>
                  </a:lnTo>
                  <a:lnTo>
                    <a:pt x="1020" y="247"/>
                  </a:lnTo>
                  <a:lnTo>
                    <a:pt x="1019" y="247"/>
                  </a:lnTo>
                  <a:lnTo>
                    <a:pt x="1019" y="246"/>
                  </a:lnTo>
                  <a:lnTo>
                    <a:pt x="1020" y="246"/>
                  </a:lnTo>
                  <a:lnTo>
                    <a:pt x="1020" y="245"/>
                  </a:lnTo>
                  <a:lnTo>
                    <a:pt x="1020" y="245"/>
                  </a:lnTo>
                  <a:lnTo>
                    <a:pt x="1021" y="244"/>
                  </a:lnTo>
                  <a:lnTo>
                    <a:pt x="1020" y="244"/>
                  </a:lnTo>
                  <a:lnTo>
                    <a:pt x="1019" y="243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9" y="241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6" y="240"/>
                  </a:lnTo>
                  <a:lnTo>
                    <a:pt x="1015" y="239"/>
                  </a:lnTo>
                  <a:lnTo>
                    <a:pt x="1014" y="238"/>
                  </a:lnTo>
                  <a:lnTo>
                    <a:pt x="1013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09" y="238"/>
                  </a:lnTo>
                  <a:lnTo>
                    <a:pt x="1008" y="238"/>
                  </a:lnTo>
                  <a:lnTo>
                    <a:pt x="1008" y="239"/>
                  </a:lnTo>
                  <a:lnTo>
                    <a:pt x="1008" y="239"/>
                  </a:lnTo>
                  <a:lnTo>
                    <a:pt x="1008" y="240"/>
                  </a:lnTo>
                  <a:lnTo>
                    <a:pt x="1007" y="240"/>
                  </a:lnTo>
                  <a:lnTo>
                    <a:pt x="1007" y="240"/>
                  </a:lnTo>
                  <a:lnTo>
                    <a:pt x="1006" y="240"/>
                  </a:lnTo>
                  <a:lnTo>
                    <a:pt x="1006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1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9" y="239"/>
                  </a:lnTo>
                  <a:lnTo>
                    <a:pt x="999" y="238"/>
                  </a:lnTo>
                  <a:lnTo>
                    <a:pt x="999" y="238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5"/>
                  </a:lnTo>
                  <a:lnTo>
                    <a:pt x="997" y="235"/>
                  </a:lnTo>
                  <a:lnTo>
                    <a:pt x="997" y="236"/>
                  </a:lnTo>
                  <a:lnTo>
                    <a:pt x="997" y="235"/>
                  </a:lnTo>
                  <a:lnTo>
                    <a:pt x="996" y="234"/>
                  </a:lnTo>
                  <a:lnTo>
                    <a:pt x="996" y="234"/>
                  </a:lnTo>
                  <a:lnTo>
                    <a:pt x="995" y="234"/>
                  </a:lnTo>
                  <a:lnTo>
                    <a:pt x="996" y="234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5" y="233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3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7" y="233"/>
                  </a:lnTo>
                  <a:lnTo>
                    <a:pt x="997" y="232"/>
                  </a:lnTo>
                  <a:lnTo>
                    <a:pt x="997" y="232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8" y="231"/>
                  </a:lnTo>
                  <a:lnTo>
                    <a:pt x="999" y="230"/>
                  </a:lnTo>
                  <a:lnTo>
                    <a:pt x="998" y="230"/>
                  </a:lnTo>
                  <a:lnTo>
                    <a:pt x="998" y="230"/>
                  </a:lnTo>
                  <a:lnTo>
                    <a:pt x="999" y="230"/>
                  </a:lnTo>
                  <a:lnTo>
                    <a:pt x="999" y="229"/>
                  </a:lnTo>
                  <a:lnTo>
                    <a:pt x="998" y="229"/>
                  </a:lnTo>
                  <a:lnTo>
                    <a:pt x="999" y="229"/>
                  </a:lnTo>
                  <a:lnTo>
                    <a:pt x="999" y="228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8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5" y="230"/>
                  </a:lnTo>
                  <a:lnTo>
                    <a:pt x="995" y="230"/>
                  </a:lnTo>
                  <a:lnTo>
                    <a:pt x="994" y="230"/>
                  </a:lnTo>
                  <a:lnTo>
                    <a:pt x="994" y="229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4" y="229"/>
                  </a:lnTo>
                  <a:lnTo>
                    <a:pt x="994" y="228"/>
                  </a:lnTo>
                  <a:lnTo>
                    <a:pt x="994" y="227"/>
                  </a:lnTo>
                  <a:lnTo>
                    <a:pt x="993" y="227"/>
                  </a:lnTo>
                  <a:lnTo>
                    <a:pt x="993" y="228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8"/>
                  </a:lnTo>
                  <a:lnTo>
                    <a:pt x="991" y="228"/>
                  </a:lnTo>
                  <a:lnTo>
                    <a:pt x="991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30"/>
                  </a:lnTo>
                  <a:lnTo>
                    <a:pt x="993" y="230"/>
                  </a:lnTo>
                  <a:lnTo>
                    <a:pt x="992" y="230"/>
                  </a:lnTo>
                  <a:lnTo>
                    <a:pt x="992" y="230"/>
                  </a:lnTo>
                  <a:lnTo>
                    <a:pt x="992" y="231"/>
                  </a:lnTo>
                  <a:lnTo>
                    <a:pt x="991" y="231"/>
                  </a:lnTo>
                  <a:lnTo>
                    <a:pt x="991" y="231"/>
                  </a:lnTo>
                  <a:lnTo>
                    <a:pt x="990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90" y="231"/>
                  </a:lnTo>
                  <a:lnTo>
                    <a:pt x="990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1"/>
                  </a:lnTo>
                  <a:lnTo>
                    <a:pt x="988" y="231"/>
                  </a:lnTo>
                  <a:lnTo>
                    <a:pt x="988" y="232"/>
                  </a:lnTo>
                  <a:lnTo>
                    <a:pt x="988" y="232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4"/>
                  </a:lnTo>
                  <a:lnTo>
                    <a:pt x="988" y="234"/>
                  </a:lnTo>
                  <a:lnTo>
                    <a:pt x="988" y="235"/>
                  </a:lnTo>
                  <a:lnTo>
                    <a:pt x="989" y="236"/>
                  </a:lnTo>
                  <a:lnTo>
                    <a:pt x="989" y="235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90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8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2" y="237"/>
                  </a:lnTo>
                  <a:lnTo>
                    <a:pt x="992" y="237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9"/>
                  </a:lnTo>
                  <a:lnTo>
                    <a:pt x="992" y="239"/>
                  </a:lnTo>
                  <a:lnTo>
                    <a:pt x="992" y="240"/>
                  </a:lnTo>
                  <a:lnTo>
                    <a:pt x="991" y="240"/>
                  </a:lnTo>
                  <a:lnTo>
                    <a:pt x="991" y="240"/>
                  </a:lnTo>
                  <a:lnTo>
                    <a:pt x="991" y="241"/>
                  </a:lnTo>
                  <a:lnTo>
                    <a:pt x="991" y="240"/>
                  </a:lnTo>
                  <a:lnTo>
                    <a:pt x="990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89" y="240"/>
                  </a:lnTo>
                  <a:lnTo>
                    <a:pt x="989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190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8" y="192"/>
                  </a:lnTo>
                  <a:lnTo>
                    <a:pt x="988" y="192"/>
                  </a:lnTo>
                  <a:lnTo>
                    <a:pt x="989" y="192"/>
                  </a:lnTo>
                  <a:lnTo>
                    <a:pt x="989" y="192"/>
                  </a:lnTo>
                  <a:lnTo>
                    <a:pt x="990" y="192"/>
                  </a:lnTo>
                  <a:lnTo>
                    <a:pt x="991" y="192"/>
                  </a:lnTo>
                  <a:lnTo>
                    <a:pt x="990" y="192"/>
                  </a:lnTo>
                  <a:lnTo>
                    <a:pt x="990" y="191"/>
                  </a:lnTo>
                  <a:lnTo>
                    <a:pt x="991" y="191"/>
                  </a:lnTo>
                  <a:lnTo>
                    <a:pt x="991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4" y="193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5"/>
                  </a:lnTo>
                  <a:lnTo>
                    <a:pt x="997" y="195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7" y="197"/>
                  </a:lnTo>
                  <a:lnTo>
                    <a:pt x="996" y="197"/>
                  </a:lnTo>
                  <a:lnTo>
                    <a:pt x="997" y="197"/>
                  </a:lnTo>
                  <a:lnTo>
                    <a:pt x="998" y="197"/>
                  </a:lnTo>
                  <a:lnTo>
                    <a:pt x="998" y="197"/>
                  </a:lnTo>
                  <a:lnTo>
                    <a:pt x="999" y="197"/>
                  </a:lnTo>
                  <a:lnTo>
                    <a:pt x="999" y="197"/>
                  </a:lnTo>
                  <a:lnTo>
                    <a:pt x="999" y="198"/>
                  </a:lnTo>
                  <a:lnTo>
                    <a:pt x="999" y="197"/>
                  </a:lnTo>
                  <a:lnTo>
                    <a:pt x="1000" y="197"/>
                  </a:lnTo>
                  <a:lnTo>
                    <a:pt x="999" y="198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8"/>
                  </a:lnTo>
                  <a:lnTo>
                    <a:pt x="1000" y="198"/>
                  </a:lnTo>
                  <a:lnTo>
                    <a:pt x="1000" y="198"/>
                  </a:lnTo>
                  <a:lnTo>
                    <a:pt x="1001" y="198"/>
                  </a:lnTo>
                  <a:lnTo>
                    <a:pt x="1001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3" y="199"/>
                  </a:lnTo>
                  <a:lnTo>
                    <a:pt x="1003" y="200"/>
                  </a:lnTo>
                  <a:lnTo>
                    <a:pt x="1002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2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4" y="200"/>
                  </a:lnTo>
                  <a:lnTo>
                    <a:pt x="1004" y="200"/>
                  </a:lnTo>
                  <a:lnTo>
                    <a:pt x="1005" y="200"/>
                  </a:lnTo>
                  <a:lnTo>
                    <a:pt x="1006" y="200"/>
                  </a:lnTo>
                  <a:lnTo>
                    <a:pt x="1006" y="201"/>
                  </a:lnTo>
                  <a:lnTo>
                    <a:pt x="1005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1"/>
                  </a:lnTo>
                  <a:lnTo>
                    <a:pt x="1005" y="202"/>
                  </a:lnTo>
                  <a:lnTo>
                    <a:pt x="1004" y="202"/>
                  </a:lnTo>
                  <a:lnTo>
                    <a:pt x="1005" y="202"/>
                  </a:lnTo>
                  <a:lnTo>
                    <a:pt x="1005" y="203"/>
                  </a:lnTo>
                  <a:lnTo>
                    <a:pt x="1005" y="203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5" y="205"/>
                  </a:lnTo>
                  <a:lnTo>
                    <a:pt x="1005" y="206"/>
                  </a:lnTo>
                  <a:lnTo>
                    <a:pt x="1004" y="206"/>
                  </a:lnTo>
                  <a:lnTo>
                    <a:pt x="1004" y="206"/>
                  </a:lnTo>
                  <a:lnTo>
                    <a:pt x="1004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1" y="207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8" y="208"/>
                  </a:lnTo>
                  <a:lnTo>
                    <a:pt x="998" y="209"/>
                  </a:lnTo>
                  <a:lnTo>
                    <a:pt x="997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1" y="210"/>
                  </a:lnTo>
                  <a:lnTo>
                    <a:pt x="991" y="209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9"/>
                  </a:lnTo>
                  <a:lnTo>
                    <a:pt x="991" y="210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4" y="210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3"/>
                  </a:lnTo>
                  <a:lnTo>
                    <a:pt x="996" y="213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7" y="214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6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7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6" y="213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09"/>
                  </a:lnTo>
                  <a:lnTo>
                    <a:pt x="998" y="209"/>
                  </a:lnTo>
                  <a:lnTo>
                    <a:pt x="998" y="209"/>
                  </a:lnTo>
                  <a:lnTo>
                    <a:pt x="998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1" y="208"/>
                  </a:lnTo>
                  <a:lnTo>
                    <a:pt x="1000" y="208"/>
                  </a:lnTo>
                  <a:lnTo>
                    <a:pt x="1001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4" y="207"/>
                  </a:lnTo>
                  <a:lnTo>
                    <a:pt x="1004" y="207"/>
                  </a:lnTo>
                  <a:lnTo>
                    <a:pt x="1004" y="206"/>
                  </a:lnTo>
                  <a:lnTo>
                    <a:pt x="1005" y="206"/>
                  </a:lnTo>
                  <a:lnTo>
                    <a:pt x="1006" y="206"/>
                  </a:lnTo>
                  <a:lnTo>
                    <a:pt x="1006" y="206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4"/>
                  </a:lnTo>
                  <a:lnTo>
                    <a:pt x="1007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9" y="203"/>
                  </a:lnTo>
                  <a:lnTo>
                    <a:pt x="1008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10" y="203"/>
                  </a:lnTo>
                  <a:lnTo>
                    <a:pt x="1010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10" y="204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1" y="203"/>
                  </a:lnTo>
                  <a:lnTo>
                    <a:pt x="1011" y="203"/>
                  </a:lnTo>
                  <a:lnTo>
                    <a:pt x="1012" y="203"/>
                  </a:lnTo>
                  <a:lnTo>
                    <a:pt x="1012" y="204"/>
                  </a:lnTo>
                  <a:lnTo>
                    <a:pt x="1013" y="204"/>
                  </a:lnTo>
                  <a:lnTo>
                    <a:pt x="1013" y="204"/>
                  </a:lnTo>
                  <a:lnTo>
                    <a:pt x="1012" y="204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2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4" y="205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5" y="206"/>
                  </a:lnTo>
                  <a:lnTo>
                    <a:pt x="1015" y="206"/>
                  </a:lnTo>
                  <a:lnTo>
                    <a:pt x="1016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5"/>
                  </a:lnTo>
                  <a:lnTo>
                    <a:pt x="1016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4" y="205"/>
                  </a:lnTo>
                  <a:lnTo>
                    <a:pt x="1014" y="204"/>
                  </a:lnTo>
                  <a:lnTo>
                    <a:pt x="1015" y="205"/>
                  </a:lnTo>
                  <a:lnTo>
                    <a:pt x="1017" y="205"/>
                  </a:lnTo>
                  <a:lnTo>
                    <a:pt x="1017" y="206"/>
                  </a:lnTo>
                  <a:lnTo>
                    <a:pt x="1018" y="206"/>
                  </a:lnTo>
                  <a:lnTo>
                    <a:pt x="1018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7" y="207"/>
                  </a:lnTo>
                  <a:lnTo>
                    <a:pt x="1017" y="208"/>
                  </a:lnTo>
                  <a:lnTo>
                    <a:pt x="1018" y="208"/>
                  </a:lnTo>
                  <a:lnTo>
                    <a:pt x="1018" y="208"/>
                  </a:lnTo>
                  <a:lnTo>
                    <a:pt x="1017" y="208"/>
                  </a:lnTo>
                  <a:lnTo>
                    <a:pt x="1017" y="208"/>
                  </a:lnTo>
                  <a:lnTo>
                    <a:pt x="1016" y="208"/>
                  </a:lnTo>
                  <a:lnTo>
                    <a:pt x="1016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09" y="212"/>
                  </a:lnTo>
                  <a:lnTo>
                    <a:pt x="1009" y="213"/>
                  </a:lnTo>
                  <a:lnTo>
                    <a:pt x="1009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9" y="214"/>
                  </a:lnTo>
                  <a:lnTo>
                    <a:pt x="1009" y="213"/>
                  </a:lnTo>
                  <a:lnTo>
                    <a:pt x="1009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10"/>
                  </a:lnTo>
                  <a:lnTo>
                    <a:pt x="1015" y="210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6" y="209"/>
                  </a:lnTo>
                  <a:lnTo>
                    <a:pt x="1016" y="210"/>
                  </a:lnTo>
                  <a:lnTo>
                    <a:pt x="1017" y="210"/>
                  </a:lnTo>
                  <a:lnTo>
                    <a:pt x="1017" y="210"/>
                  </a:lnTo>
                  <a:lnTo>
                    <a:pt x="1018" y="210"/>
                  </a:lnTo>
                  <a:lnTo>
                    <a:pt x="1018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1"/>
                  </a:lnTo>
                  <a:lnTo>
                    <a:pt x="1019" y="211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2"/>
                  </a:lnTo>
                  <a:lnTo>
                    <a:pt x="1023" y="212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2" y="213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0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8" y="214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2" y="213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0"/>
                  </a:lnTo>
                  <a:lnTo>
                    <a:pt x="1021" y="210"/>
                  </a:lnTo>
                  <a:lnTo>
                    <a:pt x="1020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09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8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20" y="208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21" y="208"/>
                  </a:lnTo>
                  <a:lnTo>
                    <a:pt x="1021" y="208"/>
                  </a:lnTo>
                  <a:lnTo>
                    <a:pt x="1022" y="208"/>
                  </a:lnTo>
                  <a:lnTo>
                    <a:pt x="1023" y="209"/>
                  </a:lnTo>
                  <a:lnTo>
                    <a:pt x="1024" y="209"/>
                  </a:lnTo>
                  <a:lnTo>
                    <a:pt x="1024" y="210"/>
                  </a:lnTo>
                  <a:lnTo>
                    <a:pt x="1024" y="210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6" y="212"/>
                  </a:lnTo>
                  <a:lnTo>
                    <a:pt x="1025" y="212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3"/>
                  </a:lnTo>
                  <a:lnTo>
                    <a:pt x="1025" y="214"/>
                  </a:lnTo>
                  <a:lnTo>
                    <a:pt x="1024" y="214"/>
                  </a:lnTo>
                  <a:lnTo>
                    <a:pt x="1023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5" y="214"/>
                  </a:lnTo>
                  <a:lnTo>
                    <a:pt x="1025" y="214"/>
                  </a:lnTo>
                  <a:lnTo>
                    <a:pt x="1026" y="214"/>
                  </a:lnTo>
                  <a:lnTo>
                    <a:pt x="1026" y="214"/>
                  </a:lnTo>
                  <a:lnTo>
                    <a:pt x="1026" y="213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8" y="213"/>
                  </a:lnTo>
                  <a:lnTo>
                    <a:pt x="1028" y="214"/>
                  </a:lnTo>
                  <a:lnTo>
                    <a:pt x="1029" y="214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4"/>
                  </a:lnTo>
                  <a:lnTo>
                    <a:pt x="1028" y="214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8" y="216"/>
                  </a:lnTo>
                  <a:lnTo>
                    <a:pt x="1028" y="216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9" y="219"/>
                  </a:lnTo>
                  <a:lnTo>
                    <a:pt x="1029" y="220"/>
                  </a:lnTo>
                  <a:lnTo>
                    <a:pt x="1028" y="220"/>
                  </a:lnTo>
                  <a:lnTo>
                    <a:pt x="1029" y="221"/>
                  </a:lnTo>
                  <a:lnTo>
                    <a:pt x="1029" y="221"/>
                  </a:lnTo>
                  <a:lnTo>
                    <a:pt x="1029" y="222"/>
                  </a:lnTo>
                  <a:lnTo>
                    <a:pt x="1029" y="222"/>
                  </a:lnTo>
                  <a:lnTo>
                    <a:pt x="1029" y="223"/>
                  </a:lnTo>
                  <a:lnTo>
                    <a:pt x="1029" y="222"/>
                  </a:lnTo>
                  <a:lnTo>
                    <a:pt x="1028" y="222"/>
                  </a:lnTo>
                  <a:lnTo>
                    <a:pt x="1028" y="222"/>
                  </a:lnTo>
                  <a:lnTo>
                    <a:pt x="1028" y="223"/>
                  </a:lnTo>
                  <a:lnTo>
                    <a:pt x="1027" y="223"/>
                  </a:lnTo>
                  <a:lnTo>
                    <a:pt x="1027" y="223"/>
                  </a:lnTo>
                  <a:lnTo>
                    <a:pt x="1026" y="223"/>
                  </a:lnTo>
                  <a:lnTo>
                    <a:pt x="1027" y="223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5"/>
                  </a:lnTo>
                  <a:lnTo>
                    <a:pt x="1028" y="224"/>
                  </a:lnTo>
                  <a:lnTo>
                    <a:pt x="1028" y="224"/>
                  </a:lnTo>
                  <a:lnTo>
                    <a:pt x="1029" y="224"/>
                  </a:lnTo>
                  <a:lnTo>
                    <a:pt x="1029" y="224"/>
                  </a:lnTo>
                  <a:lnTo>
                    <a:pt x="1029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1" y="225"/>
                  </a:lnTo>
                  <a:lnTo>
                    <a:pt x="1031" y="226"/>
                  </a:lnTo>
                  <a:lnTo>
                    <a:pt x="1032" y="226"/>
                  </a:lnTo>
                  <a:lnTo>
                    <a:pt x="1032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0" y="227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3" y="227"/>
                  </a:lnTo>
                  <a:lnTo>
                    <a:pt x="1033" y="227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5" y="226"/>
                  </a:lnTo>
                  <a:lnTo>
                    <a:pt x="1034" y="226"/>
                  </a:lnTo>
                  <a:lnTo>
                    <a:pt x="1034" y="227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4" y="227"/>
                  </a:lnTo>
                  <a:lnTo>
                    <a:pt x="1034" y="228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3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31"/>
                  </a:lnTo>
                  <a:lnTo>
                    <a:pt x="1035" y="231"/>
                  </a:lnTo>
                  <a:lnTo>
                    <a:pt x="1034" y="231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5" y="229"/>
                  </a:lnTo>
                  <a:lnTo>
                    <a:pt x="1035" y="229"/>
                  </a:lnTo>
                  <a:lnTo>
                    <a:pt x="1036" y="229"/>
                  </a:lnTo>
                  <a:lnTo>
                    <a:pt x="1036" y="228"/>
                  </a:lnTo>
                  <a:lnTo>
                    <a:pt x="1036" y="228"/>
                  </a:lnTo>
                  <a:lnTo>
                    <a:pt x="1035" y="228"/>
                  </a:lnTo>
                  <a:lnTo>
                    <a:pt x="1036" y="228"/>
                  </a:lnTo>
                  <a:lnTo>
                    <a:pt x="1036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7" y="227"/>
                  </a:lnTo>
                  <a:lnTo>
                    <a:pt x="1037" y="226"/>
                  </a:lnTo>
                  <a:lnTo>
                    <a:pt x="1036" y="226"/>
                  </a:lnTo>
                  <a:lnTo>
                    <a:pt x="1036" y="226"/>
                  </a:lnTo>
                  <a:lnTo>
                    <a:pt x="1036" y="225"/>
                  </a:lnTo>
                  <a:lnTo>
                    <a:pt x="1035" y="225"/>
                  </a:lnTo>
                  <a:lnTo>
                    <a:pt x="1034" y="225"/>
                  </a:lnTo>
                  <a:lnTo>
                    <a:pt x="1034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6"/>
                  </a:lnTo>
                  <a:lnTo>
                    <a:pt x="1032" y="226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4" y="224"/>
                  </a:lnTo>
                  <a:lnTo>
                    <a:pt x="1035" y="223"/>
                  </a:lnTo>
                  <a:lnTo>
                    <a:pt x="1035" y="223"/>
                  </a:lnTo>
                  <a:lnTo>
                    <a:pt x="1035" y="222"/>
                  </a:lnTo>
                  <a:lnTo>
                    <a:pt x="1035" y="222"/>
                  </a:lnTo>
                  <a:lnTo>
                    <a:pt x="1035" y="221"/>
                  </a:lnTo>
                  <a:lnTo>
                    <a:pt x="1034" y="221"/>
                  </a:lnTo>
                  <a:lnTo>
                    <a:pt x="1034" y="221"/>
                  </a:lnTo>
                  <a:lnTo>
                    <a:pt x="1034" y="220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3" y="219"/>
                  </a:lnTo>
                  <a:lnTo>
                    <a:pt x="1033" y="219"/>
                  </a:lnTo>
                  <a:lnTo>
                    <a:pt x="1032" y="219"/>
                  </a:lnTo>
                  <a:lnTo>
                    <a:pt x="1033" y="219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29" y="218"/>
                  </a:lnTo>
                  <a:lnTo>
                    <a:pt x="1029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4" y="218"/>
                  </a:lnTo>
                  <a:lnTo>
                    <a:pt x="1036" y="218"/>
                  </a:lnTo>
                  <a:lnTo>
                    <a:pt x="1036" y="218"/>
                  </a:lnTo>
                  <a:lnTo>
                    <a:pt x="1037" y="218"/>
                  </a:lnTo>
                  <a:lnTo>
                    <a:pt x="1037" y="217"/>
                  </a:lnTo>
                  <a:lnTo>
                    <a:pt x="1038" y="217"/>
                  </a:lnTo>
                  <a:lnTo>
                    <a:pt x="1039" y="218"/>
                  </a:lnTo>
                  <a:lnTo>
                    <a:pt x="1039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2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2" y="221"/>
                  </a:lnTo>
                  <a:lnTo>
                    <a:pt x="1042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0"/>
                  </a:lnTo>
                  <a:lnTo>
                    <a:pt x="1041" y="220"/>
                  </a:lnTo>
                  <a:lnTo>
                    <a:pt x="1040" y="220"/>
                  </a:lnTo>
                  <a:lnTo>
                    <a:pt x="1041" y="220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2" y="219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3" y="220"/>
                  </a:lnTo>
                  <a:lnTo>
                    <a:pt x="1043" y="220"/>
                  </a:lnTo>
                  <a:lnTo>
                    <a:pt x="1044" y="220"/>
                  </a:lnTo>
                  <a:lnTo>
                    <a:pt x="1044" y="220"/>
                  </a:lnTo>
                  <a:lnTo>
                    <a:pt x="1045" y="220"/>
                  </a:lnTo>
                  <a:lnTo>
                    <a:pt x="1045" y="220"/>
                  </a:lnTo>
                  <a:lnTo>
                    <a:pt x="1045" y="219"/>
                  </a:lnTo>
                  <a:lnTo>
                    <a:pt x="1045" y="220"/>
                  </a:lnTo>
                  <a:lnTo>
                    <a:pt x="1046" y="219"/>
                  </a:lnTo>
                  <a:lnTo>
                    <a:pt x="1046" y="220"/>
                  </a:lnTo>
                  <a:lnTo>
                    <a:pt x="1047" y="220"/>
                  </a:lnTo>
                  <a:lnTo>
                    <a:pt x="1047" y="220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7" y="219"/>
                  </a:lnTo>
                  <a:lnTo>
                    <a:pt x="1046" y="219"/>
                  </a:lnTo>
                  <a:lnTo>
                    <a:pt x="1045" y="219"/>
                  </a:lnTo>
                  <a:lnTo>
                    <a:pt x="1045" y="219"/>
                  </a:lnTo>
                  <a:lnTo>
                    <a:pt x="1044" y="219"/>
                  </a:lnTo>
                  <a:lnTo>
                    <a:pt x="1043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4" y="218"/>
                  </a:lnTo>
                  <a:lnTo>
                    <a:pt x="1044" y="218"/>
                  </a:lnTo>
                  <a:lnTo>
                    <a:pt x="1045" y="218"/>
                  </a:lnTo>
                  <a:lnTo>
                    <a:pt x="1045" y="218"/>
                  </a:lnTo>
                  <a:lnTo>
                    <a:pt x="1046" y="218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50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2" y="219"/>
                  </a:lnTo>
                  <a:lnTo>
                    <a:pt x="1052" y="219"/>
                  </a:lnTo>
                  <a:lnTo>
                    <a:pt x="1053" y="219"/>
                  </a:lnTo>
                  <a:lnTo>
                    <a:pt x="1054" y="219"/>
                  </a:lnTo>
                  <a:lnTo>
                    <a:pt x="1054" y="220"/>
                  </a:lnTo>
                  <a:lnTo>
                    <a:pt x="1053" y="220"/>
                  </a:lnTo>
                  <a:lnTo>
                    <a:pt x="1053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5" y="222"/>
                  </a:lnTo>
                  <a:lnTo>
                    <a:pt x="1055" y="222"/>
                  </a:lnTo>
                  <a:lnTo>
                    <a:pt x="1056" y="222"/>
                  </a:lnTo>
                  <a:lnTo>
                    <a:pt x="1056" y="222"/>
                  </a:lnTo>
                  <a:lnTo>
                    <a:pt x="1055" y="222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4"/>
                  </a:lnTo>
                  <a:lnTo>
                    <a:pt x="1057" y="224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7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7"/>
                  </a:lnTo>
                  <a:lnTo>
                    <a:pt x="1054" y="227"/>
                  </a:lnTo>
                  <a:lnTo>
                    <a:pt x="1055" y="227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7" y="226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9" y="225"/>
                  </a:lnTo>
                  <a:lnTo>
                    <a:pt x="1059" y="225"/>
                  </a:lnTo>
                  <a:lnTo>
                    <a:pt x="1059" y="226"/>
                  </a:lnTo>
                  <a:lnTo>
                    <a:pt x="1060" y="226"/>
                  </a:lnTo>
                  <a:lnTo>
                    <a:pt x="1060" y="226"/>
                  </a:lnTo>
                  <a:lnTo>
                    <a:pt x="1061" y="226"/>
                  </a:lnTo>
                  <a:lnTo>
                    <a:pt x="1061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4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4" y="229"/>
                  </a:lnTo>
                  <a:lnTo>
                    <a:pt x="1065" y="229"/>
                  </a:lnTo>
                  <a:lnTo>
                    <a:pt x="1065" y="228"/>
                  </a:lnTo>
                  <a:lnTo>
                    <a:pt x="1064" y="228"/>
                  </a:lnTo>
                  <a:lnTo>
                    <a:pt x="1065" y="228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6" y="229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4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7" y="230"/>
                  </a:lnTo>
                  <a:lnTo>
                    <a:pt x="1067" y="23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8" y="242"/>
                  </a:lnTo>
                  <a:lnTo>
                    <a:pt x="990" y="242"/>
                  </a:lnTo>
                  <a:lnTo>
                    <a:pt x="990" y="243"/>
                  </a:lnTo>
                  <a:lnTo>
                    <a:pt x="990" y="243"/>
                  </a:lnTo>
                  <a:lnTo>
                    <a:pt x="989" y="243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8" y="244"/>
                  </a:lnTo>
                  <a:lnTo>
                    <a:pt x="988" y="244"/>
                  </a:lnTo>
                  <a:lnTo>
                    <a:pt x="988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4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2"/>
                  </a:lnTo>
                  <a:lnTo>
                    <a:pt x="990" y="24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1"/>
                  </a:lnTo>
                  <a:lnTo>
                    <a:pt x="987" y="242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0" y="242"/>
                  </a:lnTo>
                  <a:close/>
                  <a:moveTo>
                    <a:pt x="1006" y="203"/>
                  </a:moveTo>
                  <a:lnTo>
                    <a:pt x="1006" y="203"/>
                  </a:lnTo>
                  <a:lnTo>
                    <a:pt x="1006" y="203"/>
                  </a:lnTo>
                  <a:lnTo>
                    <a:pt x="1007" y="203"/>
                  </a:lnTo>
                  <a:lnTo>
                    <a:pt x="1006" y="204"/>
                  </a:lnTo>
                  <a:lnTo>
                    <a:pt x="1007" y="203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close/>
                  <a:moveTo>
                    <a:pt x="1006" y="202"/>
                  </a:moveTo>
                  <a:lnTo>
                    <a:pt x="1006" y="202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2"/>
                  </a:lnTo>
                  <a:close/>
                  <a:moveTo>
                    <a:pt x="1006" y="203"/>
                  </a:moveTo>
                  <a:lnTo>
                    <a:pt x="1005" y="203"/>
                  </a:lnTo>
                  <a:lnTo>
                    <a:pt x="1005" y="202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3"/>
                  </a:lnTo>
                  <a:close/>
                  <a:moveTo>
                    <a:pt x="692" y="443"/>
                  </a:moveTo>
                  <a:lnTo>
                    <a:pt x="692" y="443"/>
                  </a:lnTo>
                  <a:lnTo>
                    <a:pt x="691" y="443"/>
                  </a:lnTo>
                  <a:lnTo>
                    <a:pt x="691" y="443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89" y="447"/>
                  </a:lnTo>
                  <a:lnTo>
                    <a:pt x="689" y="447"/>
                  </a:lnTo>
                  <a:lnTo>
                    <a:pt x="688" y="447"/>
                  </a:lnTo>
                  <a:lnTo>
                    <a:pt x="688" y="448"/>
                  </a:lnTo>
                  <a:lnTo>
                    <a:pt x="689" y="448"/>
                  </a:lnTo>
                  <a:lnTo>
                    <a:pt x="689" y="448"/>
                  </a:lnTo>
                  <a:lnTo>
                    <a:pt x="689" y="449"/>
                  </a:lnTo>
                  <a:lnTo>
                    <a:pt x="689" y="450"/>
                  </a:lnTo>
                  <a:lnTo>
                    <a:pt x="688" y="450"/>
                  </a:lnTo>
                  <a:lnTo>
                    <a:pt x="688" y="450"/>
                  </a:lnTo>
                  <a:lnTo>
                    <a:pt x="688" y="451"/>
                  </a:lnTo>
                  <a:lnTo>
                    <a:pt x="688" y="451"/>
                  </a:lnTo>
                  <a:lnTo>
                    <a:pt x="687" y="452"/>
                  </a:lnTo>
                  <a:lnTo>
                    <a:pt x="687" y="453"/>
                  </a:lnTo>
                  <a:lnTo>
                    <a:pt x="687" y="453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5"/>
                  </a:lnTo>
                  <a:lnTo>
                    <a:pt x="686" y="456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9"/>
                  </a:lnTo>
                  <a:lnTo>
                    <a:pt x="686" y="459"/>
                  </a:lnTo>
                  <a:lnTo>
                    <a:pt x="686" y="460"/>
                  </a:lnTo>
                  <a:lnTo>
                    <a:pt x="686" y="461"/>
                  </a:lnTo>
                  <a:lnTo>
                    <a:pt x="685" y="461"/>
                  </a:lnTo>
                  <a:lnTo>
                    <a:pt x="685" y="461"/>
                  </a:lnTo>
                  <a:lnTo>
                    <a:pt x="686" y="461"/>
                  </a:lnTo>
                  <a:lnTo>
                    <a:pt x="686" y="462"/>
                  </a:lnTo>
                  <a:lnTo>
                    <a:pt x="686" y="462"/>
                  </a:lnTo>
                  <a:lnTo>
                    <a:pt x="686" y="463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5"/>
                  </a:lnTo>
                  <a:lnTo>
                    <a:pt x="687" y="465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8" y="466"/>
                  </a:lnTo>
                  <a:lnTo>
                    <a:pt x="688" y="467"/>
                  </a:lnTo>
                  <a:lnTo>
                    <a:pt x="688" y="467"/>
                  </a:lnTo>
                  <a:lnTo>
                    <a:pt x="688" y="468"/>
                  </a:lnTo>
                  <a:lnTo>
                    <a:pt x="689" y="468"/>
                  </a:lnTo>
                  <a:lnTo>
                    <a:pt x="689" y="468"/>
                  </a:lnTo>
                  <a:lnTo>
                    <a:pt x="689" y="469"/>
                  </a:lnTo>
                  <a:lnTo>
                    <a:pt x="690" y="469"/>
                  </a:lnTo>
                  <a:lnTo>
                    <a:pt x="690" y="469"/>
                  </a:lnTo>
                  <a:lnTo>
                    <a:pt x="690" y="470"/>
                  </a:lnTo>
                  <a:lnTo>
                    <a:pt x="689" y="470"/>
                  </a:lnTo>
                  <a:lnTo>
                    <a:pt x="689" y="470"/>
                  </a:lnTo>
                  <a:lnTo>
                    <a:pt x="690" y="470"/>
                  </a:lnTo>
                  <a:lnTo>
                    <a:pt x="690" y="471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4"/>
                  </a:lnTo>
                  <a:lnTo>
                    <a:pt x="690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2" y="474"/>
                  </a:lnTo>
                  <a:lnTo>
                    <a:pt x="692" y="475"/>
                  </a:lnTo>
                  <a:lnTo>
                    <a:pt x="692" y="474"/>
                  </a:lnTo>
                  <a:lnTo>
                    <a:pt x="693" y="474"/>
                  </a:lnTo>
                  <a:lnTo>
                    <a:pt x="692" y="474"/>
                  </a:lnTo>
                  <a:lnTo>
                    <a:pt x="692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2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4"/>
                  </a:lnTo>
                  <a:lnTo>
                    <a:pt x="693" y="474"/>
                  </a:lnTo>
                  <a:lnTo>
                    <a:pt x="693" y="475"/>
                  </a:lnTo>
                  <a:lnTo>
                    <a:pt x="693" y="476"/>
                  </a:lnTo>
                  <a:lnTo>
                    <a:pt x="693" y="476"/>
                  </a:lnTo>
                  <a:lnTo>
                    <a:pt x="694" y="476"/>
                  </a:lnTo>
                  <a:lnTo>
                    <a:pt x="694" y="477"/>
                  </a:lnTo>
                  <a:lnTo>
                    <a:pt x="694" y="477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3" y="479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2"/>
                  </a:lnTo>
                  <a:lnTo>
                    <a:pt x="693" y="483"/>
                  </a:lnTo>
                  <a:lnTo>
                    <a:pt x="693" y="482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79"/>
                  </a:lnTo>
                  <a:lnTo>
                    <a:pt x="692" y="479"/>
                  </a:lnTo>
                  <a:lnTo>
                    <a:pt x="692" y="479"/>
                  </a:lnTo>
                  <a:lnTo>
                    <a:pt x="692" y="478"/>
                  </a:lnTo>
                  <a:lnTo>
                    <a:pt x="692" y="477"/>
                  </a:lnTo>
                  <a:lnTo>
                    <a:pt x="692" y="477"/>
                  </a:lnTo>
                  <a:lnTo>
                    <a:pt x="691" y="477"/>
                  </a:lnTo>
                  <a:lnTo>
                    <a:pt x="692" y="477"/>
                  </a:lnTo>
                  <a:lnTo>
                    <a:pt x="692" y="476"/>
                  </a:lnTo>
                  <a:lnTo>
                    <a:pt x="691" y="476"/>
                  </a:lnTo>
                  <a:lnTo>
                    <a:pt x="691" y="477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0" y="476"/>
                  </a:lnTo>
                  <a:lnTo>
                    <a:pt x="690" y="476"/>
                  </a:lnTo>
                  <a:lnTo>
                    <a:pt x="689" y="476"/>
                  </a:lnTo>
                  <a:lnTo>
                    <a:pt x="688" y="476"/>
                  </a:lnTo>
                  <a:lnTo>
                    <a:pt x="688" y="476"/>
                  </a:lnTo>
                  <a:lnTo>
                    <a:pt x="687" y="476"/>
                  </a:lnTo>
                  <a:lnTo>
                    <a:pt x="687" y="475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6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5"/>
                  </a:lnTo>
                  <a:lnTo>
                    <a:pt x="684" y="476"/>
                  </a:lnTo>
                  <a:lnTo>
                    <a:pt x="684" y="476"/>
                  </a:lnTo>
                  <a:lnTo>
                    <a:pt x="684" y="477"/>
                  </a:lnTo>
                  <a:lnTo>
                    <a:pt x="684" y="477"/>
                  </a:lnTo>
                  <a:lnTo>
                    <a:pt x="684" y="478"/>
                  </a:lnTo>
                  <a:lnTo>
                    <a:pt x="684" y="479"/>
                  </a:lnTo>
                  <a:lnTo>
                    <a:pt x="683" y="479"/>
                  </a:lnTo>
                  <a:lnTo>
                    <a:pt x="683" y="479"/>
                  </a:lnTo>
                  <a:lnTo>
                    <a:pt x="683" y="480"/>
                  </a:lnTo>
                  <a:lnTo>
                    <a:pt x="683" y="480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2"/>
                  </a:lnTo>
                  <a:lnTo>
                    <a:pt x="683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1" y="483"/>
                  </a:lnTo>
                  <a:lnTo>
                    <a:pt x="681" y="483"/>
                  </a:lnTo>
                  <a:lnTo>
                    <a:pt x="680" y="483"/>
                  </a:lnTo>
                  <a:lnTo>
                    <a:pt x="680" y="482"/>
                  </a:lnTo>
                  <a:lnTo>
                    <a:pt x="680" y="481"/>
                  </a:lnTo>
                  <a:lnTo>
                    <a:pt x="680" y="481"/>
                  </a:lnTo>
                  <a:lnTo>
                    <a:pt x="680" y="480"/>
                  </a:lnTo>
                  <a:lnTo>
                    <a:pt x="680" y="480"/>
                  </a:lnTo>
                  <a:lnTo>
                    <a:pt x="680" y="479"/>
                  </a:lnTo>
                  <a:lnTo>
                    <a:pt x="680" y="479"/>
                  </a:lnTo>
                  <a:lnTo>
                    <a:pt x="680" y="478"/>
                  </a:lnTo>
                  <a:lnTo>
                    <a:pt x="680" y="477"/>
                  </a:lnTo>
                  <a:lnTo>
                    <a:pt x="680" y="477"/>
                  </a:lnTo>
                  <a:lnTo>
                    <a:pt x="680" y="476"/>
                  </a:lnTo>
                  <a:lnTo>
                    <a:pt x="680" y="476"/>
                  </a:lnTo>
                  <a:lnTo>
                    <a:pt x="680" y="475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3"/>
                  </a:lnTo>
                  <a:lnTo>
                    <a:pt x="681" y="473"/>
                  </a:lnTo>
                  <a:lnTo>
                    <a:pt x="681" y="472"/>
                  </a:lnTo>
                  <a:lnTo>
                    <a:pt x="681" y="472"/>
                  </a:lnTo>
                  <a:lnTo>
                    <a:pt x="682" y="472"/>
                  </a:lnTo>
                  <a:lnTo>
                    <a:pt x="682" y="471"/>
                  </a:lnTo>
                  <a:lnTo>
                    <a:pt x="682" y="470"/>
                  </a:lnTo>
                  <a:lnTo>
                    <a:pt x="682" y="470"/>
                  </a:lnTo>
                  <a:lnTo>
                    <a:pt x="682" y="469"/>
                  </a:lnTo>
                  <a:lnTo>
                    <a:pt x="682" y="469"/>
                  </a:lnTo>
                  <a:lnTo>
                    <a:pt x="682" y="468"/>
                  </a:lnTo>
                  <a:lnTo>
                    <a:pt x="681" y="468"/>
                  </a:lnTo>
                  <a:lnTo>
                    <a:pt x="681" y="468"/>
                  </a:lnTo>
                  <a:lnTo>
                    <a:pt x="681" y="467"/>
                  </a:lnTo>
                  <a:lnTo>
                    <a:pt x="681" y="466"/>
                  </a:lnTo>
                  <a:lnTo>
                    <a:pt x="681" y="466"/>
                  </a:lnTo>
                  <a:lnTo>
                    <a:pt x="681" y="465"/>
                  </a:lnTo>
                  <a:lnTo>
                    <a:pt x="681" y="465"/>
                  </a:lnTo>
                  <a:lnTo>
                    <a:pt x="681" y="464"/>
                  </a:lnTo>
                  <a:lnTo>
                    <a:pt x="681" y="464"/>
                  </a:lnTo>
                  <a:lnTo>
                    <a:pt x="681" y="463"/>
                  </a:lnTo>
                  <a:lnTo>
                    <a:pt x="682" y="463"/>
                  </a:lnTo>
                  <a:lnTo>
                    <a:pt x="682" y="462"/>
                  </a:lnTo>
                  <a:lnTo>
                    <a:pt x="682" y="462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3" y="460"/>
                  </a:lnTo>
                  <a:lnTo>
                    <a:pt x="683" y="459"/>
                  </a:lnTo>
                  <a:lnTo>
                    <a:pt x="683" y="459"/>
                  </a:lnTo>
                  <a:lnTo>
                    <a:pt x="683" y="458"/>
                  </a:lnTo>
                  <a:lnTo>
                    <a:pt x="683" y="458"/>
                  </a:lnTo>
                  <a:lnTo>
                    <a:pt x="683" y="457"/>
                  </a:lnTo>
                  <a:lnTo>
                    <a:pt x="682" y="457"/>
                  </a:lnTo>
                  <a:lnTo>
                    <a:pt x="682" y="456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3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1" y="454"/>
                  </a:lnTo>
                  <a:lnTo>
                    <a:pt x="681" y="453"/>
                  </a:lnTo>
                  <a:lnTo>
                    <a:pt x="680" y="453"/>
                  </a:lnTo>
                  <a:lnTo>
                    <a:pt x="680" y="452"/>
                  </a:lnTo>
                  <a:lnTo>
                    <a:pt x="680" y="452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1" y="450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8"/>
                  </a:lnTo>
                  <a:lnTo>
                    <a:pt x="681" y="447"/>
                  </a:lnTo>
                  <a:lnTo>
                    <a:pt x="682" y="447"/>
                  </a:lnTo>
                  <a:lnTo>
                    <a:pt x="682" y="447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5"/>
                  </a:lnTo>
                  <a:lnTo>
                    <a:pt x="682" y="445"/>
                  </a:lnTo>
                  <a:lnTo>
                    <a:pt x="682" y="444"/>
                  </a:lnTo>
                  <a:lnTo>
                    <a:pt x="682" y="444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2" y="442"/>
                  </a:lnTo>
                  <a:lnTo>
                    <a:pt x="682" y="442"/>
                  </a:lnTo>
                  <a:lnTo>
                    <a:pt x="682" y="441"/>
                  </a:lnTo>
                  <a:lnTo>
                    <a:pt x="682" y="440"/>
                  </a:lnTo>
                  <a:lnTo>
                    <a:pt x="682" y="440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3" y="438"/>
                  </a:lnTo>
                  <a:lnTo>
                    <a:pt x="682" y="438"/>
                  </a:lnTo>
                  <a:lnTo>
                    <a:pt x="682" y="437"/>
                  </a:lnTo>
                  <a:lnTo>
                    <a:pt x="682" y="437"/>
                  </a:lnTo>
                  <a:lnTo>
                    <a:pt x="682" y="436"/>
                  </a:lnTo>
                  <a:lnTo>
                    <a:pt x="682" y="436"/>
                  </a:lnTo>
                  <a:lnTo>
                    <a:pt x="683" y="436"/>
                  </a:lnTo>
                  <a:lnTo>
                    <a:pt x="683" y="435"/>
                  </a:lnTo>
                  <a:lnTo>
                    <a:pt x="683" y="435"/>
                  </a:lnTo>
                  <a:lnTo>
                    <a:pt x="683" y="434"/>
                  </a:lnTo>
                  <a:lnTo>
                    <a:pt x="682" y="434"/>
                  </a:lnTo>
                  <a:lnTo>
                    <a:pt x="682" y="433"/>
                  </a:lnTo>
                  <a:lnTo>
                    <a:pt x="683" y="433"/>
                  </a:lnTo>
                  <a:lnTo>
                    <a:pt x="682" y="433"/>
                  </a:lnTo>
                  <a:lnTo>
                    <a:pt x="682" y="433"/>
                  </a:lnTo>
                  <a:lnTo>
                    <a:pt x="682" y="432"/>
                  </a:lnTo>
                  <a:lnTo>
                    <a:pt x="682" y="432"/>
                  </a:lnTo>
                  <a:lnTo>
                    <a:pt x="682" y="431"/>
                  </a:lnTo>
                  <a:lnTo>
                    <a:pt x="682" y="431"/>
                  </a:lnTo>
                  <a:lnTo>
                    <a:pt x="682" y="430"/>
                  </a:lnTo>
                  <a:lnTo>
                    <a:pt x="682" y="429"/>
                  </a:lnTo>
                  <a:lnTo>
                    <a:pt x="682" y="429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7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5"/>
                  </a:lnTo>
                  <a:lnTo>
                    <a:pt x="683" y="425"/>
                  </a:lnTo>
                  <a:lnTo>
                    <a:pt x="683" y="424"/>
                  </a:lnTo>
                  <a:lnTo>
                    <a:pt x="683" y="424"/>
                  </a:lnTo>
                  <a:lnTo>
                    <a:pt x="683" y="423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1"/>
                  </a:lnTo>
                  <a:lnTo>
                    <a:pt x="683" y="421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8"/>
                  </a:lnTo>
                  <a:lnTo>
                    <a:pt x="681" y="418"/>
                  </a:lnTo>
                  <a:lnTo>
                    <a:pt x="680" y="417"/>
                  </a:lnTo>
                  <a:lnTo>
                    <a:pt x="681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79" y="416"/>
                  </a:lnTo>
                  <a:lnTo>
                    <a:pt x="679" y="415"/>
                  </a:lnTo>
                  <a:lnTo>
                    <a:pt x="679" y="415"/>
                  </a:lnTo>
                  <a:lnTo>
                    <a:pt x="680" y="415"/>
                  </a:lnTo>
                  <a:lnTo>
                    <a:pt x="680" y="416"/>
                  </a:lnTo>
                  <a:lnTo>
                    <a:pt x="680" y="415"/>
                  </a:lnTo>
                  <a:lnTo>
                    <a:pt x="680" y="415"/>
                  </a:lnTo>
                  <a:lnTo>
                    <a:pt x="679" y="415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8" y="414"/>
                  </a:lnTo>
                  <a:lnTo>
                    <a:pt x="679" y="413"/>
                  </a:lnTo>
                  <a:lnTo>
                    <a:pt x="679" y="413"/>
                  </a:lnTo>
                  <a:lnTo>
                    <a:pt x="679" y="412"/>
                  </a:lnTo>
                  <a:lnTo>
                    <a:pt x="678" y="412"/>
                  </a:lnTo>
                  <a:lnTo>
                    <a:pt x="678" y="411"/>
                  </a:lnTo>
                  <a:lnTo>
                    <a:pt x="678" y="411"/>
                  </a:lnTo>
                  <a:lnTo>
                    <a:pt x="679" y="411"/>
                  </a:lnTo>
                  <a:lnTo>
                    <a:pt x="679" y="410"/>
                  </a:lnTo>
                  <a:lnTo>
                    <a:pt x="679" y="410"/>
                  </a:lnTo>
                  <a:lnTo>
                    <a:pt x="678" y="410"/>
                  </a:lnTo>
                  <a:lnTo>
                    <a:pt x="679" y="409"/>
                  </a:lnTo>
                  <a:lnTo>
                    <a:pt x="679" y="409"/>
                  </a:lnTo>
                  <a:lnTo>
                    <a:pt x="678" y="409"/>
                  </a:lnTo>
                  <a:lnTo>
                    <a:pt x="678" y="408"/>
                  </a:lnTo>
                  <a:lnTo>
                    <a:pt x="679" y="408"/>
                  </a:lnTo>
                  <a:lnTo>
                    <a:pt x="678" y="408"/>
                  </a:lnTo>
                  <a:lnTo>
                    <a:pt x="678" y="407"/>
                  </a:lnTo>
                  <a:lnTo>
                    <a:pt x="679" y="407"/>
                  </a:lnTo>
                  <a:lnTo>
                    <a:pt x="679" y="407"/>
                  </a:lnTo>
                  <a:lnTo>
                    <a:pt x="679" y="406"/>
                  </a:lnTo>
                  <a:lnTo>
                    <a:pt x="680" y="406"/>
                  </a:lnTo>
                  <a:lnTo>
                    <a:pt x="680" y="406"/>
                  </a:lnTo>
                  <a:lnTo>
                    <a:pt x="680" y="405"/>
                  </a:lnTo>
                  <a:lnTo>
                    <a:pt x="680" y="404"/>
                  </a:lnTo>
                  <a:lnTo>
                    <a:pt x="680" y="404"/>
                  </a:lnTo>
                  <a:lnTo>
                    <a:pt x="680" y="403"/>
                  </a:lnTo>
                  <a:lnTo>
                    <a:pt x="680" y="403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1"/>
                  </a:lnTo>
                  <a:lnTo>
                    <a:pt x="680" y="400"/>
                  </a:lnTo>
                  <a:lnTo>
                    <a:pt x="680" y="400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8"/>
                  </a:lnTo>
                  <a:lnTo>
                    <a:pt x="680" y="398"/>
                  </a:lnTo>
                  <a:lnTo>
                    <a:pt x="679" y="397"/>
                  </a:lnTo>
                  <a:lnTo>
                    <a:pt x="679" y="396"/>
                  </a:lnTo>
                  <a:lnTo>
                    <a:pt x="680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1" y="395"/>
                  </a:lnTo>
                  <a:lnTo>
                    <a:pt x="682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6"/>
                  </a:lnTo>
                  <a:lnTo>
                    <a:pt x="684" y="396"/>
                  </a:lnTo>
                  <a:lnTo>
                    <a:pt x="684" y="395"/>
                  </a:lnTo>
                  <a:lnTo>
                    <a:pt x="684" y="396"/>
                  </a:lnTo>
                  <a:lnTo>
                    <a:pt x="684" y="396"/>
                  </a:lnTo>
                  <a:lnTo>
                    <a:pt x="685" y="395"/>
                  </a:lnTo>
                  <a:lnTo>
                    <a:pt x="685" y="395"/>
                  </a:lnTo>
                  <a:lnTo>
                    <a:pt x="686" y="395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7" y="394"/>
                  </a:lnTo>
                  <a:lnTo>
                    <a:pt x="687" y="394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6" y="393"/>
                  </a:lnTo>
                  <a:lnTo>
                    <a:pt x="686" y="394"/>
                  </a:lnTo>
                  <a:lnTo>
                    <a:pt x="685" y="394"/>
                  </a:lnTo>
                  <a:lnTo>
                    <a:pt x="685" y="393"/>
                  </a:lnTo>
                  <a:lnTo>
                    <a:pt x="685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7" y="392"/>
                  </a:lnTo>
                  <a:lnTo>
                    <a:pt x="687" y="393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90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1"/>
                  </a:lnTo>
                  <a:lnTo>
                    <a:pt x="686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89"/>
                  </a:lnTo>
                  <a:lnTo>
                    <a:pt x="687" y="389"/>
                  </a:lnTo>
                  <a:lnTo>
                    <a:pt x="687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7"/>
                  </a:lnTo>
                  <a:lnTo>
                    <a:pt x="685" y="387"/>
                  </a:lnTo>
                  <a:lnTo>
                    <a:pt x="684" y="387"/>
                  </a:lnTo>
                  <a:lnTo>
                    <a:pt x="684" y="386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3" y="385"/>
                  </a:lnTo>
                  <a:lnTo>
                    <a:pt x="683" y="384"/>
                  </a:lnTo>
                  <a:lnTo>
                    <a:pt x="684" y="384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5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5" y="385"/>
                  </a:lnTo>
                  <a:lnTo>
                    <a:pt x="685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7" y="384"/>
                  </a:lnTo>
                  <a:lnTo>
                    <a:pt x="687" y="383"/>
                  </a:lnTo>
                  <a:lnTo>
                    <a:pt x="686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4"/>
                  </a:lnTo>
                  <a:lnTo>
                    <a:pt x="687" y="384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6"/>
                  </a:lnTo>
                  <a:lnTo>
                    <a:pt x="689" y="386"/>
                  </a:lnTo>
                  <a:lnTo>
                    <a:pt x="689" y="387"/>
                  </a:lnTo>
                  <a:lnTo>
                    <a:pt x="689" y="387"/>
                  </a:lnTo>
                  <a:lnTo>
                    <a:pt x="689" y="388"/>
                  </a:lnTo>
                  <a:lnTo>
                    <a:pt x="688" y="388"/>
                  </a:lnTo>
                  <a:lnTo>
                    <a:pt x="688" y="388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9" y="391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3"/>
                  </a:lnTo>
                  <a:lnTo>
                    <a:pt x="688" y="393"/>
                  </a:lnTo>
                  <a:lnTo>
                    <a:pt x="689" y="393"/>
                  </a:lnTo>
                  <a:lnTo>
                    <a:pt x="689" y="392"/>
                  </a:lnTo>
                  <a:lnTo>
                    <a:pt x="690" y="393"/>
                  </a:lnTo>
                  <a:lnTo>
                    <a:pt x="690" y="394"/>
                  </a:lnTo>
                  <a:lnTo>
                    <a:pt x="690" y="393"/>
                  </a:lnTo>
                  <a:lnTo>
                    <a:pt x="689" y="393"/>
                  </a:lnTo>
                  <a:lnTo>
                    <a:pt x="689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5"/>
                  </a:lnTo>
                  <a:lnTo>
                    <a:pt x="691" y="396"/>
                  </a:lnTo>
                  <a:lnTo>
                    <a:pt x="691" y="396"/>
                  </a:lnTo>
                  <a:lnTo>
                    <a:pt x="691" y="397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2" y="401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2" y="401"/>
                  </a:lnTo>
                  <a:lnTo>
                    <a:pt x="691" y="401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0" y="398"/>
                  </a:lnTo>
                  <a:lnTo>
                    <a:pt x="690" y="397"/>
                  </a:lnTo>
                  <a:lnTo>
                    <a:pt x="691" y="397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7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0" y="401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1" y="403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2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4"/>
                  </a:lnTo>
                  <a:lnTo>
                    <a:pt x="692" y="405"/>
                  </a:lnTo>
                  <a:lnTo>
                    <a:pt x="692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1" y="408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5"/>
                  </a:lnTo>
                  <a:lnTo>
                    <a:pt x="691" y="404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0" y="408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8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2"/>
                  </a:lnTo>
                  <a:lnTo>
                    <a:pt x="690" y="412"/>
                  </a:lnTo>
                  <a:lnTo>
                    <a:pt x="690" y="413"/>
                  </a:lnTo>
                  <a:lnTo>
                    <a:pt x="690" y="413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0" y="414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5"/>
                  </a:lnTo>
                  <a:lnTo>
                    <a:pt x="691" y="415"/>
                  </a:lnTo>
                  <a:lnTo>
                    <a:pt x="692" y="416"/>
                  </a:lnTo>
                  <a:lnTo>
                    <a:pt x="692" y="415"/>
                  </a:lnTo>
                  <a:lnTo>
                    <a:pt x="691" y="415"/>
                  </a:lnTo>
                  <a:lnTo>
                    <a:pt x="691" y="416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2" y="418"/>
                  </a:lnTo>
                  <a:lnTo>
                    <a:pt x="692" y="418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3" y="417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9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2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4" y="422"/>
                  </a:lnTo>
                  <a:lnTo>
                    <a:pt x="694" y="423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5"/>
                  </a:lnTo>
                  <a:lnTo>
                    <a:pt x="694" y="425"/>
                  </a:lnTo>
                  <a:lnTo>
                    <a:pt x="694" y="426"/>
                  </a:lnTo>
                  <a:lnTo>
                    <a:pt x="694" y="426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5" y="428"/>
                  </a:lnTo>
                  <a:lnTo>
                    <a:pt x="695" y="428"/>
                  </a:lnTo>
                  <a:lnTo>
                    <a:pt x="695" y="429"/>
                  </a:lnTo>
                  <a:lnTo>
                    <a:pt x="695" y="429"/>
                  </a:lnTo>
                  <a:lnTo>
                    <a:pt x="695" y="430"/>
                  </a:lnTo>
                  <a:lnTo>
                    <a:pt x="695" y="431"/>
                  </a:lnTo>
                  <a:lnTo>
                    <a:pt x="695" y="431"/>
                  </a:lnTo>
                  <a:lnTo>
                    <a:pt x="695" y="432"/>
                  </a:lnTo>
                  <a:lnTo>
                    <a:pt x="695" y="432"/>
                  </a:lnTo>
                  <a:lnTo>
                    <a:pt x="695" y="433"/>
                  </a:lnTo>
                  <a:lnTo>
                    <a:pt x="696" y="433"/>
                  </a:lnTo>
                  <a:lnTo>
                    <a:pt x="696" y="433"/>
                  </a:lnTo>
                  <a:lnTo>
                    <a:pt x="696" y="434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6"/>
                  </a:lnTo>
                  <a:lnTo>
                    <a:pt x="697" y="436"/>
                  </a:lnTo>
                  <a:lnTo>
                    <a:pt x="697" y="437"/>
                  </a:lnTo>
                  <a:lnTo>
                    <a:pt x="698" y="437"/>
                  </a:lnTo>
                  <a:lnTo>
                    <a:pt x="698" y="438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40"/>
                  </a:lnTo>
                  <a:lnTo>
                    <a:pt x="698" y="440"/>
                  </a:lnTo>
                  <a:lnTo>
                    <a:pt x="698" y="441"/>
                  </a:lnTo>
                  <a:lnTo>
                    <a:pt x="699" y="442"/>
                  </a:lnTo>
                  <a:lnTo>
                    <a:pt x="698" y="442"/>
                  </a:lnTo>
                  <a:lnTo>
                    <a:pt x="699" y="442"/>
                  </a:lnTo>
                  <a:lnTo>
                    <a:pt x="699" y="442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5"/>
                  </a:lnTo>
                  <a:lnTo>
                    <a:pt x="699" y="446"/>
                  </a:lnTo>
                  <a:lnTo>
                    <a:pt x="700" y="446"/>
                  </a:lnTo>
                  <a:lnTo>
                    <a:pt x="700" y="446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0" y="448"/>
                  </a:lnTo>
                  <a:lnTo>
                    <a:pt x="701" y="448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2" y="448"/>
                  </a:lnTo>
                  <a:lnTo>
                    <a:pt x="702" y="449"/>
                  </a:lnTo>
                  <a:lnTo>
                    <a:pt x="702" y="449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3" y="451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3" y="451"/>
                  </a:lnTo>
                  <a:lnTo>
                    <a:pt x="703" y="452"/>
                  </a:lnTo>
                  <a:lnTo>
                    <a:pt x="702" y="452"/>
                  </a:lnTo>
                  <a:lnTo>
                    <a:pt x="703" y="452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49"/>
                  </a:lnTo>
                  <a:lnTo>
                    <a:pt x="701" y="449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0" y="448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6"/>
                  </a:lnTo>
                  <a:lnTo>
                    <a:pt x="698" y="446"/>
                  </a:lnTo>
                  <a:lnTo>
                    <a:pt x="698" y="445"/>
                  </a:lnTo>
                  <a:lnTo>
                    <a:pt x="697" y="445"/>
                  </a:lnTo>
                  <a:lnTo>
                    <a:pt x="697" y="444"/>
                  </a:lnTo>
                  <a:lnTo>
                    <a:pt x="696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3" y="444"/>
                  </a:lnTo>
                  <a:lnTo>
                    <a:pt x="693" y="443"/>
                  </a:lnTo>
                  <a:lnTo>
                    <a:pt x="693" y="443"/>
                  </a:lnTo>
                  <a:lnTo>
                    <a:pt x="692" y="443"/>
                  </a:lnTo>
                  <a:lnTo>
                    <a:pt x="692" y="443"/>
                  </a:lnTo>
                  <a:close/>
                  <a:moveTo>
                    <a:pt x="625" y="381"/>
                  </a:move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5" y="38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2" y="291"/>
                  </a:moveTo>
                  <a:lnTo>
                    <a:pt x="82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close/>
                  <a:moveTo>
                    <a:pt x="81" y="290"/>
                  </a:moveTo>
                  <a:lnTo>
                    <a:pt x="81" y="291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0"/>
                  </a:lnTo>
                  <a:close/>
                  <a:moveTo>
                    <a:pt x="83" y="290"/>
                  </a:moveTo>
                  <a:lnTo>
                    <a:pt x="83" y="291"/>
                  </a:lnTo>
                  <a:lnTo>
                    <a:pt x="83" y="290"/>
                  </a:lnTo>
                  <a:close/>
                  <a:moveTo>
                    <a:pt x="82" y="290"/>
                  </a:moveTo>
                  <a:lnTo>
                    <a:pt x="82" y="291"/>
                  </a:lnTo>
                  <a:lnTo>
                    <a:pt x="81" y="290"/>
                  </a:lnTo>
                  <a:lnTo>
                    <a:pt x="82" y="290"/>
                  </a:lnTo>
                  <a:lnTo>
                    <a:pt x="82" y="291"/>
                  </a:lnTo>
                  <a:lnTo>
                    <a:pt x="82" y="290"/>
                  </a:lnTo>
                  <a:close/>
                  <a:moveTo>
                    <a:pt x="83" y="291"/>
                  </a:move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0"/>
                  </a:moveTo>
                  <a:lnTo>
                    <a:pt x="81" y="290"/>
                  </a:lnTo>
                  <a:lnTo>
                    <a:pt x="81" y="290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90"/>
                  </a:move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2" y="290"/>
                  </a:lnTo>
                  <a:close/>
                  <a:moveTo>
                    <a:pt x="83" y="289"/>
                  </a:moveTo>
                  <a:lnTo>
                    <a:pt x="83" y="289"/>
                  </a:lnTo>
                  <a:lnTo>
                    <a:pt x="83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88"/>
                  </a:moveTo>
                  <a:lnTo>
                    <a:pt x="81" y="288"/>
                  </a:lnTo>
                  <a:lnTo>
                    <a:pt x="82" y="288"/>
                  </a:lnTo>
                  <a:close/>
                  <a:moveTo>
                    <a:pt x="83" y="290"/>
                  </a:moveTo>
                  <a:lnTo>
                    <a:pt x="82" y="290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90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2" y="288"/>
                  </a:moveTo>
                  <a:lnTo>
                    <a:pt x="82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2" y="287"/>
                  </a:lnTo>
                  <a:lnTo>
                    <a:pt x="82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7"/>
                  </a:moveTo>
                  <a:lnTo>
                    <a:pt x="81" y="287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close/>
                  <a:moveTo>
                    <a:pt x="80" y="287"/>
                  </a:moveTo>
                  <a:lnTo>
                    <a:pt x="81" y="287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7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0" y="286"/>
                  </a:moveTo>
                  <a:lnTo>
                    <a:pt x="80" y="286"/>
                  </a:lnTo>
                  <a:lnTo>
                    <a:pt x="80" y="286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1" y="286"/>
                  </a:moveTo>
                  <a:lnTo>
                    <a:pt x="82" y="286"/>
                  </a:lnTo>
                  <a:lnTo>
                    <a:pt x="81" y="286"/>
                  </a:lnTo>
                  <a:close/>
                  <a:moveTo>
                    <a:pt x="79" y="286"/>
                  </a:moveTo>
                  <a:lnTo>
                    <a:pt x="78" y="286"/>
                  </a:lnTo>
                  <a:lnTo>
                    <a:pt x="79" y="286"/>
                  </a:lnTo>
                  <a:close/>
                  <a:moveTo>
                    <a:pt x="79" y="286"/>
                  </a:move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close/>
                  <a:moveTo>
                    <a:pt x="79" y="285"/>
                  </a:moveTo>
                  <a:lnTo>
                    <a:pt x="78" y="285"/>
                  </a:lnTo>
                  <a:lnTo>
                    <a:pt x="79" y="285"/>
                  </a:lnTo>
                  <a:close/>
                  <a:moveTo>
                    <a:pt x="78" y="286"/>
                  </a:move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5"/>
                  </a:move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close/>
                  <a:moveTo>
                    <a:pt x="81" y="286"/>
                  </a:move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2" y="287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7" y="285"/>
                  </a:moveTo>
                  <a:lnTo>
                    <a:pt x="78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4"/>
                  </a:moveTo>
                  <a:lnTo>
                    <a:pt x="80" y="285"/>
                  </a:lnTo>
                  <a:lnTo>
                    <a:pt x="80" y="284"/>
                  </a:lnTo>
                  <a:close/>
                  <a:moveTo>
                    <a:pt x="81" y="285"/>
                  </a:moveTo>
                  <a:lnTo>
                    <a:pt x="80" y="285"/>
                  </a:lnTo>
                  <a:lnTo>
                    <a:pt x="81" y="285"/>
                  </a:lnTo>
                  <a:lnTo>
                    <a:pt x="80" y="285"/>
                  </a:lnTo>
                  <a:lnTo>
                    <a:pt x="80" y="284"/>
                  </a:lnTo>
                  <a:lnTo>
                    <a:pt x="80" y="285"/>
                  </a:lnTo>
                  <a:lnTo>
                    <a:pt x="81" y="285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7" y="285"/>
                  </a:move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4"/>
                  </a:lnTo>
                  <a:lnTo>
                    <a:pt x="79" y="284"/>
                  </a:lnTo>
                  <a:lnTo>
                    <a:pt x="79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79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8" y="284"/>
                  </a:lnTo>
                  <a:lnTo>
                    <a:pt x="78" y="285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close/>
                  <a:moveTo>
                    <a:pt x="79" y="284"/>
                  </a:move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9" y="284"/>
                  </a:lnTo>
                  <a:lnTo>
                    <a:pt x="79" y="284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8" y="284"/>
                  </a:move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6" y="284"/>
                  </a:move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3" y="283"/>
                  </a:move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6" y="283"/>
                  </a:moveTo>
                  <a:lnTo>
                    <a:pt x="76" y="283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6" y="283"/>
                  </a:move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5" y="284"/>
                  </a:moveTo>
                  <a:lnTo>
                    <a:pt x="76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5" y="284"/>
                  </a:lnTo>
                  <a:close/>
                  <a:moveTo>
                    <a:pt x="73" y="282"/>
                  </a:moveTo>
                  <a:lnTo>
                    <a:pt x="73" y="282"/>
                  </a:lnTo>
                  <a:lnTo>
                    <a:pt x="73" y="283"/>
                  </a:lnTo>
                  <a:lnTo>
                    <a:pt x="73" y="282"/>
                  </a:lnTo>
                  <a:lnTo>
                    <a:pt x="73" y="283"/>
                  </a:lnTo>
                  <a:lnTo>
                    <a:pt x="73" y="283"/>
                  </a:lnTo>
                  <a:lnTo>
                    <a:pt x="73" y="282"/>
                  </a:lnTo>
                  <a:close/>
                  <a:moveTo>
                    <a:pt x="75" y="283"/>
                  </a:move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close/>
                  <a:moveTo>
                    <a:pt x="72" y="282"/>
                  </a:move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69" y="282"/>
                  </a:moveTo>
                  <a:lnTo>
                    <a:pt x="70" y="282"/>
                  </a:lnTo>
                  <a:lnTo>
                    <a:pt x="69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2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3" y="283"/>
                  </a:moveTo>
                  <a:lnTo>
                    <a:pt x="73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4"/>
                  </a:ln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3" y="282"/>
                  </a:moveTo>
                  <a:lnTo>
                    <a:pt x="72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3" y="282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1" y="281"/>
                  </a:move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1" y="281"/>
                  </a:lnTo>
                  <a:close/>
                  <a:moveTo>
                    <a:pt x="72" y="281"/>
                  </a:move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2" y="281"/>
                  </a:moveTo>
                  <a:lnTo>
                    <a:pt x="71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1" y="281"/>
                  </a:lnTo>
                  <a:lnTo>
                    <a:pt x="70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close/>
                  <a:moveTo>
                    <a:pt x="68" y="280"/>
                  </a:moveTo>
                  <a:lnTo>
                    <a:pt x="68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close/>
                  <a:moveTo>
                    <a:pt x="69" y="280"/>
                  </a:move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9" y="280"/>
                  </a:lnTo>
                  <a:close/>
                  <a:moveTo>
                    <a:pt x="68" y="279"/>
                  </a:moveTo>
                  <a:lnTo>
                    <a:pt x="69" y="279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8" y="279"/>
                  </a:lnTo>
                  <a:close/>
                  <a:moveTo>
                    <a:pt x="69" y="278"/>
                  </a:moveTo>
                  <a:lnTo>
                    <a:pt x="69" y="279"/>
                  </a:lnTo>
                  <a:lnTo>
                    <a:pt x="69" y="278"/>
                  </a:lnTo>
                  <a:lnTo>
                    <a:pt x="69" y="279"/>
                  </a:lnTo>
                  <a:lnTo>
                    <a:pt x="69" y="278"/>
                  </a:lnTo>
                  <a:close/>
                  <a:moveTo>
                    <a:pt x="67" y="279"/>
                  </a:move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close/>
                  <a:moveTo>
                    <a:pt x="67" y="278"/>
                  </a:moveTo>
                  <a:lnTo>
                    <a:pt x="67" y="278"/>
                  </a:lnTo>
                  <a:lnTo>
                    <a:pt x="68" y="278"/>
                  </a:lnTo>
                  <a:lnTo>
                    <a:pt x="68" y="279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9" y="278"/>
                  </a:move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9" y="278"/>
                  </a:lnTo>
                  <a:close/>
                  <a:moveTo>
                    <a:pt x="67" y="278"/>
                  </a:move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close/>
                  <a:moveTo>
                    <a:pt x="64" y="277"/>
                  </a:moveTo>
                  <a:lnTo>
                    <a:pt x="65" y="277"/>
                  </a:lnTo>
                  <a:lnTo>
                    <a:pt x="64" y="277"/>
                  </a:lnTo>
                  <a:close/>
                  <a:moveTo>
                    <a:pt x="65" y="277"/>
                  </a:move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close/>
                  <a:moveTo>
                    <a:pt x="66" y="277"/>
                  </a:move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close/>
                  <a:moveTo>
                    <a:pt x="63" y="276"/>
                  </a:moveTo>
                  <a:lnTo>
                    <a:pt x="63" y="275"/>
                  </a:lnTo>
                  <a:lnTo>
                    <a:pt x="63" y="276"/>
                  </a:lnTo>
                  <a:close/>
                  <a:moveTo>
                    <a:pt x="63" y="275"/>
                  </a:moveTo>
                  <a:lnTo>
                    <a:pt x="63" y="275"/>
                  </a:lnTo>
                  <a:lnTo>
                    <a:pt x="63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2" y="273"/>
                  </a:moveTo>
                  <a:lnTo>
                    <a:pt x="61" y="273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2" y="273"/>
                  </a:moveTo>
                  <a:lnTo>
                    <a:pt x="62" y="272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close/>
                  <a:moveTo>
                    <a:pt x="59" y="271"/>
                  </a:moveTo>
                  <a:lnTo>
                    <a:pt x="59" y="272"/>
                  </a:lnTo>
                  <a:lnTo>
                    <a:pt x="59" y="271"/>
                  </a:lnTo>
                  <a:close/>
                  <a:moveTo>
                    <a:pt x="61" y="271"/>
                  </a:moveTo>
                  <a:lnTo>
                    <a:pt x="61" y="272"/>
                  </a:lnTo>
                  <a:lnTo>
                    <a:pt x="62" y="272"/>
                  </a:lnTo>
                  <a:lnTo>
                    <a:pt x="61" y="272"/>
                  </a:lnTo>
                  <a:lnTo>
                    <a:pt x="61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58" y="271"/>
                  </a:moveTo>
                  <a:lnTo>
                    <a:pt x="58" y="271"/>
                  </a:lnTo>
                  <a:lnTo>
                    <a:pt x="58" y="271"/>
                  </a:lnTo>
                  <a:close/>
                  <a:moveTo>
                    <a:pt x="62" y="271"/>
                  </a:moveTo>
                  <a:lnTo>
                    <a:pt x="63" y="271"/>
                  </a:lnTo>
                  <a:lnTo>
                    <a:pt x="62" y="271"/>
                  </a:lnTo>
                  <a:close/>
                  <a:moveTo>
                    <a:pt x="64" y="272"/>
                  </a:move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2"/>
                  </a:lnTo>
                  <a:lnTo>
                    <a:pt x="65" y="273"/>
                  </a:lnTo>
                  <a:lnTo>
                    <a:pt x="64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4" y="272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5" y="271"/>
                  </a:moveTo>
                  <a:lnTo>
                    <a:pt x="65" y="270"/>
                  </a:lnTo>
                  <a:lnTo>
                    <a:pt x="65" y="271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5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close/>
                  <a:moveTo>
                    <a:pt x="64" y="269"/>
                  </a:move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4" y="269"/>
                  </a:lnTo>
                  <a:close/>
                  <a:moveTo>
                    <a:pt x="59" y="269"/>
                  </a:move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72"/>
                  </a:move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64" y="270"/>
                  </a:move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70"/>
                  </a:lnTo>
                  <a:close/>
                  <a:moveTo>
                    <a:pt x="64" y="268"/>
                  </a:move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close/>
                  <a:moveTo>
                    <a:pt x="64" y="268"/>
                  </a:moveTo>
                  <a:lnTo>
                    <a:pt x="63" y="268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4" y="268"/>
                  </a:lnTo>
                  <a:close/>
                  <a:moveTo>
                    <a:pt x="66" y="268"/>
                  </a:move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close/>
                  <a:moveTo>
                    <a:pt x="65" y="268"/>
                  </a:moveTo>
                  <a:lnTo>
                    <a:pt x="66" y="268"/>
                  </a:lnTo>
                  <a:lnTo>
                    <a:pt x="65" y="268"/>
                  </a:lnTo>
                  <a:close/>
                  <a:moveTo>
                    <a:pt x="65" y="267"/>
                  </a:move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close/>
                  <a:moveTo>
                    <a:pt x="67" y="267"/>
                  </a:move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6" y="268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8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7" y="268"/>
                  </a:lnTo>
                  <a:lnTo>
                    <a:pt x="66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7" y="267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5" y="270"/>
                  </a:lnTo>
                  <a:close/>
                  <a:moveTo>
                    <a:pt x="66" y="267"/>
                  </a:moveTo>
                  <a:lnTo>
                    <a:pt x="66" y="268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close/>
                  <a:moveTo>
                    <a:pt x="65" y="267"/>
                  </a:moveTo>
                  <a:lnTo>
                    <a:pt x="64" y="267"/>
                  </a:lnTo>
                  <a:lnTo>
                    <a:pt x="65" y="267"/>
                  </a:lnTo>
                  <a:close/>
                  <a:moveTo>
                    <a:pt x="64" y="267"/>
                  </a:move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close/>
                  <a:moveTo>
                    <a:pt x="64" y="267"/>
                  </a:move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4" y="268"/>
                  </a:lnTo>
                  <a:lnTo>
                    <a:pt x="63" y="268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close/>
                  <a:moveTo>
                    <a:pt x="65" y="267"/>
                  </a:moveTo>
                  <a:lnTo>
                    <a:pt x="65" y="266"/>
                  </a:lnTo>
                  <a:lnTo>
                    <a:pt x="65" y="267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5" y="266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6"/>
                  </a:lnTo>
                  <a:close/>
                  <a:moveTo>
                    <a:pt x="65" y="266"/>
                  </a:move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9" y="266"/>
                  </a:moveTo>
                  <a:lnTo>
                    <a:pt x="68" y="266"/>
                  </a:lnTo>
                  <a:lnTo>
                    <a:pt x="69" y="266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close/>
                  <a:moveTo>
                    <a:pt x="69" y="265"/>
                  </a:moveTo>
                  <a:lnTo>
                    <a:pt x="69" y="265"/>
                  </a:lnTo>
                  <a:lnTo>
                    <a:pt x="69" y="265"/>
                  </a:lnTo>
                  <a:close/>
                  <a:moveTo>
                    <a:pt x="65" y="266"/>
                  </a:moveTo>
                  <a:lnTo>
                    <a:pt x="65" y="265"/>
                  </a:lnTo>
                  <a:lnTo>
                    <a:pt x="65" y="266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7" y="265"/>
                  </a:moveTo>
                  <a:lnTo>
                    <a:pt x="67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close/>
                  <a:moveTo>
                    <a:pt x="65" y="265"/>
                  </a:move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6" y="265"/>
                  </a:moveTo>
                  <a:lnTo>
                    <a:pt x="66" y="266"/>
                  </a:lnTo>
                  <a:lnTo>
                    <a:pt x="66" y="265"/>
                  </a:lnTo>
                  <a:close/>
                  <a:moveTo>
                    <a:pt x="62" y="265"/>
                  </a:move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8" y="265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9" y="265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close/>
                  <a:moveTo>
                    <a:pt x="61" y="265"/>
                  </a:moveTo>
                  <a:lnTo>
                    <a:pt x="61" y="264"/>
                  </a:lnTo>
                  <a:lnTo>
                    <a:pt x="61" y="265"/>
                  </a:lnTo>
                  <a:close/>
                  <a:moveTo>
                    <a:pt x="62" y="264"/>
                  </a:move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close/>
                  <a:moveTo>
                    <a:pt x="67" y="265"/>
                  </a:moveTo>
                  <a:lnTo>
                    <a:pt x="67" y="264"/>
                  </a:lnTo>
                  <a:lnTo>
                    <a:pt x="67" y="265"/>
                  </a:lnTo>
                  <a:close/>
                  <a:moveTo>
                    <a:pt x="67" y="264"/>
                  </a:move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1" y="264"/>
                  </a:moveTo>
                  <a:lnTo>
                    <a:pt x="61" y="265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2" y="264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lnTo>
                    <a:pt x="68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8" y="264"/>
                  </a:lnTo>
                  <a:lnTo>
                    <a:pt x="67" y="264"/>
                  </a:lnTo>
                  <a:lnTo>
                    <a:pt x="68" y="264"/>
                  </a:lnTo>
                  <a:close/>
                  <a:moveTo>
                    <a:pt x="67" y="264"/>
                  </a:move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8" y="264"/>
                  </a:moveTo>
                  <a:lnTo>
                    <a:pt x="68" y="264"/>
                  </a:lnTo>
                  <a:lnTo>
                    <a:pt x="68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2" y="264"/>
                  </a:move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close/>
                  <a:moveTo>
                    <a:pt x="64" y="264"/>
                  </a:moveTo>
                  <a:lnTo>
                    <a:pt x="64" y="264"/>
                  </a:lnTo>
                  <a:lnTo>
                    <a:pt x="64" y="265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4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7" y="264"/>
                  </a:moveTo>
                  <a:lnTo>
                    <a:pt x="67" y="263"/>
                  </a:lnTo>
                  <a:lnTo>
                    <a:pt x="67" y="264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6" y="264"/>
                  </a:moveTo>
                  <a:lnTo>
                    <a:pt x="66" y="263"/>
                  </a:lnTo>
                  <a:lnTo>
                    <a:pt x="66" y="264"/>
                  </a:lnTo>
                  <a:close/>
                  <a:moveTo>
                    <a:pt x="65" y="266"/>
                  </a:move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5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5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6" y="264"/>
                  </a:moveTo>
                  <a:lnTo>
                    <a:pt x="65" y="264"/>
                  </a:lnTo>
                  <a:lnTo>
                    <a:pt x="66" y="264"/>
                  </a:lnTo>
                  <a:close/>
                  <a:moveTo>
                    <a:pt x="67" y="263"/>
                  </a:move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7" y="263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7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6" y="263"/>
                  </a:lnTo>
                  <a:lnTo>
                    <a:pt x="67" y="263"/>
                  </a:lnTo>
                  <a:close/>
                  <a:moveTo>
                    <a:pt x="70" y="263"/>
                  </a:moveTo>
                  <a:lnTo>
                    <a:pt x="70" y="263"/>
                  </a:lnTo>
                  <a:lnTo>
                    <a:pt x="70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69" y="263"/>
                  </a:moveTo>
                  <a:lnTo>
                    <a:pt x="69" y="263"/>
                  </a:lnTo>
                  <a:lnTo>
                    <a:pt x="69" y="263"/>
                  </a:lnTo>
                  <a:close/>
                  <a:moveTo>
                    <a:pt x="61" y="263"/>
                  </a:move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3" y="263"/>
                  </a:moveTo>
                  <a:lnTo>
                    <a:pt x="63" y="263"/>
                  </a:lnTo>
                  <a:lnTo>
                    <a:pt x="63" y="263"/>
                  </a:lnTo>
                  <a:close/>
                  <a:moveTo>
                    <a:pt x="71" y="263"/>
                  </a:move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5" y="263"/>
                  </a:lnTo>
                  <a:lnTo>
                    <a:pt x="66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close/>
                  <a:moveTo>
                    <a:pt x="72" y="262"/>
                  </a:moveTo>
                  <a:lnTo>
                    <a:pt x="72" y="263"/>
                  </a:lnTo>
                  <a:lnTo>
                    <a:pt x="72" y="262"/>
                  </a:lnTo>
                  <a:close/>
                  <a:moveTo>
                    <a:pt x="66" y="262"/>
                  </a:move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71" y="262"/>
                  </a:moveTo>
                  <a:lnTo>
                    <a:pt x="71" y="263"/>
                  </a:lnTo>
                  <a:lnTo>
                    <a:pt x="71" y="262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2"/>
                  </a:lnTo>
                  <a:lnTo>
                    <a:pt x="71" y="262"/>
                  </a:lnTo>
                  <a:close/>
                  <a:moveTo>
                    <a:pt x="62" y="263"/>
                  </a:moveTo>
                  <a:lnTo>
                    <a:pt x="62" y="263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2" y="263"/>
                  </a:lnTo>
                  <a:close/>
                  <a:moveTo>
                    <a:pt x="67" y="262"/>
                  </a:moveTo>
                  <a:lnTo>
                    <a:pt x="67" y="263"/>
                  </a:lnTo>
                  <a:lnTo>
                    <a:pt x="67" y="262"/>
                  </a:lnTo>
                  <a:close/>
                  <a:moveTo>
                    <a:pt x="66" y="262"/>
                  </a:moveTo>
                  <a:lnTo>
                    <a:pt x="65" y="263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close/>
                  <a:moveTo>
                    <a:pt x="70" y="262"/>
                  </a:moveTo>
                  <a:lnTo>
                    <a:pt x="71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63" y="262"/>
                  </a:moveTo>
                  <a:lnTo>
                    <a:pt x="63" y="262"/>
                  </a:lnTo>
                  <a:lnTo>
                    <a:pt x="63" y="262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567" y="261"/>
                  </a:moveTo>
                  <a:lnTo>
                    <a:pt x="567" y="262"/>
                  </a:lnTo>
                  <a:lnTo>
                    <a:pt x="566" y="262"/>
                  </a:lnTo>
                  <a:lnTo>
                    <a:pt x="567" y="262"/>
                  </a:lnTo>
                  <a:lnTo>
                    <a:pt x="566" y="262"/>
                  </a:lnTo>
                  <a:lnTo>
                    <a:pt x="567" y="261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5" y="262"/>
                  </a:move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3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7" y="261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close/>
                  <a:moveTo>
                    <a:pt x="67" y="261"/>
                  </a:moveTo>
                  <a:lnTo>
                    <a:pt x="67" y="261"/>
                  </a:lnTo>
                  <a:lnTo>
                    <a:pt x="67" y="261"/>
                  </a:lnTo>
                  <a:close/>
                  <a:moveTo>
                    <a:pt x="68" y="261"/>
                  </a:moveTo>
                  <a:lnTo>
                    <a:pt x="68" y="262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close/>
                  <a:moveTo>
                    <a:pt x="68" y="263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8" y="263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8" y="263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70" y="261"/>
                  </a:move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70" y="261"/>
                  </a:lnTo>
                  <a:close/>
                  <a:moveTo>
                    <a:pt x="63" y="262"/>
                  </a:moveTo>
                  <a:lnTo>
                    <a:pt x="63" y="261"/>
                  </a:lnTo>
                  <a:lnTo>
                    <a:pt x="63" y="262"/>
                  </a:lnTo>
                  <a:close/>
                  <a:moveTo>
                    <a:pt x="69" y="260"/>
                  </a:moveTo>
                  <a:lnTo>
                    <a:pt x="69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close/>
                  <a:moveTo>
                    <a:pt x="70" y="261"/>
                  </a:move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close/>
                  <a:moveTo>
                    <a:pt x="67" y="260"/>
                  </a:move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7" y="260"/>
                  </a:lnTo>
                  <a:close/>
                  <a:moveTo>
                    <a:pt x="68" y="260"/>
                  </a:moveTo>
                  <a:lnTo>
                    <a:pt x="67" y="260"/>
                  </a:lnTo>
                  <a:lnTo>
                    <a:pt x="68" y="260"/>
                  </a:lnTo>
                  <a:close/>
                  <a:moveTo>
                    <a:pt x="68" y="260"/>
                  </a:move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close/>
                  <a:moveTo>
                    <a:pt x="63" y="260"/>
                  </a:moveTo>
                  <a:lnTo>
                    <a:pt x="63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close/>
                  <a:moveTo>
                    <a:pt x="70" y="260"/>
                  </a:moveTo>
                  <a:lnTo>
                    <a:pt x="71" y="260"/>
                  </a:lnTo>
                  <a:lnTo>
                    <a:pt x="70" y="260"/>
                  </a:lnTo>
                  <a:close/>
                  <a:moveTo>
                    <a:pt x="71" y="260"/>
                  </a:moveTo>
                  <a:lnTo>
                    <a:pt x="71" y="259"/>
                  </a:lnTo>
                  <a:lnTo>
                    <a:pt x="71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59"/>
                  </a:lnTo>
                  <a:close/>
                  <a:moveTo>
                    <a:pt x="66" y="260"/>
                  </a:move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6" y="260"/>
                  </a:move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5" y="260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7" y="259"/>
                  </a:moveTo>
                  <a:lnTo>
                    <a:pt x="67" y="259"/>
                  </a:lnTo>
                  <a:lnTo>
                    <a:pt x="67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561" y="259"/>
                  </a:moveTo>
                  <a:lnTo>
                    <a:pt x="562" y="259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2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73" y="258"/>
                  </a:moveTo>
                  <a:lnTo>
                    <a:pt x="73" y="259"/>
                  </a:lnTo>
                  <a:lnTo>
                    <a:pt x="73" y="258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close/>
                  <a:moveTo>
                    <a:pt x="71" y="259"/>
                  </a:move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9"/>
                  </a:lnTo>
                  <a:close/>
                  <a:moveTo>
                    <a:pt x="67" y="259"/>
                  </a:moveTo>
                  <a:lnTo>
                    <a:pt x="66" y="259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7" y="259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9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close/>
                  <a:moveTo>
                    <a:pt x="67" y="258"/>
                  </a:moveTo>
                  <a:lnTo>
                    <a:pt x="67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1" y="257"/>
                  </a:moveTo>
                  <a:lnTo>
                    <a:pt x="71" y="258"/>
                  </a:lnTo>
                  <a:lnTo>
                    <a:pt x="71" y="257"/>
                  </a:lnTo>
                  <a:close/>
                  <a:moveTo>
                    <a:pt x="71" y="258"/>
                  </a:moveTo>
                  <a:lnTo>
                    <a:pt x="71" y="257"/>
                  </a:lnTo>
                  <a:lnTo>
                    <a:pt x="71" y="258"/>
                  </a:lnTo>
                  <a:close/>
                  <a:moveTo>
                    <a:pt x="70" y="258"/>
                  </a:moveTo>
                  <a:lnTo>
                    <a:pt x="70" y="257"/>
                  </a:lnTo>
                  <a:lnTo>
                    <a:pt x="70" y="258"/>
                  </a:lnTo>
                  <a:close/>
                  <a:moveTo>
                    <a:pt x="69" y="257"/>
                  </a:moveTo>
                  <a:lnTo>
                    <a:pt x="69" y="258"/>
                  </a:lnTo>
                  <a:lnTo>
                    <a:pt x="69" y="257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close/>
                  <a:moveTo>
                    <a:pt x="69" y="256"/>
                  </a:move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7" y="256"/>
                  </a:move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8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close/>
                  <a:moveTo>
                    <a:pt x="68" y="257"/>
                  </a:move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close/>
                  <a:moveTo>
                    <a:pt x="67" y="258"/>
                  </a:move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close/>
                  <a:moveTo>
                    <a:pt x="69" y="256"/>
                  </a:moveTo>
                  <a:lnTo>
                    <a:pt x="69" y="255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7" y="256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2" y="256"/>
                  </a:lnTo>
                  <a:lnTo>
                    <a:pt x="72" y="255"/>
                  </a:lnTo>
                  <a:close/>
                  <a:moveTo>
                    <a:pt x="70" y="256"/>
                  </a:move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70" y="256"/>
                  </a:lnTo>
                  <a:close/>
                  <a:moveTo>
                    <a:pt x="70" y="256"/>
                  </a:move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71" y="255"/>
                  </a:move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1" y="255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close/>
                  <a:moveTo>
                    <a:pt x="956" y="255"/>
                  </a:moveTo>
                  <a:lnTo>
                    <a:pt x="956" y="255"/>
                  </a:lnTo>
                  <a:lnTo>
                    <a:pt x="956" y="255"/>
                  </a:lnTo>
                  <a:lnTo>
                    <a:pt x="957" y="255"/>
                  </a:lnTo>
                  <a:lnTo>
                    <a:pt x="957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5"/>
                  </a:lnTo>
                  <a:close/>
                  <a:moveTo>
                    <a:pt x="69" y="255"/>
                  </a:moveTo>
                  <a:lnTo>
                    <a:pt x="69" y="255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5"/>
                  </a:lnTo>
                  <a:close/>
                  <a:moveTo>
                    <a:pt x="66" y="255"/>
                  </a:moveTo>
                  <a:lnTo>
                    <a:pt x="66" y="256"/>
                  </a:lnTo>
                  <a:lnTo>
                    <a:pt x="66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0" y="255"/>
                  </a:lnTo>
                  <a:lnTo>
                    <a:pt x="71" y="255"/>
                  </a:lnTo>
                  <a:close/>
                  <a:moveTo>
                    <a:pt x="69" y="255"/>
                  </a:moveTo>
                  <a:lnTo>
                    <a:pt x="69" y="254"/>
                  </a:lnTo>
                  <a:lnTo>
                    <a:pt x="69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8" y="254"/>
                  </a:moveTo>
                  <a:lnTo>
                    <a:pt x="67" y="254"/>
                  </a:lnTo>
                  <a:lnTo>
                    <a:pt x="68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68" y="254"/>
                  </a:moveTo>
                  <a:lnTo>
                    <a:pt x="68" y="254"/>
                  </a:lnTo>
                  <a:lnTo>
                    <a:pt x="68" y="254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5"/>
                  </a:moveTo>
                  <a:lnTo>
                    <a:pt x="70" y="254"/>
                  </a:lnTo>
                  <a:lnTo>
                    <a:pt x="70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9" y="254"/>
                  </a:moveTo>
                  <a:lnTo>
                    <a:pt x="69" y="253"/>
                  </a:lnTo>
                  <a:lnTo>
                    <a:pt x="69" y="254"/>
                  </a:lnTo>
                  <a:close/>
                  <a:moveTo>
                    <a:pt x="69" y="253"/>
                  </a:moveTo>
                  <a:lnTo>
                    <a:pt x="69" y="254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close/>
                  <a:moveTo>
                    <a:pt x="68" y="255"/>
                  </a:move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7" y="255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8" y="254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5"/>
                  </a:lnTo>
                  <a:close/>
                  <a:moveTo>
                    <a:pt x="70" y="253"/>
                  </a:moveTo>
                  <a:lnTo>
                    <a:pt x="70" y="254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3"/>
                  </a:lnTo>
                  <a:close/>
                  <a:moveTo>
                    <a:pt x="955" y="254"/>
                  </a:moveTo>
                  <a:lnTo>
                    <a:pt x="955" y="253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3"/>
                  </a:lnTo>
                  <a:lnTo>
                    <a:pt x="955" y="254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2"/>
                  </a:moveTo>
                  <a:lnTo>
                    <a:pt x="67" y="253"/>
                  </a:lnTo>
                  <a:lnTo>
                    <a:pt x="67" y="252"/>
                  </a:lnTo>
                  <a:close/>
                  <a:moveTo>
                    <a:pt x="67" y="253"/>
                  </a:move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close/>
                  <a:moveTo>
                    <a:pt x="66" y="254"/>
                  </a:move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8" y="252"/>
                  </a:moveTo>
                  <a:lnTo>
                    <a:pt x="69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5" y="252"/>
                  </a:moveTo>
                  <a:lnTo>
                    <a:pt x="64" y="252"/>
                  </a:lnTo>
                  <a:lnTo>
                    <a:pt x="65" y="252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8" y="252"/>
                  </a:moveTo>
                  <a:lnTo>
                    <a:pt x="67" y="252"/>
                  </a:lnTo>
                  <a:lnTo>
                    <a:pt x="68" y="252"/>
                  </a:lnTo>
                  <a:close/>
                  <a:moveTo>
                    <a:pt x="70" y="252"/>
                  </a:moveTo>
                  <a:lnTo>
                    <a:pt x="71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1" y="252"/>
                  </a:moveTo>
                  <a:lnTo>
                    <a:pt x="71" y="253"/>
                  </a:lnTo>
                  <a:lnTo>
                    <a:pt x="71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4" y="253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9" y="251"/>
                  </a:move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2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7" y="252"/>
                  </a:moveTo>
                  <a:lnTo>
                    <a:pt x="66" y="252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close/>
                  <a:moveTo>
                    <a:pt x="69" y="250"/>
                  </a:move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close/>
                  <a:moveTo>
                    <a:pt x="68" y="251"/>
                  </a:move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6" y="251"/>
                  </a:move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5" y="250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close/>
                  <a:moveTo>
                    <a:pt x="66" y="249"/>
                  </a:moveTo>
                  <a:lnTo>
                    <a:pt x="67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6" y="249"/>
                  </a:move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7" y="250"/>
                  </a:move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close/>
                  <a:moveTo>
                    <a:pt x="65" y="249"/>
                  </a:moveTo>
                  <a:lnTo>
                    <a:pt x="65" y="249"/>
                  </a:lnTo>
                  <a:lnTo>
                    <a:pt x="65" y="249"/>
                  </a:lnTo>
                  <a:close/>
                  <a:moveTo>
                    <a:pt x="66" y="248"/>
                  </a:moveTo>
                  <a:lnTo>
                    <a:pt x="65" y="248"/>
                  </a:lnTo>
                  <a:lnTo>
                    <a:pt x="66" y="248"/>
                  </a:lnTo>
                  <a:close/>
                  <a:moveTo>
                    <a:pt x="65" y="249"/>
                  </a:moveTo>
                  <a:lnTo>
                    <a:pt x="65" y="248"/>
                  </a:lnTo>
                  <a:lnTo>
                    <a:pt x="65" y="249"/>
                  </a:lnTo>
                  <a:close/>
                  <a:moveTo>
                    <a:pt x="64" y="248"/>
                  </a:move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4" y="248"/>
                  </a:lnTo>
                  <a:close/>
                  <a:moveTo>
                    <a:pt x="63" y="248"/>
                  </a:moveTo>
                  <a:lnTo>
                    <a:pt x="63" y="248"/>
                  </a:lnTo>
                  <a:lnTo>
                    <a:pt x="63" y="248"/>
                  </a:lnTo>
                  <a:close/>
                  <a:moveTo>
                    <a:pt x="64" y="248"/>
                  </a:moveTo>
                  <a:lnTo>
                    <a:pt x="63" y="248"/>
                  </a:lnTo>
                  <a:lnTo>
                    <a:pt x="64" y="248"/>
                  </a:lnTo>
                  <a:close/>
                  <a:moveTo>
                    <a:pt x="545" y="248"/>
                  </a:move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9"/>
                  </a:lnTo>
                  <a:lnTo>
                    <a:pt x="545" y="249"/>
                  </a:lnTo>
                  <a:lnTo>
                    <a:pt x="545" y="248"/>
                  </a:lnTo>
                  <a:lnTo>
                    <a:pt x="544" y="248"/>
                  </a:lnTo>
                  <a:lnTo>
                    <a:pt x="544" y="248"/>
                  </a:lnTo>
                  <a:lnTo>
                    <a:pt x="543" y="248"/>
                  </a:lnTo>
                  <a:lnTo>
                    <a:pt x="544" y="248"/>
                  </a:lnTo>
                  <a:lnTo>
                    <a:pt x="545" y="248"/>
                  </a:lnTo>
                  <a:close/>
                  <a:moveTo>
                    <a:pt x="65" y="248"/>
                  </a:moveTo>
                  <a:lnTo>
                    <a:pt x="65" y="247"/>
                  </a:lnTo>
                  <a:lnTo>
                    <a:pt x="65" y="248"/>
                  </a:lnTo>
                  <a:close/>
                  <a:moveTo>
                    <a:pt x="61" y="247"/>
                  </a:moveTo>
                  <a:lnTo>
                    <a:pt x="62" y="247"/>
                  </a:lnTo>
                  <a:lnTo>
                    <a:pt x="61" y="247"/>
                  </a:lnTo>
                  <a:close/>
                  <a:moveTo>
                    <a:pt x="65" y="247"/>
                  </a:move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close/>
                  <a:moveTo>
                    <a:pt x="63" y="248"/>
                  </a:moveTo>
                  <a:lnTo>
                    <a:pt x="64" y="248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7"/>
                  </a:lnTo>
                  <a:lnTo>
                    <a:pt x="63" y="248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69" y="247"/>
                  </a:moveTo>
                  <a:lnTo>
                    <a:pt x="69" y="247"/>
                  </a:lnTo>
                  <a:lnTo>
                    <a:pt x="69" y="247"/>
                  </a:lnTo>
                  <a:close/>
                  <a:moveTo>
                    <a:pt x="63" y="247"/>
                  </a:moveTo>
                  <a:lnTo>
                    <a:pt x="63" y="247"/>
                  </a:lnTo>
                  <a:lnTo>
                    <a:pt x="63" y="247"/>
                  </a:lnTo>
                  <a:close/>
                  <a:moveTo>
                    <a:pt x="63" y="247"/>
                  </a:moveTo>
                  <a:lnTo>
                    <a:pt x="63" y="246"/>
                  </a:lnTo>
                  <a:lnTo>
                    <a:pt x="63" y="247"/>
                  </a:lnTo>
                  <a:close/>
                  <a:moveTo>
                    <a:pt x="66" y="249"/>
                  </a:move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close/>
                  <a:moveTo>
                    <a:pt x="63" y="246"/>
                  </a:move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6"/>
                  </a:lnTo>
                  <a:close/>
                  <a:moveTo>
                    <a:pt x="544" y="247"/>
                  </a:moveTo>
                  <a:lnTo>
                    <a:pt x="544" y="246"/>
                  </a:lnTo>
                  <a:lnTo>
                    <a:pt x="544" y="247"/>
                  </a:lnTo>
                  <a:lnTo>
                    <a:pt x="543" y="246"/>
                  </a:lnTo>
                  <a:lnTo>
                    <a:pt x="544" y="246"/>
                  </a:lnTo>
                  <a:lnTo>
                    <a:pt x="544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4" y="247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5" y="246"/>
                  </a:lnTo>
                  <a:lnTo>
                    <a:pt x="66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1" y="246"/>
                  </a:moveTo>
                  <a:lnTo>
                    <a:pt x="61" y="245"/>
                  </a:lnTo>
                  <a:lnTo>
                    <a:pt x="61" y="246"/>
                  </a:lnTo>
                  <a:close/>
                  <a:moveTo>
                    <a:pt x="68" y="245"/>
                  </a:moveTo>
                  <a:lnTo>
                    <a:pt x="69" y="245"/>
                  </a:lnTo>
                  <a:lnTo>
                    <a:pt x="68" y="245"/>
                  </a:lnTo>
                  <a:close/>
                  <a:moveTo>
                    <a:pt x="64" y="246"/>
                  </a:move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7" y="245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7" y="245"/>
                  </a:lnTo>
                  <a:close/>
                  <a:moveTo>
                    <a:pt x="542" y="245"/>
                  </a:moveTo>
                  <a:lnTo>
                    <a:pt x="542" y="246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1" y="245"/>
                  </a:lnTo>
                  <a:lnTo>
                    <a:pt x="541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close/>
                  <a:moveTo>
                    <a:pt x="61" y="244"/>
                  </a:moveTo>
                  <a:lnTo>
                    <a:pt x="62" y="244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1" y="246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7" y="241"/>
                  </a:move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1"/>
                  </a:lnTo>
                  <a:close/>
                  <a:moveTo>
                    <a:pt x="67" y="242"/>
                  </a:moveTo>
                  <a:lnTo>
                    <a:pt x="67" y="241"/>
                  </a:lnTo>
                  <a:lnTo>
                    <a:pt x="67" y="242"/>
                  </a:lnTo>
                  <a:close/>
                  <a:moveTo>
                    <a:pt x="67" y="241"/>
                  </a:moveTo>
                  <a:lnTo>
                    <a:pt x="67" y="241"/>
                  </a:lnTo>
                  <a:lnTo>
                    <a:pt x="67" y="241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7" y="241"/>
                  </a:lnTo>
                  <a:close/>
                  <a:moveTo>
                    <a:pt x="538" y="241"/>
                  </a:moveTo>
                  <a:lnTo>
                    <a:pt x="538" y="241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9" y="243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2"/>
                  </a:lnTo>
                  <a:lnTo>
                    <a:pt x="538" y="241"/>
                  </a:lnTo>
                  <a:lnTo>
                    <a:pt x="538" y="241"/>
                  </a:lnTo>
                  <a:close/>
                  <a:moveTo>
                    <a:pt x="687" y="241"/>
                  </a:moveTo>
                  <a:lnTo>
                    <a:pt x="687" y="240"/>
                  </a:lnTo>
                  <a:lnTo>
                    <a:pt x="687" y="241"/>
                  </a:lnTo>
                  <a:close/>
                  <a:moveTo>
                    <a:pt x="61" y="240"/>
                  </a:move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close/>
                  <a:moveTo>
                    <a:pt x="60" y="240"/>
                  </a:moveTo>
                  <a:lnTo>
                    <a:pt x="60" y="239"/>
                  </a:lnTo>
                  <a:lnTo>
                    <a:pt x="61" y="239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0" y="240"/>
                  </a:lnTo>
                  <a:close/>
                  <a:moveTo>
                    <a:pt x="63" y="239"/>
                  </a:moveTo>
                  <a:lnTo>
                    <a:pt x="63" y="240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close/>
                  <a:moveTo>
                    <a:pt x="63" y="242"/>
                  </a:moveTo>
                  <a:lnTo>
                    <a:pt x="62" y="242"/>
                  </a:lnTo>
                  <a:lnTo>
                    <a:pt x="63" y="242"/>
                  </a:lnTo>
                  <a:close/>
                  <a:moveTo>
                    <a:pt x="62" y="243"/>
                  </a:moveTo>
                  <a:lnTo>
                    <a:pt x="62" y="243"/>
                  </a:lnTo>
                  <a:lnTo>
                    <a:pt x="62" y="243"/>
                  </a:lnTo>
                  <a:close/>
                  <a:moveTo>
                    <a:pt x="62" y="243"/>
                  </a:moveTo>
                  <a:lnTo>
                    <a:pt x="62" y="244"/>
                  </a:lnTo>
                  <a:lnTo>
                    <a:pt x="62" y="243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2" y="244"/>
                  </a:moveTo>
                  <a:lnTo>
                    <a:pt x="62" y="244"/>
                  </a:lnTo>
                  <a:lnTo>
                    <a:pt x="62" y="244"/>
                  </a:lnTo>
                  <a:close/>
                  <a:moveTo>
                    <a:pt x="63" y="245"/>
                  </a:moveTo>
                  <a:lnTo>
                    <a:pt x="63" y="244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4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3"/>
                  </a:moveTo>
                  <a:lnTo>
                    <a:pt x="63" y="242"/>
                  </a:lnTo>
                  <a:lnTo>
                    <a:pt x="63" y="243"/>
                  </a:lnTo>
                  <a:close/>
                  <a:moveTo>
                    <a:pt x="64" y="239"/>
                  </a:moveTo>
                  <a:lnTo>
                    <a:pt x="65" y="239"/>
                  </a:lnTo>
                  <a:lnTo>
                    <a:pt x="64" y="239"/>
                  </a:lnTo>
                  <a:close/>
                  <a:moveTo>
                    <a:pt x="63" y="239"/>
                  </a:moveTo>
                  <a:lnTo>
                    <a:pt x="64" y="239"/>
                  </a:lnTo>
                  <a:lnTo>
                    <a:pt x="63" y="239"/>
                  </a:lnTo>
                  <a:close/>
                  <a:moveTo>
                    <a:pt x="64" y="239"/>
                  </a:moveTo>
                  <a:lnTo>
                    <a:pt x="63" y="239"/>
                  </a:lnTo>
                  <a:lnTo>
                    <a:pt x="64" y="239"/>
                  </a:lnTo>
                  <a:close/>
                  <a:moveTo>
                    <a:pt x="66" y="238"/>
                  </a:moveTo>
                  <a:lnTo>
                    <a:pt x="66" y="238"/>
                  </a:lnTo>
                  <a:lnTo>
                    <a:pt x="66" y="238"/>
                  </a:lnTo>
                  <a:close/>
                  <a:moveTo>
                    <a:pt x="64" y="237"/>
                  </a:moveTo>
                  <a:lnTo>
                    <a:pt x="64" y="237"/>
                  </a:lnTo>
                  <a:lnTo>
                    <a:pt x="64" y="237"/>
                  </a:lnTo>
                  <a:close/>
                  <a:moveTo>
                    <a:pt x="66" y="237"/>
                  </a:move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6" y="236"/>
                  </a:move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5" y="237"/>
                  </a:moveTo>
                  <a:lnTo>
                    <a:pt x="66" y="237"/>
                  </a:lnTo>
                  <a:lnTo>
                    <a:pt x="65" y="237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73" y="236"/>
                  </a:moveTo>
                  <a:lnTo>
                    <a:pt x="73" y="236"/>
                  </a:lnTo>
                  <a:lnTo>
                    <a:pt x="73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6"/>
                  </a:moveTo>
                  <a:lnTo>
                    <a:pt x="66" y="235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6" y="236"/>
                  </a:lnTo>
                  <a:close/>
                  <a:moveTo>
                    <a:pt x="67" y="235"/>
                  </a:move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close/>
                  <a:moveTo>
                    <a:pt x="63" y="235"/>
                  </a:moveTo>
                  <a:lnTo>
                    <a:pt x="64" y="235"/>
                  </a:lnTo>
                  <a:lnTo>
                    <a:pt x="63" y="235"/>
                  </a:lnTo>
                  <a:close/>
                  <a:moveTo>
                    <a:pt x="69" y="235"/>
                  </a:move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7"/>
                  </a:lnTo>
                  <a:lnTo>
                    <a:pt x="68" y="237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7" y="238"/>
                  </a:lnTo>
                  <a:lnTo>
                    <a:pt x="68" y="239"/>
                  </a:lnTo>
                  <a:lnTo>
                    <a:pt x="67" y="238"/>
                  </a:lnTo>
                  <a:lnTo>
                    <a:pt x="68" y="238"/>
                  </a:lnTo>
                  <a:lnTo>
                    <a:pt x="68" y="239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7" y="241"/>
                  </a:lnTo>
                  <a:lnTo>
                    <a:pt x="67" y="241"/>
                  </a:lnTo>
                  <a:lnTo>
                    <a:pt x="66" y="241"/>
                  </a:lnTo>
                  <a:lnTo>
                    <a:pt x="66" y="242"/>
                  </a:lnTo>
                  <a:lnTo>
                    <a:pt x="66" y="242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4" y="240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7"/>
                  </a:lnTo>
                  <a:lnTo>
                    <a:pt x="68" y="237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5"/>
                  </a:lnTo>
                  <a:close/>
                  <a:moveTo>
                    <a:pt x="64" y="235"/>
                  </a:moveTo>
                  <a:lnTo>
                    <a:pt x="64" y="234"/>
                  </a:lnTo>
                  <a:lnTo>
                    <a:pt x="64" y="235"/>
                  </a:lnTo>
                  <a:close/>
                  <a:moveTo>
                    <a:pt x="66" y="234"/>
                  </a:move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8" y="233"/>
                  </a:moveTo>
                  <a:lnTo>
                    <a:pt x="68" y="234"/>
                  </a:lnTo>
                  <a:lnTo>
                    <a:pt x="68" y="233"/>
                  </a:lnTo>
                  <a:close/>
                  <a:moveTo>
                    <a:pt x="66" y="233"/>
                  </a:moveTo>
                  <a:lnTo>
                    <a:pt x="67" y="233"/>
                  </a:lnTo>
                  <a:lnTo>
                    <a:pt x="66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7" y="233"/>
                  </a:moveTo>
                  <a:lnTo>
                    <a:pt x="66" y="233"/>
                  </a:lnTo>
                  <a:lnTo>
                    <a:pt x="67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8" y="233"/>
                  </a:moveTo>
                  <a:lnTo>
                    <a:pt x="69" y="233"/>
                  </a:lnTo>
                  <a:lnTo>
                    <a:pt x="68" y="233"/>
                  </a:lnTo>
                  <a:close/>
                  <a:moveTo>
                    <a:pt x="68" y="233"/>
                  </a:moveTo>
                  <a:lnTo>
                    <a:pt x="68" y="233"/>
                  </a:lnTo>
                  <a:lnTo>
                    <a:pt x="68" y="233"/>
                  </a:lnTo>
                  <a:close/>
                  <a:moveTo>
                    <a:pt x="69" y="233"/>
                  </a:moveTo>
                  <a:lnTo>
                    <a:pt x="69" y="232"/>
                  </a:lnTo>
                  <a:lnTo>
                    <a:pt x="69" y="233"/>
                  </a:lnTo>
                  <a:close/>
                  <a:moveTo>
                    <a:pt x="68" y="232"/>
                  </a:moveTo>
                  <a:lnTo>
                    <a:pt x="67" y="232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4"/>
                  </a:lnTo>
                  <a:lnTo>
                    <a:pt x="68" y="234"/>
                  </a:lnTo>
                  <a:lnTo>
                    <a:pt x="68" y="235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8" y="234"/>
                  </a:lnTo>
                  <a:lnTo>
                    <a:pt x="67" y="234"/>
                  </a:lnTo>
                  <a:lnTo>
                    <a:pt x="68" y="234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8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8" y="232"/>
                  </a:lnTo>
                  <a:close/>
                  <a:moveTo>
                    <a:pt x="68" y="233"/>
                  </a:moveTo>
                  <a:lnTo>
                    <a:pt x="67" y="233"/>
                  </a:lnTo>
                  <a:lnTo>
                    <a:pt x="68" y="233"/>
                  </a:lnTo>
                  <a:close/>
                  <a:moveTo>
                    <a:pt x="64" y="231"/>
                  </a:moveTo>
                  <a:lnTo>
                    <a:pt x="65" y="231"/>
                  </a:lnTo>
                  <a:lnTo>
                    <a:pt x="64" y="232"/>
                  </a:lnTo>
                  <a:lnTo>
                    <a:pt x="64" y="231"/>
                  </a:lnTo>
                  <a:close/>
                  <a:moveTo>
                    <a:pt x="70" y="231"/>
                  </a:moveTo>
                  <a:lnTo>
                    <a:pt x="69" y="231"/>
                  </a:lnTo>
                  <a:lnTo>
                    <a:pt x="70" y="231"/>
                  </a:lnTo>
                  <a:close/>
                  <a:moveTo>
                    <a:pt x="69" y="232"/>
                  </a:move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69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close/>
                  <a:moveTo>
                    <a:pt x="69" y="230"/>
                  </a:moveTo>
                  <a:lnTo>
                    <a:pt x="69" y="230"/>
                  </a:lnTo>
                  <a:lnTo>
                    <a:pt x="69" y="230"/>
                  </a:lnTo>
                  <a:close/>
                  <a:moveTo>
                    <a:pt x="121" y="229"/>
                  </a:moveTo>
                  <a:lnTo>
                    <a:pt x="121" y="229"/>
                  </a:lnTo>
                  <a:lnTo>
                    <a:pt x="121" y="229"/>
                  </a:lnTo>
                  <a:close/>
                  <a:moveTo>
                    <a:pt x="74" y="228"/>
                  </a:moveTo>
                  <a:lnTo>
                    <a:pt x="73" y="228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9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1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1" y="230"/>
                  </a:lnTo>
                  <a:lnTo>
                    <a:pt x="72" y="231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70" y="230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3" y="229"/>
                  </a:lnTo>
                  <a:lnTo>
                    <a:pt x="73" y="228"/>
                  </a:lnTo>
                  <a:lnTo>
                    <a:pt x="73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8"/>
                  </a:lnTo>
                  <a:close/>
                  <a:moveTo>
                    <a:pt x="70" y="230"/>
                  </a:moveTo>
                  <a:lnTo>
                    <a:pt x="71" y="230"/>
                  </a:lnTo>
                  <a:lnTo>
                    <a:pt x="70" y="230"/>
                  </a:lnTo>
                  <a:close/>
                  <a:moveTo>
                    <a:pt x="107" y="227"/>
                  </a:move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close/>
                  <a:moveTo>
                    <a:pt x="106" y="227"/>
                  </a:move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close/>
                  <a:moveTo>
                    <a:pt x="111" y="227"/>
                  </a:move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1" y="227"/>
                  </a:lnTo>
                  <a:close/>
                  <a:moveTo>
                    <a:pt x="76" y="228"/>
                  </a:moveTo>
                  <a:lnTo>
                    <a:pt x="76" y="229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6" y="228"/>
                  </a:lnTo>
                  <a:close/>
                  <a:moveTo>
                    <a:pt x="104" y="227"/>
                  </a:moveTo>
                  <a:lnTo>
                    <a:pt x="104" y="226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4" y="227"/>
                  </a:lnTo>
                  <a:close/>
                  <a:moveTo>
                    <a:pt x="112" y="226"/>
                  </a:moveTo>
                  <a:lnTo>
                    <a:pt x="113" y="226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close/>
                  <a:moveTo>
                    <a:pt x="103" y="226"/>
                  </a:move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102" y="226"/>
                  </a:moveTo>
                  <a:lnTo>
                    <a:pt x="101" y="226"/>
                  </a:lnTo>
                  <a:lnTo>
                    <a:pt x="102" y="226"/>
                  </a:lnTo>
                  <a:close/>
                  <a:moveTo>
                    <a:pt x="690" y="226"/>
                  </a:moveTo>
                  <a:lnTo>
                    <a:pt x="690" y="226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6"/>
                  </a:lnTo>
                  <a:close/>
                  <a:moveTo>
                    <a:pt x="104" y="226"/>
                  </a:moveTo>
                  <a:lnTo>
                    <a:pt x="104" y="226"/>
                  </a:lnTo>
                  <a:lnTo>
                    <a:pt x="104" y="226"/>
                  </a:lnTo>
                  <a:lnTo>
                    <a:pt x="103" y="226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6"/>
                  </a:lnTo>
                  <a:close/>
                  <a:moveTo>
                    <a:pt x="111" y="225"/>
                  </a:move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close/>
                  <a:moveTo>
                    <a:pt x="106" y="225"/>
                  </a:moveTo>
                  <a:lnTo>
                    <a:pt x="106" y="225"/>
                  </a:lnTo>
                  <a:lnTo>
                    <a:pt x="106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3" y="226"/>
                  </a:move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3" y="225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98" y="225"/>
                  </a:moveTo>
                  <a:lnTo>
                    <a:pt x="98" y="225"/>
                  </a:lnTo>
                  <a:lnTo>
                    <a:pt x="98" y="225"/>
                  </a:lnTo>
                  <a:close/>
                  <a:moveTo>
                    <a:pt x="103" y="224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close/>
                  <a:moveTo>
                    <a:pt x="100" y="225"/>
                  </a:move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close/>
                  <a:moveTo>
                    <a:pt x="113" y="224"/>
                  </a:moveTo>
                  <a:lnTo>
                    <a:pt x="112" y="224"/>
                  </a:lnTo>
                  <a:lnTo>
                    <a:pt x="113" y="224"/>
                  </a:lnTo>
                  <a:close/>
                  <a:moveTo>
                    <a:pt x="97" y="224"/>
                  </a:move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7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lnTo>
                    <a:pt x="104" y="224"/>
                  </a:lnTo>
                  <a:lnTo>
                    <a:pt x="104" y="224"/>
                  </a:lnTo>
                  <a:close/>
                  <a:moveTo>
                    <a:pt x="108" y="223"/>
                  </a:moveTo>
                  <a:lnTo>
                    <a:pt x="108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4"/>
                  </a:lnTo>
                  <a:lnTo>
                    <a:pt x="110" y="224"/>
                  </a:lnTo>
                  <a:lnTo>
                    <a:pt x="111" y="224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8" y="225"/>
                  </a:lnTo>
                  <a:lnTo>
                    <a:pt x="107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4"/>
                  </a:lnTo>
                  <a:lnTo>
                    <a:pt x="107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8" y="223"/>
                  </a:lnTo>
                  <a:close/>
                  <a:moveTo>
                    <a:pt x="81" y="223"/>
                  </a:moveTo>
                  <a:lnTo>
                    <a:pt x="80" y="224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4"/>
                  </a:lnTo>
                  <a:lnTo>
                    <a:pt x="80" y="224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4"/>
                  </a:lnTo>
                  <a:lnTo>
                    <a:pt x="81" y="225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7" y="224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1" y="223"/>
                  </a:lnTo>
                  <a:close/>
                  <a:moveTo>
                    <a:pt x="91" y="223"/>
                  </a:move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close/>
                  <a:moveTo>
                    <a:pt x="104" y="223"/>
                  </a:moveTo>
                  <a:lnTo>
                    <a:pt x="104" y="224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close/>
                  <a:moveTo>
                    <a:pt x="98" y="224"/>
                  </a:moveTo>
                  <a:lnTo>
                    <a:pt x="98" y="223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4"/>
                  </a:lnTo>
                  <a:lnTo>
                    <a:pt x="98" y="224"/>
                  </a:lnTo>
                  <a:close/>
                  <a:moveTo>
                    <a:pt x="98" y="223"/>
                  </a:moveTo>
                  <a:lnTo>
                    <a:pt x="98" y="223"/>
                  </a:lnTo>
                  <a:lnTo>
                    <a:pt x="98" y="223"/>
                  </a:lnTo>
                  <a:close/>
                  <a:moveTo>
                    <a:pt x="99" y="223"/>
                  </a:moveTo>
                  <a:lnTo>
                    <a:pt x="99" y="224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2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3"/>
                  </a:lnTo>
                  <a:close/>
                  <a:moveTo>
                    <a:pt x="111" y="224"/>
                  </a:move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2" y="225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1" y="224"/>
                  </a:lnTo>
                  <a:lnTo>
                    <a:pt x="110" y="224"/>
                  </a:lnTo>
                  <a:lnTo>
                    <a:pt x="110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2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close/>
                  <a:moveTo>
                    <a:pt x="97" y="222"/>
                  </a:moveTo>
                  <a:lnTo>
                    <a:pt x="97" y="223"/>
                  </a:lnTo>
                  <a:lnTo>
                    <a:pt x="97" y="222"/>
                  </a:lnTo>
                  <a:close/>
                  <a:moveTo>
                    <a:pt x="107" y="223"/>
                  </a:move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5" y="223"/>
                  </a:lnTo>
                  <a:lnTo>
                    <a:pt x="105" y="223"/>
                  </a:lnTo>
                  <a:lnTo>
                    <a:pt x="104" y="223"/>
                  </a:lnTo>
                  <a:lnTo>
                    <a:pt x="104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close/>
                  <a:moveTo>
                    <a:pt x="98" y="222"/>
                  </a:moveTo>
                  <a:lnTo>
                    <a:pt x="99" y="222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2"/>
                  </a:lnTo>
                  <a:close/>
                  <a:moveTo>
                    <a:pt x="533" y="222"/>
                  </a:moveTo>
                  <a:lnTo>
                    <a:pt x="534" y="222"/>
                  </a:lnTo>
                  <a:lnTo>
                    <a:pt x="533" y="222"/>
                  </a:lnTo>
                  <a:lnTo>
                    <a:pt x="534" y="222"/>
                  </a:lnTo>
                  <a:lnTo>
                    <a:pt x="534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3" y="224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2" y="223"/>
                  </a:lnTo>
                  <a:lnTo>
                    <a:pt x="533" y="222"/>
                  </a:lnTo>
                  <a:lnTo>
                    <a:pt x="533" y="223"/>
                  </a:lnTo>
                  <a:lnTo>
                    <a:pt x="533" y="222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2" y="223"/>
                  </a:lnTo>
                  <a:lnTo>
                    <a:pt x="101" y="223"/>
                  </a:lnTo>
                  <a:lnTo>
                    <a:pt x="101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2"/>
                  </a:lnTo>
                  <a:lnTo>
                    <a:pt x="99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1" y="223"/>
                  </a:lnTo>
                  <a:lnTo>
                    <a:pt x="102" y="223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5"/>
                  </a:lnTo>
                  <a:close/>
                  <a:moveTo>
                    <a:pt x="100" y="222"/>
                  </a:move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close/>
                  <a:moveTo>
                    <a:pt x="99" y="222"/>
                  </a:move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9" y="222"/>
                  </a:lnTo>
                  <a:lnTo>
                    <a:pt x="99" y="222"/>
                  </a:lnTo>
                  <a:close/>
                  <a:moveTo>
                    <a:pt x="92" y="222"/>
                  </a:move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0" y="222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4"/>
                  </a:lnTo>
                  <a:lnTo>
                    <a:pt x="87" y="224"/>
                  </a:lnTo>
                  <a:lnTo>
                    <a:pt x="87" y="223"/>
                  </a:lnTo>
                  <a:lnTo>
                    <a:pt x="87" y="224"/>
                  </a:lnTo>
                  <a:lnTo>
                    <a:pt x="88" y="224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9" y="225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90" y="224"/>
                  </a:lnTo>
                  <a:lnTo>
                    <a:pt x="89" y="224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0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6" y="225"/>
                  </a:lnTo>
                  <a:lnTo>
                    <a:pt x="85" y="225"/>
                  </a:lnTo>
                  <a:lnTo>
                    <a:pt x="85" y="224"/>
                  </a:lnTo>
                  <a:lnTo>
                    <a:pt x="84" y="224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6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8" y="222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close/>
                  <a:moveTo>
                    <a:pt x="84" y="222"/>
                  </a:moveTo>
                  <a:lnTo>
                    <a:pt x="84" y="222"/>
                  </a:lnTo>
                  <a:lnTo>
                    <a:pt x="84" y="222"/>
                  </a:lnTo>
                  <a:close/>
                  <a:moveTo>
                    <a:pt x="84" y="222"/>
                  </a:moveTo>
                  <a:lnTo>
                    <a:pt x="84" y="223"/>
                  </a:lnTo>
                  <a:lnTo>
                    <a:pt x="84" y="222"/>
                  </a:lnTo>
                  <a:close/>
                  <a:moveTo>
                    <a:pt x="83" y="223"/>
                  </a:moveTo>
                  <a:lnTo>
                    <a:pt x="83" y="222"/>
                  </a:lnTo>
                  <a:lnTo>
                    <a:pt x="83" y="223"/>
                  </a:lnTo>
                  <a:close/>
                  <a:moveTo>
                    <a:pt x="87" y="223"/>
                  </a:moveTo>
                  <a:lnTo>
                    <a:pt x="88" y="223"/>
                  </a:lnTo>
                  <a:lnTo>
                    <a:pt x="87" y="223"/>
                  </a:lnTo>
                  <a:close/>
                  <a:moveTo>
                    <a:pt x="88" y="223"/>
                  </a:moveTo>
                  <a:lnTo>
                    <a:pt x="89" y="223"/>
                  </a:lnTo>
                  <a:lnTo>
                    <a:pt x="88" y="223"/>
                  </a:lnTo>
                  <a:close/>
                  <a:moveTo>
                    <a:pt x="102" y="221"/>
                  </a:moveTo>
                  <a:lnTo>
                    <a:pt x="101" y="222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1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02" y="221"/>
                  </a:moveTo>
                  <a:lnTo>
                    <a:pt x="103" y="221"/>
                  </a:lnTo>
                  <a:lnTo>
                    <a:pt x="102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67" y="223"/>
                  </a:move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7" y="223"/>
                  </a:lnTo>
                  <a:close/>
                  <a:moveTo>
                    <a:pt x="94" y="221"/>
                  </a:move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4" y="222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4" y="221"/>
                  </a:lnTo>
                  <a:close/>
                  <a:moveTo>
                    <a:pt x="114" y="220"/>
                  </a:moveTo>
                  <a:lnTo>
                    <a:pt x="115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1"/>
                  </a:lnTo>
                  <a:lnTo>
                    <a:pt x="113" y="221"/>
                  </a:lnTo>
                  <a:lnTo>
                    <a:pt x="113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19"/>
                  </a:lnTo>
                  <a:lnTo>
                    <a:pt x="114" y="220"/>
                  </a:lnTo>
                  <a:close/>
                  <a:moveTo>
                    <a:pt x="687" y="219"/>
                  </a:move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7" y="219"/>
                  </a:lnTo>
                  <a:close/>
                  <a:moveTo>
                    <a:pt x="533" y="218"/>
                  </a:moveTo>
                  <a:lnTo>
                    <a:pt x="533" y="219"/>
                  </a:lnTo>
                  <a:lnTo>
                    <a:pt x="533" y="218"/>
                  </a:lnTo>
                  <a:lnTo>
                    <a:pt x="533" y="219"/>
                  </a:lnTo>
                  <a:lnTo>
                    <a:pt x="533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2" y="218"/>
                  </a:lnTo>
                  <a:lnTo>
                    <a:pt x="532" y="218"/>
                  </a:lnTo>
                  <a:lnTo>
                    <a:pt x="533" y="218"/>
                  </a:lnTo>
                  <a:lnTo>
                    <a:pt x="533" y="218"/>
                  </a:lnTo>
                  <a:close/>
                  <a:moveTo>
                    <a:pt x="184" y="216"/>
                  </a:moveTo>
                  <a:lnTo>
                    <a:pt x="183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3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3" y="216"/>
                  </a:lnTo>
                  <a:lnTo>
                    <a:pt x="184" y="216"/>
                  </a:lnTo>
                  <a:close/>
                  <a:moveTo>
                    <a:pt x="178" y="214"/>
                  </a:moveTo>
                  <a:lnTo>
                    <a:pt x="178" y="214"/>
                  </a:lnTo>
                  <a:lnTo>
                    <a:pt x="178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6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4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7" y="215"/>
                  </a:lnTo>
                  <a:lnTo>
                    <a:pt x="177" y="214"/>
                  </a:lnTo>
                  <a:lnTo>
                    <a:pt x="177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3"/>
                  </a:lnTo>
                  <a:lnTo>
                    <a:pt x="177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8" y="214"/>
                  </a:lnTo>
                  <a:close/>
                  <a:moveTo>
                    <a:pt x="706" y="204"/>
                  </a:move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close/>
                  <a:moveTo>
                    <a:pt x="814" y="203"/>
                  </a:move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close/>
                  <a:moveTo>
                    <a:pt x="623" y="200"/>
                  </a:moveTo>
                  <a:lnTo>
                    <a:pt x="624" y="200"/>
                  </a:lnTo>
                  <a:lnTo>
                    <a:pt x="623" y="200"/>
                  </a:lnTo>
                  <a:close/>
                  <a:moveTo>
                    <a:pt x="616" y="196"/>
                  </a:move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close/>
                  <a:moveTo>
                    <a:pt x="618" y="196"/>
                  </a:move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8" y="196"/>
                  </a:lnTo>
                  <a:close/>
                  <a:moveTo>
                    <a:pt x="722" y="194"/>
                  </a:moveTo>
                  <a:lnTo>
                    <a:pt x="722" y="194"/>
                  </a:lnTo>
                  <a:lnTo>
                    <a:pt x="722" y="194"/>
                  </a:lnTo>
                  <a:close/>
                  <a:moveTo>
                    <a:pt x="817" y="194"/>
                  </a:move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4"/>
                  </a:lnTo>
                  <a:lnTo>
                    <a:pt x="818" y="193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close/>
                  <a:moveTo>
                    <a:pt x="822" y="195"/>
                  </a:moveTo>
                  <a:lnTo>
                    <a:pt x="822" y="194"/>
                  </a:lnTo>
                  <a:lnTo>
                    <a:pt x="822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1" y="194"/>
                  </a:lnTo>
                  <a:lnTo>
                    <a:pt x="822" y="194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3" y="193"/>
                  </a:lnTo>
                  <a:lnTo>
                    <a:pt x="823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5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6"/>
                  </a:lnTo>
                  <a:lnTo>
                    <a:pt x="824" y="196"/>
                  </a:lnTo>
                  <a:lnTo>
                    <a:pt x="824" y="196"/>
                  </a:lnTo>
                  <a:lnTo>
                    <a:pt x="823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2" y="195"/>
                  </a:lnTo>
                  <a:close/>
                  <a:moveTo>
                    <a:pt x="97" y="192"/>
                  </a:moveTo>
                  <a:lnTo>
                    <a:pt x="98" y="192"/>
                  </a:lnTo>
                  <a:lnTo>
                    <a:pt x="97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7" y="192"/>
                  </a:lnTo>
                  <a:close/>
                  <a:moveTo>
                    <a:pt x="158" y="189"/>
                  </a:move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close/>
                  <a:moveTo>
                    <a:pt x="880" y="184"/>
                  </a:moveTo>
                  <a:lnTo>
                    <a:pt x="881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close/>
                  <a:moveTo>
                    <a:pt x="540" y="183"/>
                  </a:moveTo>
                  <a:lnTo>
                    <a:pt x="539" y="183"/>
                  </a:lnTo>
                  <a:lnTo>
                    <a:pt x="540" y="183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0" y="183"/>
                  </a:lnTo>
                  <a:lnTo>
                    <a:pt x="540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40" y="183"/>
                  </a:lnTo>
                  <a:close/>
                  <a:moveTo>
                    <a:pt x="229" y="181"/>
                  </a:moveTo>
                  <a:lnTo>
                    <a:pt x="228" y="181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2"/>
                  </a:lnTo>
                  <a:lnTo>
                    <a:pt x="229" y="181"/>
                  </a:lnTo>
                  <a:lnTo>
                    <a:pt x="228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6" y="180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8" y="180"/>
                  </a:lnTo>
                  <a:lnTo>
                    <a:pt x="229" y="181"/>
                  </a:lnTo>
                  <a:close/>
                  <a:moveTo>
                    <a:pt x="213" y="179"/>
                  </a:move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2" y="179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2" y="179"/>
                  </a:lnTo>
                  <a:lnTo>
                    <a:pt x="212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9"/>
                  </a:lnTo>
                  <a:lnTo>
                    <a:pt x="213" y="179"/>
                  </a:lnTo>
                  <a:lnTo>
                    <a:pt x="213" y="179"/>
                  </a:lnTo>
                  <a:close/>
                  <a:moveTo>
                    <a:pt x="549" y="177"/>
                  </a:move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close/>
                  <a:moveTo>
                    <a:pt x="203" y="176"/>
                  </a:move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3" y="176"/>
                  </a:lnTo>
                  <a:lnTo>
                    <a:pt x="204" y="176"/>
                  </a:lnTo>
                  <a:lnTo>
                    <a:pt x="204" y="176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4" y="176"/>
                  </a:lnTo>
                  <a:lnTo>
                    <a:pt x="205" y="176"/>
                  </a:lnTo>
                  <a:lnTo>
                    <a:pt x="206" y="176"/>
                  </a:lnTo>
                  <a:lnTo>
                    <a:pt x="206" y="176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9" y="177"/>
                  </a:lnTo>
                  <a:lnTo>
                    <a:pt x="209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6" y="177"/>
                  </a:lnTo>
                  <a:lnTo>
                    <a:pt x="206" y="178"/>
                  </a:lnTo>
                  <a:lnTo>
                    <a:pt x="205" y="178"/>
                  </a:lnTo>
                  <a:lnTo>
                    <a:pt x="205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2" y="177"/>
                  </a:lnTo>
                  <a:lnTo>
                    <a:pt x="202" y="176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1" y="175"/>
                  </a:lnTo>
                  <a:lnTo>
                    <a:pt x="201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3" y="176"/>
                  </a:lnTo>
                  <a:lnTo>
                    <a:pt x="203" y="176"/>
                  </a:lnTo>
                  <a:close/>
                  <a:moveTo>
                    <a:pt x="208" y="174"/>
                  </a:move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8" y="173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5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close/>
                  <a:moveTo>
                    <a:pt x="553" y="172"/>
                  </a:moveTo>
                  <a:lnTo>
                    <a:pt x="553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4" y="172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1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2"/>
                  </a:lnTo>
                  <a:close/>
                  <a:moveTo>
                    <a:pt x="553" y="171"/>
                  </a:moveTo>
                  <a:lnTo>
                    <a:pt x="553" y="172"/>
                  </a:lnTo>
                  <a:lnTo>
                    <a:pt x="553" y="171"/>
                  </a:lnTo>
                  <a:close/>
                  <a:moveTo>
                    <a:pt x="203" y="171"/>
                  </a:moveTo>
                  <a:lnTo>
                    <a:pt x="203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1"/>
                  </a:lnTo>
                  <a:lnTo>
                    <a:pt x="203" y="171"/>
                  </a:lnTo>
                  <a:close/>
                  <a:moveTo>
                    <a:pt x="203" y="173"/>
                  </a:moveTo>
                  <a:lnTo>
                    <a:pt x="203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1"/>
                  </a:lnTo>
                  <a:lnTo>
                    <a:pt x="201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close/>
                  <a:moveTo>
                    <a:pt x="199" y="171"/>
                  </a:moveTo>
                  <a:lnTo>
                    <a:pt x="199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1"/>
                  </a:lnTo>
                  <a:lnTo>
                    <a:pt x="200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199" y="171"/>
                  </a:lnTo>
                  <a:lnTo>
                    <a:pt x="199" y="171"/>
                  </a:lnTo>
                  <a:close/>
                  <a:moveTo>
                    <a:pt x="203" y="171"/>
                  </a:moveTo>
                  <a:lnTo>
                    <a:pt x="202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2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3" y="172"/>
                  </a:lnTo>
                  <a:lnTo>
                    <a:pt x="203" y="171"/>
                  </a:lnTo>
                  <a:close/>
                  <a:moveTo>
                    <a:pt x="83" y="170"/>
                  </a:moveTo>
                  <a:lnTo>
                    <a:pt x="83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2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close/>
                  <a:moveTo>
                    <a:pt x="212" y="170"/>
                  </a:moveTo>
                  <a:lnTo>
                    <a:pt x="212" y="170"/>
                  </a:lnTo>
                  <a:lnTo>
                    <a:pt x="212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2" y="170"/>
                  </a:lnTo>
                  <a:lnTo>
                    <a:pt x="212" y="169"/>
                  </a:lnTo>
                  <a:lnTo>
                    <a:pt x="212" y="168"/>
                  </a:lnTo>
                  <a:lnTo>
                    <a:pt x="212" y="168"/>
                  </a:lnTo>
                  <a:lnTo>
                    <a:pt x="212" y="169"/>
                  </a:lnTo>
                  <a:lnTo>
                    <a:pt x="212" y="170"/>
                  </a:lnTo>
                  <a:close/>
                  <a:moveTo>
                    <a:pt x="204" y="170"/>
                  </a:move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1"/>
                  </a:lnTo>
                  <a:lnTo>
                    <a:pt x="204" y="171"/>
                  </a:lnTo>
                  <a:lnTo>
                    <a:pt x="203" y="171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3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3" y="172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206" y="168"/>
                  </a:moveTo>
                  <a:lnTo>
                    <a:pt x="207" y="168"/>
                  </a:lnTo>
                  <a:lnTo>
                    <a:pt x="207" y="168"/>
                  </a:lnTo>
                  <a:lnTo>
                    <a:pt x="206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9"/>
                  </a:lnTo>
                  <a:lnTo>
                    <a:pt x="208" y="168"/>
                  </a:lnTo>
                  <a:lnTo>
                    <a:pt x="208" y="169"/>
                  </a:lnTo>
                  <a:lnTo>
                    <a:pt x="208" y="170"/>
                  </a:lnTo>
                  <a:lnTo>
                    <a:pt x="207" y="170"/>
                  </a:lnTo>
                  <a:lnTo>
                    <a:pt x="207" y="170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5" y="170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5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5" y="167"/>
                  </a:lnTo>
                  <a:lnTo>
                    <a:pt x="206" y="167"/>
                  </a:lnTo>
                  <a:lnTo>
                    <a:pt x="206" y="167"/>
                  </a:lnTo>
                  <a:lnTo>
                    <a:pt x="207" y="167"/>
                  </a:lnTo>
                  <a:lnTo>
                    <a:pt x="207" y="167"/>
                  </a:lnTo>
                  <a:lnTo>
                    <a:pt x="206" y="167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5" y="169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6" y="168"/>
                  </a:lnTo>
                  <a:lnTo>
                    <a:pt x="206" y="168"/>
                  </a:lnTo>
                  <a:close/>
                  <a:moveTo>
                    <a:pt x="769" y="164"/>
                  </a:moveTo>
                  <a:lnTo>
                    <a:pt x="769" y="164"/>
                  </a:lnTo>
                  <a:lnTo>
                    <a:pt x="769" y="164"/>
                  </a:lnTo>
                  <a:close/>
                  <a:moveTo>
                    <a:pt x="741" y="163"/>
                  </a:moveTo>
                  <a:lnTo>
                    <a:pt x="742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close/>
                  <a:moveTo>
                    <a:pt x="207" y="164"/>
                  </a:moveTo>
                  <a:lnTo>
                    <a:pt x="207" y="165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5" y="165"/>
                  </a:lnTo>
                  <a:lnTo>
                    <a:pt x="204" y="165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6" y="164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7" y="164"/>
                  </a:lnTo>
                  <a:lnTo>
                    <a:pt x="207" y="164"/>
                  </a:lnTo>
                  <a:lnTo>
                    <a:pt x="207" y="164"/>
                  </a:lnTo>
                  <a:close/>
                  <a:moveTo>
                    <a:pt x="733" y="164"/>
                  </a:move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7" y="163"/>
                  </a:lnTo>
                  <a:lnTo>
                    <a:pt x="737" y="163"/>
                  </a:lnTo>
                  <a:lnTo>
                    <a:pt x="737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5" y="164"/>
                  </a:lnTo>
                  <a:lnTo>
                    <a:pt x="735" y="164"/>
                  </a:lnTo>
                  <a:lnTo>
                    <a:pt x="735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3" y="165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5" y="165"/>
                  </a:lnTo>
                  <a:lnTo>
                    <a:pt x="735" y="165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7"/>
                  </a:lnTo>
                  <a:lnTo>
                    <a:pt x="734" y="166"/>
                  </a:lnTo>
                  <a:lnTo>
                    <a:pt x="734" y="167"/>
                  </a:lnTo>
                  <a:lnTo>
                    <a:pt x="733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5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1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3" y="164"/>
                  </a:lnTo>
                  <a:close/>
                  <a:moveTo>
                    <a:pt x="584" y="160"/>
                  </a:move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close/>
                  <a:moveTo>
                    <a:pt x="742" y="160"/>
                  </a:move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3" y="160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2" y="161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7" y="164"/>
                  </a:lnTo>
                  <a:lnTo>
                    <a:pt x="737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9" y="161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close/>
                  <a:moveTo>
                    <a:pt x="750" y="157"/>
                  </a:move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8" y="160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7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6" y="161"/>
                  </a:lnTo>
                  <a:lnTo>
                    <a:pt x="745" y="161"/>
                  </a:lnTo>
                  <a:lnTo>
                    <a:pt x="746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7" y="161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8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8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4" y="163"/>
                  </a:lnTo>
                  <a:lnTo>
                    <a:pt x="744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3" y="163"/>
                  </a:lnTo>
                  <a:lnTo>
                    <a:pt x="742" y="163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1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3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1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9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7" y="158"/>
                  </a:lnTo>
                  <a:lnTo>
                    <a:pt x="747" y="157"/>
                  </a:lnTo>
                  <a:lnTo>
                    <a:pt x="748" y="157"/>
                  </a:lnTo>
                  <a:lnTo>
                    <a:pt x="749" y="157"/>
                  </a:lnTo>
                  <a:lnTo>
                    <a:pt x="749" y="158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50" y="157"/>
                  </a:lnTo>
                  <a:lnTo>
                    <a:pt x="750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close/>
                  <a:moveTo>
                    <a:pt x="751" y="156"/>
                  </a:moveTo>
                  <a:lnTo>
                    <a:pt x="752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3" y="155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2" y="156"/>
                  </a:lnTo>
                  <a:lnTo>
                    <a:pt x="751" y="156"/>
                  </a:lnTo>
                  <a:close/>
                  <a:moveTo>
                    <a:pt x="623" y="155"/>
                  </a:moveTo>
                  <a:lnTo>
                    <a:pt x="623" y="155"/>
                  </a:lnTo>
                  <a:lnTo>
                    <a:pt x="624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close/>
                  <a:moveTo>
                    <a:pt x="753" y="155"/>
                  </a:moveTo>
                  <a:lnTo>
                    <a:pt x="754" y="155"/>
                  </a:lnTo>
                  <a:lnTo>
                    <a:pt x="754" y="155"/>
                  </a:lnTo>
                  <a:lnTo>
                    <a:pt x="754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close/>
                  <a:moveTo>
                    <a:pt x="750" y="154"/>
                  </a:moveTo>
                  <a:lnTo>
                    <a:pt x="750" y="154"/>
                  </a:lnTo>
                  <a:lnTo>
                    <a:pt x="750" y="154"/>
                  </a:lnTo>
                  <a:close/>
                  <a:moveTo>
                    <a:pt x="743" y="157"/>
                  </a:moveTo>
                  <a:lnTo>
                    <a:pt x="743" y="158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4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8"/>
                  </a:lnTo>
                  <a:lnTo>
                    <a:pt x="743" y="157"/>
                  </a:lnTo>
                  <a:lnTo>
                    <a:pt x="742" y="157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1" y="158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3" y="157"/>
                  </a:lnTo>
                  <a:lnTo>
                    <a:pt x="743" y="156"/>
                  </a:lnTo>
                  <a:lnTo>
                    <a:pt x="744" y="156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6"/>
                  </a:lnTo>
                  <a:lnTo>
                    <a:pt x="744" y="156"/>
                  </a:lnTo>
                  <a:lnTo>
                    <a:pt x="745" y="156"/>
                  </a:lnTo>
                  <a:lnTo>
                    <a:pt x="745" y="156"/>
                  </a:lnTo>
                  <a:lnTo>
                    <a:pt x="746" y="156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8" y="155"/>
                  </a:lnTo>
                  <a:lnTo>
                    <a:pt x="749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49" y="155"/>
                  </a:lnTo>
                  <a:lnTo>
                    <a:pt x="749" y="155"/>
                  </a:lnTo>
                  <a:lnTo>
                    <a:pt x="749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7"/>
                  </a:lnTo>
                  <a:lnTo>
                    <a:pt x="748" y="157"/>
                  </a:lnTo>
                  <a:lnTo>
                    <a:pt x="747" y="157"/>
                  </a:lnTo>
                  <a:lnTo>
                    <a:pt x="747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5" y="158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59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2" y="157"/>
                  </a:lnTo>
                  <a:lnTo>
                    <a:pt x="743" y="157"/>
                  </a:lnTo>
                  <a:close/>
                  <a:moveTo>
                    <a:pt x="643" y="154"/>
                  </a:moveTo>
                  <a:lnTo>
                    <a:pt x="643" y="154"/>
                  </a:lnTo>
                  <a:lnTo>
                    <a:pt x="643" y="154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3"/>
                  </a:lnTo>
                  <a:lnTo>
                    <a:pt x="644" y="153"/>
                  </a:lnTo>
                  <a:lnTo>
                    <a:pt x="645" y="153"/>
                  </a:lnTo>
                  <a:lnTo>
                    <a:pt x="645" y="152"/>
                  </a:lnTo>
                  <a:lnTo>
                    <a:pt x="646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3"/>
                  </a:lnTo>
                  <a:lnTo>
                    <a:pt x="648" y="153"/>
                  </a:lnTo>
                  <a:lnTo>
                    <a:pt x="648" y="152"/>
                  </a:lnTo>
                  <a:lnTo>
                    <a:pt x="648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4"/>
                  </a:lnTo>
                  <a:lnTo>
                    <a:pt x="649" y="155"/>
                  </a:lnTo>
                  <a:lnTo>
                    <a:pt x="648" y="155"/>
                  </a:lnTo>
                  <a:lnTo>
                    <a:pt x="648" y="155"/>
                  </a:lnTo>
                  <a:lnTo>
                    <a:pt x="647" y="155"/>
                  </a:lnTo>
                  <a:lnTo>
                    <a:pt x="647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2" y="154"/>
                  </a:lnTo>
                  <a:lnTo>
                    <a:pt x="642" y="154"/>
                  </a:lnTo>
                  <a:lnTo>
                    <a:pt x="641" y="154"/>
                  </a:lnTo>
                  <a:lnTo>
                    <a:pt x="641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4"/>
                  </a:lnTo>
                  <a:close/>
                  <a:moveTo>
                    <a:pt x="624" y="155"/>
                  </a:moveTo>
                  <a:lnTo>
                    <a:pt x="625" y="155"/>
                  </a:lnTo>
                  <a:lnTo>
                    <a:pt x="625" y="156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3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4"/>
                  </a:lnTo>
                  <a:lnTo>
                    <a:pt x="630" y="154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6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4"/>
                  </a:lnTo>
                  <a:lnTo>
                    <a:pt x="630" y="154"/>
                  </a:lnTo>
                  <a:lnTo>
                    <a:pt x="629" y="154"/>
                  </a:lnTo>
                  <a:lnTo>
                    <a:pt x="629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1" y="152"/>
                  </a:lnTo>
                  <a:lnTo>
                    <a:pt x="631" y="152"/>
                  </a:lnTo>
                  <a:lnTo>
                    <a:pt x="632" y="152"/>
                  </a:lnTo>
                  <a:lnTo>
                    <a:pt x="632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5" y="153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2"/>
                  </a:lnTo>
                  <a:lnTo>
                    <a:pt x="637" y="152"/>
                  </a:lnTo>
                  <a:lnTo>
                    <a:pt x="637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2"/>
                  </a:lnTo>
                  <a:lnTo>
                    <a:pt x="637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5" y="155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5" y="154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4" y="155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5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8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4" y="156"/>
                  </a:lnTo>
                  <a:lnTo>
                    <a:pt x="624" y="155"/>
                  </a:lnTo>
                  <a:close/>
                  <a:moveTo>
                    <a:pt x="746" y="152"/>
                  </a:move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4"/>
                  </a:lnTo>
                  <a:lnTo>
                    <a:pt x="745" y="153"/>
                  </a:lnTo>
                  <a:lnTo>
                    <a:pt x="745" y="154"/>
                  </a:lnTo>
                  <a:lnTo>
                    <a:pt x="744" y="154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6" y="152"/>
                  </a:lnTo>
                  <a:lnTo>
                    <a:pt x="746" y="152"/>
                  </a:lnTo>
                  <a:close/>
                  <a:moveTo>
                    <a:pt x="376" y="140"/>
                  </a:moveTo>
                  <a:lnTo>
                    <a:pt x="377" y="139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7" y="139"/>
                  </a:lnTo>
                  <a:lnTo>
                    <a:pt x="378" y="139"/>
                  </a:lnTo>
                  <a:lnTo>
                    <a:pt x="378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6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4" y="140"/>
                  </a:lnTo>
                  <a:lnTo>
                    <a:pt x="374" y="141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3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6" y="140"/>
                  </a:lnTo>
                  <a:close/>
                  <a:moveTo>
                    <a:pt x="504" y="130"/>
                  </a:moveTo>
                  <a:lnTo>
                    <a:pt x="504" y="130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4" y="130"/>
                  </a:lnTo>
                  <a:close/>
                  <a:moveTo>
                    <a:pt x="503" y="130"/>
                  </a:moveTo>
                  <a:lnTo>
                    <a:pt x="504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1"/>
                  </a:lnTo>
                  <a:lnTo>
                    <a:pt x="507" y="131"/>
                  </a:lnTo>
                  <a:lnTo>
                    <a:pt x="506" y="131"/>
                  </a:lnTo>
                  <a:lnTo>
                    <a:pt x="505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3" y="131"/>
                  </a:lnTo>
                  <a:lnTo>
                    <a:pt x="502" y="131"/>
                  </a:lnTo>
                  <a:lnTo>
                    <a:pt x="502" y="131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29"/>
                  </a:lnTo>
                  <a:lnTo>
                    <a:pt x="503" y="129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29"/>
                  </a:lnTo>
                  <a:lnTo>
                    <a:pt x="504" y="130"/>
                  </a:lnTo>
                  <a:lnTo>
                    <a:pt x="503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3" y="130"/>
                  </a:lnTo>
                  <a:close/>
                  <a:moveTo>
                    <a:pt x="501" y="129"/>
                  </a:move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2" y="129"/>
                  </a:lnTo>
                  <a:lnTo>
                    <a:pt x="502" y="130"/>
                  </a:lnTo>
                  <a:lnTo>
                    <a:pt x="501" y="130"/>
                  </a:lnTo>
                  <a:lnTo>
                    <a:pt x="501" y="130"/>
                  </a:lnTo>
                  <a:lnTo>
                    <a:pt x="501" y="129"/>
                  </a:lnTo>
                  <a:close/>
                  <a:moveTo>
                    <a:pt x="449" y="125"/>
                  </a:moveTo>
                  <a:lnTo>
                    <a:pt x="449" y="125"/>
                  </a:lnTo>
                  <a:lnTo>
                    <a:pt x="449" y="125"/>
                  </a:lnTo>
                  <a:close/>
                  <a:moveTo>
                    <a:pt x="465" y="122"/>
                  </a:move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5" y="122"/>
                  </a:lnTo>
                  <a:close/>
                  <a:moveTo>
                    <a:pt x="674" y="121"/>
                  </a:moveTo>
                  <a:lnTo>
                    <a:pt x="673" y="121"/>
                  </a:lnTo>
                  <a:lnTo>
                    <a:pt x="674" y="121"/>
                  </a:lnTo>
                  <a:close/>
                  <a:moveTo>
                    <a:pt x="434" y="119"/>
                  </a:moveTo>
                  <a:lnTo>
                    <a:pt x="434" y="118"/>
                  </a:lnTo>
                  <a:lnTo>
                    <a:pt x="434" y="119"/>
                  </a:lnTo>
                  <a:close/>
                  <a:moveTo>
                    <a:pt x="663" y="102"/>
                  </a:moveTo>
                  <a:lnTo>
                    <a:pt x="664" y="102"/>
                  </a:lnTo>
                  <a:lnTo>
                    <a:pt x="663" y="102"/>
                  </a:lnTo>
                  <a:close/>
                  <a:moveTo>
                    <a:pt x="701" y="101"/>
                  </a:moveTo>
                  <a:lnTo>
                    <a:pt x="701" y="100"/>
                  </a:lnTo>
                  <a:lnTo>
                    <a:pt x="701" y="101"/>
                  </a:lnTo>
                  <a:close/>
                  <a:moveTo>
                    <a:pt x="389" y="97"/>
                  </a:moveTo>
                  <a:lnTo>
                    <a:pt x="389" y="96"/>
                  </a:lnTo>
                  <a:lnTo>
                    <a:pt x="390" y="96"/>
                  </a:lnTo>
                  <a:lnTo>
                    <a:pt x="390" y="97"/>
                  </a:lnTo>
                  <a:lnTo>
                    <a:pt x="389" y="97"/>
                  </a:lnTo>
                  <a:close/>
                  <a:moveTo>
                    <a:pt x="341" y="89"/>
                  </a:move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close/>
                  <a:moveTo>
                    <a:pt x="677" y="85"/>
                  </a:moveTo>
                  <a:lnTo>
                    <a:pt x="676" y="85"/>
                  </a:lnTo>
                  <a:lnTo>
                    <a:pt x="677" y="85"/>
                  </a:lnTo>
                  <a:close/>
                  <a:moveTo>
                    <a:pt x="362" y="64"/>
                  </a:move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close/>
                  <a:moveTo>
                    <a:pt x="383" y="60"/>
                  </a:moveTo>
                  <a:lnTo>
                    <a:pt x="382" y="60"/>
                  </a:lnTo>
                  <a:lnTo>
                    <a:pt x="383" y="60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8" y="61"/>
                  </a:lnTo>
                  <a:lnTo>
                    <a:pt x="388" y="61"/>
                  </a:lnTo>
                  <a:lnTo>
                    <a:pt x="389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3"/>
                  </a:lnTo>
                  <a:lnTo>
                    <a:pt x="392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2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7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7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89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8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7" y="67"/>
                  </a:lnTo>
                  <a:lnTo>
                    <a:pt x="386" y="67"/>
                  </a:lnTo>
                  <a:lnTo>
                    <a:pt x="386" y="67"/>
                  </a:lnTo>
                  <a:lnTo>
                    <a:pt x="385" y="67"/>
                  </a:lnTo>
                  <a:lnTo>
                    <a:pt x="385" y="67"/>
                  </a:lnTo>
                  <a:lnTo>
                    <a:pt x="384" y="67"/>
                  </a:lnTo>
                  <a:lnTo>
                    <a:pt x="383" y="68"/>
                  </a:lnTo>
                  <a:lnTo>
                    <a:pt x="383" y="67"/>
                  </a:lnTo>
                  <a:lnTo>
                    <a:pt x="382" y="67"/>
                  </a:lnTo>
                  <a:lnTo>
                    <a:pt x="382" y="67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0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8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7" y="69"/>
                  </a:lnTo>
                  <a:lnTo>
                    <a:pt x="377" y="68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8" y="70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80" y="71"/>
                  </a:lnTo>
                  <a:lnTo>
                    <a:pt x="379" y="72"/>
                  </a:lnTo>
                  <a:lnTo>
                    <a:pt x="380" y="72"/>
                  </a:lnTo>
                  <a:lnTo>
                    <a:pt x="380" y="72"/>
                  </a:lnTo>
                  <a:lnTo>
                    <a:pt x="381" y="72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1" y="74"/>
                  </a:lnTo>
                  <a:lnTo>
                    <a:pt x="380" y="74"/>
                  </a:lnTo>
                  <a:lnTo>
                    <a:pt x="381" y="74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2"/>
                  </a:lnTo>
                  <a:lnTo>
                    <a:pt x="381" y="72"/>
                  </a:lnTo>
                  <a:lnTo>
                    <a:pt x="380" y="72"/>
                  </a:lnTo>
                  <a:lnTo>
                    <a:pt x="380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8" y="69"/>
                  </a:lnTo>
                  <a:lnTo>
                    <a:pt x="378" y="69"/>
                  </a:lnTo>
                  <a:lnTo>
                    <a:pt x="379" y="69"/>
                  </a:lnTo>
                  <a:lnTo>
                    <a:pt x="379" y="69"/>
                  </a:lnTo>
                  <a:lnTo>
                    <a:pt x="380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2" y="69"/>
                  </a:lnTo>
                  <a:lnTo>
                    <a:pt x="382" y="68"/>
                  </a:lnTo>
                  <a:lnTo>
                    <a:pt x="382" y="68"/>
                  </a:lnTo>
                  <a:lnTo>
                    <a:pt x="382" y="69"/>
                  </a:lnTo>
                  <a:lnTo>
                    <a:pt x="383" y="68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3" y="69"/>
                  </a:lnTo>
                  <a:lnTo>
                    <a:pt x="384" y="69"/>
                  </a:lnTo>
                  <a:lnTo>
                    <a:pt x="385" y="69"/>
                  </a:lnTo>
                  <a:lnTo>
                    <a:pt x="385" y="69"/>
                  </a:lnTo>
                  <a:lnTo>
                    <a:pt x="386" y="69"/>
                  </a:lnTo>
                  <a:lnTo>
                    <a:pt x="386" y="68"/>
                  </a:lnTo>
                  <a:lnTo>
                    <a:pt x="386" y="69"/>
                  </a:lnTo>
                  <a:lnTo>
                    <a:pt x="386" y="69"/>
                  </a:lnTo>
                  <a:lnTo>
                    <a:pt x="387" y="69"/>
                  </a:lnTo>
                  <a:lnTo>
                    <a:pt x="388" y="69"/>
                  </a:lnTo>
                  <a:lnTo>
                    <a:pt x="388" y="69"/>
                  </a:lnTo>
                  <a:lnTo>
                    <a:pt x="389" y="69"/>
                  </a:lnTo>
                  <a:lnTo>
                    <a:pt x="389" y="68"/>
                  </a:lnTo>
                  <a:lnTo>
                    <a:pt x="389" y="68"/>
                  </a:lnTo>
                  <a:lnTo>
                    <a:pt x="390" y="68"/>
                  </a:lnTo>
                  <a:lnTo>
                    <a:pt x="390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0" y="69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89" y="70"/>
                  </a:lnTo>
                  <a:lnTo>
                    <a:pt x="389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7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90" y="71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91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69"/>
                  </a:lnTo>
                  <a:lnTo>
                    <a:pt x="394" y="69"/>
                  </a:lnTo>
                  <a:lnTo>
                    <a:pt x="394" y="69"/>
                  </a:lnTo>
                  <a:lnTo>
                    <a:pt x="394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2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4" y="71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1" y="72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2" y="73"/>
                  </a:lnTo>
                  <a:lnTo>
                    <a:pt x="401" y="73"/>
                  </a:lnTo>
                  <a:lnTo>
                    <a:pt x="401" y="73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0" y="74"/>
                  </a:lnTo>
                  <a:lnTo>
                    <a:pt x="400" y="75"/>
                  </a:lnTo>
                  <a:lnTo>
                    <a:pt x="399" y="75"/>
                  </a:lnTo>
                  <a:lnTo>
                    <a:pt x="399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9" y="75"/>
                  </a:lnTo>
                  <a:lnTo>
                    <a:pt x="398" y="75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7"/>
                  </a:lnTo>
                  <a:lnTo>
                    <a:pt x="397" y="77"/>
                  </a:lnTo>
                  <a:lnTo>
                    <a:pt x="397" y="77"/>
                  </a:lnTo>
                  <a:lnTo>
                    <a:pt x="397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7"/>
                  </a:lnTo>
                  <a:lnTo>
                    <a:pt x="396" y="78"/>
                  </a:lnTo>
                  <a:lnTo>
                    <a:pt x="396" y="78"/>
                  </a:lnTo>
                  <a:lnTo>
                    <a:pt x="397" y="78"/>
                  </a:lnTo>
                  <a:lnTo>
                    <a:pt x="397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9"/>
                  </a:lnTo>
                  <a:lnTo>
                    <a:pt x="399" y="79"/>
                  </a:lnTo>
                  <a:lnTo>
                    <a:pt x="399" y="78"/>
                  </a:lnTo>
                  <a:lnTo>
                    <a:pt x="399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2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3" y="78"/>
                  </a:lnTo>
                  <a:lnTo>
                    <a:pt x="404" y="78"/>
                  </a:lnTo>
                  <a:lnTo>
                    <a:pt x="404" y="78"/>
                  </a:lnTo>
                  <a:lnTo>
                    <a:pt x="405" y="78"/>
                  </a:lnTo>
                  <a:lnTo>
                    <a:pt x="405" y="78"/>
                  </a:lnTo>
                  <a:lnTo>
                    <a:pt x="406" y="78"/>
                  </a:lnTo>
                  <a:lnTo>
                    <a:pt x="407" y="78"/>
                  </a:lnTo>
                  <a:lnTo>
                    <a:pt x="407" y="78"/>
                  </a:lnTo>
                  <a:lnTo>
                    <a:pt x="408" y="77"/>
                  </a:lnTo>
                  <a:lnTo>
                    <a:pt x="408" y="77"/>
                  </a:lnTo>
                  <a:lnTo>
                    <a:pt x="408" y="76"/>
                  </a:lnTo>
                  <a:lnTo>
                    <a:pt x="408" y="76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8" y="76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4"/>
                  </a:lnTo>
                  <a:lnTo>
                    <a:pt x="408" y="74"/>
                  </a:lnTo>
                  <a:lnTo>
                    <a:pt x="409" y="74"/>
                  </a:lnTo>
                  <a:lnTo>
                    <a:pt x="409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5"/>
                  </a:lnTo>
                  <a:lnTo>
                    <a:pt x="410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2" y="76"/>
                  </a:lnTo>
                  <a:lnTo>
                    <a:pt x="411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3" y="75"/>
                  </a:lnTo>
                  <a:lnTo>
                    <a:pt x="414" y="75"/>
                  </a:lnTo>
                  <a:lnTo>
                    <a:pt x="415" y="75"/>
                  </a:lnTo>
                  <a:lnTo>
                    <a:pt x="415" y="75"/>
                  </a:lnTo>
                  <a:lnTo>
                    <a:pt x="416" y="75"/>
                  </a:lnTo>
                  <a:lnTo>
                    <a:pt x="416" y="75"/>
                  </a:lnTo>
                  <a:lnTo>
                    <a:pt x="417" y="75"/>
                  </a:lnTo>
                  <a:lnTo>
                    <a:pt x="418" y="74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8" y="75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19" y="74"/>
                  </a:lnTo>
                  <a:lnTo>
                    <a:pt x="420" y="74"/>
                  </a:lnTo>
                  <a:lnTo>
                    <a:pt x="420" y="74"/>
                  </a:lnTo>
                  <a:lnTo>
                    <a:pt x="421" y="74"/>
                  </a:lnTo>
                  <a:lnTo>
                    <a:pt x="422" y="74"/>
                  </a:lnTo>
                  <a:lnTo>
                    <a:pt x="422" y="75"/>
                  </a:lnTo>
                  <a:lnTo>
                    <a:pt x="422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5" y="75"/>
                  </a:lnTo>
                  <a:lnTo>
                    <a:pt x="426" y="75"/>
                  </a:lnTo>
                  <a:lnTo>
                    <a:pt x="426" y="75"/>
                  </a:lnTo>
                  <a:lnTo>
                    <a:pt x="427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9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1" y="75"/>
                  </a:lnTo>
                  <a:lnTo>
                    <a:pt x="431" y="75"/>
                  </a:lnTo>
                  <a:lnTo>
                    <a:pt x="432" y="75"/>
                  </a:lnTo>
                  <a:lnTo>
                    <a:pt x="433" y="74"/>
                  </a:lnTo>
                  <a:lnTo>
                    <a:pt x="432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2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29" y="77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9" y="79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7"/>
                  </a:lnTo>
                  <a:lnTo>
                    <a:pt x="430" y="77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2" y="76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6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6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8"/>
                  </a:lnTo>
                  <a:lnTo>
                    <a:pt x="436" y="78"/>
                  </a:lnTo>
                  <a:lnTo>
                    <a:pt x="435" y="78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8" y="76"/>
                  </a:lnTo>
                  <a:lnTo>
                    <a:pt x="438" y="76"/>
                  </a:lnTo>
                  <a:lnTo>
                    <a:pt x="439" y="76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40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2" y="78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1" y="80"/>
                  </a:lnTo>
                  <a:lnTo>
                    <a:pt x="440" y="80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1"/>
                  </a:lnTo>
                  <a:lnTo>
                    <a:pt x="440" y="80"/>
                  </a:lnTo>
                  <a:lnTo>
                    <a:pt x="441" y="80"/>
                  </a:lnTo>
                  <a:lnTo>
                    <a:pt x="441" y="80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3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44" y="80"/>
                  </a:lnTo>
                  <a:lnTo>
                    <a:pt x="445" y="80"/>
                  </a:lnTo>
                  <a:lnTo>
                    <a:pt x="445" y="80"/>
                  </a:lnTo>
                  <a:lnTo>
                    <a:pt x="445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7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3"/>
                  </a:lnTo>
                  <a:lnTo>
                    <a:pt x="446" y="82"/>
                  </a:lnTo>
                  <a:lnTo>
                    <a:pt x="445" y="82"/>
                  </a:lnTo>
                  <a:lnTo>
                    <a:pt x="445" y="82"/>
                  </a:lnTo>
                  <a:lnTo>
                    <a:pt x="444" y="82"/>
                  </a:lnTo>
                  <a:lnTo>
                    <a:pt x="445" y="82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7" y="83"/>
                  </a:lnTo>
                  <a:lnTo>
                    <a:pt x="448" y="84"/>
                  </a:lnTo>
                  <a:lnTo>
                    <a:pt x="447" y="84"/>
                  </a:lnTo>
                  <a:lnTo>
                    <a:pt x="448" y="85"/>
                  </a:lnTo>
                  <a:lnTo>
                    <a:pt x="447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7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9" y="85"/>
                  </a:lnTo>
                  <a:lnTo>
                    <a:pt x="449" y="84"/>
                  </a:lnTo>
                  <a:lnTo>
                    <a:pt x="448" y="84"/>
                  </a:lnTo>
                  <a:lnTo>
                    <a:pt x="449" y="84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4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1" y="84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48" y="83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2" y="83"/>
                  </a:lnTo>
                  <a:lnTo>
                    <a:pt x="452" y="82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52" y="84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3" y="85"/>
                  </a:lnTo>
                  <a:lnTo>
                    <a:pt x="453" y="86"/>
                  </a:lnTo>
                  <a:lnTo>
                    <a:pt x="453" y="86"/>
                  </a:lnTo>
                  <a:lnTo>
                    <a:pt x="453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2" y="88"/>
                  </a:lnTo>
                  <a:lnTo>
                    <a:pt x="452" y="89"/>
                  </a:lnTo>
                  <a:lnTo>
                    <a:pt x="452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8"/>
                  </a:lnTo>
                  <a:lnTo>
                    <a:pt x="456" y="89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4" y="92"/>
                  </a:lnTo>
                  <a:lnTo>
                    <a:pt x="454" y="92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1"/>
                  </a:lnTo>
                  <a:lnTo>
                    <a:pt x="452" y="91"/>
                  </a:lnTo>
                  <a:lnTo>
                    <a:pt x="452" y="91"/>
                  </a:lnTo>
                  <a:lnTo>
                    <a:pt x="451" y="91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49" y="91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8" y="90"/>
                  </a:lnTo>
                  <a:lnTo>
                    <a:pt x="448" y="90"/>
                  </a:lnTo>
                  <a:lnTo>
                    <a:pt x="447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5" y="89"/>
                  </a:lnTo>
                  <a:lnTo>
                    <a:pt x="445" y="89"/>
                  </a:lnTo>
                  <a:lnTo>
                    <a:pt x="445" y="88"/>
                  </a:lnTo>
                  <a:lnTo>
                    <a:pt x="444" y="88"/>
                  </a:lnTo>
                  <a:lnTo>
                    <a:pt x="444" y="88"/>
                  </a:lnTo>
                  <a:lnTo>
                    <a:pt x="443" y="88"/>
                  </a:lnTo>
                  <a:lnTo>
                    <a:pt x="442" y="88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8"/>
                  </a:lnTo>
                  <a:lnTo>
                    <a:pt x="443" y="88"/>
                  </a:lnTo>
                  <a:lnTo>
                    <a:pt x="443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5" y="89"/>
                  </a:lnTo>
                  <a:lnTo>
                    <a:pt x="446" y="89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7" y="90"/>
                  </a:lnTo>
                  <a:lnTo>
                    <a:pt x="447" y="90"/>
                  </a:lnTo>
                  <a:lnTo>
                    <a:pt x="448" y="90"/>
                  </a:lnTo>
                  <a:lnTo>
                    <a:pt x="447" y="90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7" y="92"/>
                  </a:lnTo>
                  <a:lnTo>
                    <a:pt x="446" y="92"/>
                  </a:lnTo>
                  <a:lnTo>
                    <a:pt x="446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49" y="93"/>
                  </a:lnTo>
                  <a:lnTo>
                    <a:pt x="448" y="92"/>
                  </a:lnTo>
                  <a:lnTo>
                    <a:pt x="449" y="92"/>
                  </a:lnTo>
                  <a:lnTo>
                    <a:pt x="449" y="92"/>
                  </a:lnTo>
                  <a:lnTo>
                    <a:pt x="450" y="92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2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3"/>
                  </a:lnTo>
                  <a:lnTo>
                    <a:pt x="451" y="93"/>
                  </a:lnTo>
                  <a:lnTo>
                    <a:pt x="451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4"/>
                  </a:lnTo>
                  <a:lnTo>
                    <a:pt x="454" y="93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5" y="95"/>
                  </a:lnTo>
                  <a:lnTo>
                    <a:pt x="454" y="95"/>
                  </a:lnTo>
                  <a:lnTo>
                    <a:pt x="453" y="95"/>
                  </a:lnTo>
                  <a:lnTo>
                    <a:pt x="453" y="95"/>
                  </a:lnTo>
                  <a:lnTo>
                    <a:pt x="452" y="95"/>
                  </a:lnTo>
                  <a:lnTo>
                    <a:pt x="453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1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7" y="96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5" y="96"/>
                  </a:lnTo>
                  <a:lnTo>
                    <a:pt x="445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5" y="97"/>
                  </a:lnTo>
                  <a:lnTo>
                    <a:pt x="445" y="97"/>
                  </a:lnTo>
                  <a:lnTo>
                    <a:pt x="445" y="96"/>
                  </a:lnTo>
                  <a:lnTo>
                    <a:pt x="446" y="97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7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51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3" y="96"/>
                  </a:lnTo>
                  <a:lnTo>
                    <a:pt x="453" y="96"/>
                  </a:lnTo>
                  <a:lnTo>
                    <a:pt x="454" y="96"/>
                  </a:lnTo>
                  <a:lnTo>
                    <a:pt x="454" y="96"/>
                  </a:lnTo>
                  <a:lnTo>
                    <a:pt x="454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8"/>
                  </a:lnTo>
                  <a:lnTo>
                    <a:pt x="452" y="98"/>
                  </a:lnTo>
                  <a:lnTo>
                    <a:pt x="452" y="98"/>
                  </a:lnTo>
                  <a:lnTo>
                    <a:pt x="451" y="99"/>
                  </a:lnTo>
                  <a:lnTo>
                    <a:pt x="451" y="98"/>
                  </a:lnTo>
                  <a:lnTo>
                    <a:pt x="450" y="98"/>
                  </a:lnTo>
                  <a:lnTo>
                    <a:pt x="451" y="98"/>
                  </a:lnTo>
                  <a:lnTo>
                    <a:pt x="451" y="99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100"/>
                  </a:lnTo>
                  <a:lnTo>
                    <a:pt x="449" y="100"/>
                  </a:lnTo>
                  <a:lnTo>
                    <a:pt x="449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9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7" y="101"/>
                  </a:lnTo>
                  <a:lnTo>
                    <a:pt x="447" y="102"/>
                  </a:lnTo>
                  <a:lnTo>
                    <a:pt x="446" y="102"/>
                  </a:lnTo>
                  <a:lnTo>
                    <a:pt x="446" y="103"/>
                  </a:lnTo>
                  <a:lnTo>
                    <a:pt x="446" y="103"/>
                  </a:lnTo>
                  <a:lnTo>
                    <a:pt x="445" y="103"/>
                  </a:lnTo>
                  <a:lnTo>
                    <a:pt x="445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3" y="103"/>
                  </a:lnTo>
                  <a:lnTo>
                    <a:pt x="442" y="103"/>
                  </a:lnTo>
                  <a:lnTo>
                    <a:pt x="442" y="104"/>
                  </a:lnTo>
                  <a:lnTo>
                    <a:pt x="442" y="103"/>
                  </a:lnTo>
                  <a:lnTo>
                    <a:pt x="441" y="104"/>
                  </a:lnTo>
                  <a:lnTo>
                    <a:pt x="441" y="104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6"/>
                  </a:lnTo>
                  <a:lnTo>
                    <a:pt x="439" y="106"/>
                  </a:lnTo>
                  <a:lnTo>
                    <a:pt x="439" y="107"/>
                  </a:lnTo>
                  <a:lnTo>
                    <a:pt x="438" y="107"/>
                  </a:lnTo>
                  <a:lnTo>
                    <a:pt x="438" y="107"/>
                  </a:lnTo>
                  <a:lnTo>
                    <a:pt x="438" y="106"/>
                  </a:lnTo>
                  <a:lnTo>
                    <a:pt x="437" y="106"/>
                  </a:lnTo>
                  <a:lnTo>
                    <a:pt x="437" y="106"/>
                  </a:lnTo>
                  <a:lnTo>
                    <a:pt x="436" y="106"/>
                  </a:lnTo>
                  <a:lnTo>
                    <a:pt x="435" y="106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1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1" y="106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1" y="108"/>
                  </a:lnTo>
                  <a:lnTo>
                    <a:pt x="431" y="108"/>
                  </a:lnTo>
                  <a:lnTo>
                    <a:pt x="431" y="109"/>
                  </a:lnTo>
                  <a:lnTo>
                    <a:pt x="430" y="109"/>
                  </a:lnTo>
                  <a:lnTo>
                    <a:pt x="430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8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5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3" y="109"/>
                  </a:lnTo>
                  <a:lnTo>
                    <a:pt x="423" y="108"/>
                  </a:lnTo>
                  <a:lnTo>
                    <a:pt x="423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6"/>
                  </a:lnTo>
                  <a:lnTo>
                    <a:pt x="419" y="106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2"/>
                  </a:lnTo>
                  <a:lnTo>
                    <a:pt x="418" y="102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99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20" y="98"/>
                  </a:lnTo>
                  <a:lnTo>
                    <a:pt x="421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3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1" y="98"/>
                  </a:lnTo>
                  <a:lnTo>
                    <a:pt x="420" y="98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19" y="99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8" y="100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8" y="102"/>
                  </a:lnTo>
                  <a:lnTo>
                    <a:pt x="419" y="102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8" y="104"/>
                  </a:lnTo>
                  <a:lnTo>
                    <a:pt x="419" y="104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6"/>
                  </a:lnTo>
                  <a:lnTo>
                    <a:pt x="420" y="106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3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5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5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1" y="112"/>
                  </a:lnTo>
                  <a:lnTo>
                    <a:pt x="421" y="111"/>
                  </a:lnTo>
                  <a:lnTo>
                    <a:pt x="421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7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6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4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0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4" y="111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7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4" y="112"/>
                  </a:lnTo>
                  <a:lnTo>
                    <a:pt x="424" y="113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2" y="115"/>
                  </a:lnTo>
                  <a:lnTo>
                    <a:pt x="422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8" y="116"/>
                  </a:lnTo>
                  <a:lnTo>
                    <a:pt x="418" y="116"/>
                  </a:lnTo>
                  <a:lnTo>
                    <a:pt x="417" y="116"/>
                  </a:lnTo>
                  <a:lnTo>
                    <a:pt x="416" y="116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5" y="117"/>
                  </a:lnTo>
                  <a:lnTo>
                    <a:pt x="415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4" y="118"/>
                  </a:lnTo>
                  <a:lnTo>
                    <a:pt x="414" y="118"/>
                  </a:lnTo>
                  <a:lnTo>
                    <a:pt x="413" y="118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2" y="119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2" y="119"/>
                  </a:lnTo>
                  <a:lnTo>
                    <a:pt x="411" y="119"/>
                  </a:lnTo>
                  <a:lnTo>
                    <a:pt x="412" y="119"/>
                  </a:lnTo>
                  <a:lnTo>
                    <a:pt x="411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1" y="121"/>
                  </a:lnTo>
                  <a:lnTo>
                    <a:pt x="411" y="121"/>
                  </a:lnTo>
                  <a:lnTo>
                    <a:pt x="410" y="121"/>
                  </a:lnTo>
                  <a:lnTo>
                    <a:pt x="410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6" y="122"/>
                  </a:lnTo>
                  <a:lnTo>
                    <a:pt x="405" y="122"/>
                  </a:lnTo>
                  <a:lnTo>
                    <a:pt x="405" y="122"/>
                  </a:lnTo>
                  <a:lnTo>
                    <a:pt x="404" y="122"/>
                  </a:lnTo>
                  <a:lnTo>
                    <a:pt x="404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2"/>
                  </a:lnTo>
                  <a:lnTo>
                    <a:pt x="402" y="122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1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399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5" y="120"/>
                  </a:lnTo>
                  <a:lnTo>
                    <a:pt x="395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8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5" y="119"/>
                  </a:lnTo>
                  <a:lnTo>
                    <a:pt x="395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1" y="119"/>
                  </a:lnTo>
                  <a:lnTo>
                    <a:pt x="390" y="119"/>
                  </a:lnTo>
                  <a:lnTo>
                    <a:pt x="391" y="119"/>
                  </a:lnTo>
                  <a:lnTo>
                    <a:pt x="391" y="120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5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399" y="123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8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5" y="122"/>
                  </a:lnTo>
                  <a:lnTo>
                    <a:pt x="394" y="123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8" y="123"/>
                  </a:lnTo>
                  <a:lnTo>
                    <a:pt x="387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5" y="123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5"/>
                  </a:lnTo>
                  <a:lnTo>
                    <a:pt x="382" y="124"/>
                  </a:lnTo>
                  <a:lnTo>
                    <a:pt x="382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5"/>
                  </a:lnTo>
                  <a:lnTo>
                    <a:pt x="380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6" y="125"/>
                  </a:lnTo>
                  <a:lnTo>
                    <a:pt x="376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4" y="123"/>
                  </a:lnTo>
                  <a:lnTo>
                    <a:pt x="373" y="123"/>
                  </a:lnTo>
                  <a:lnTo>
                    <a:pt x="372" y="123"/>
                  </a:lnTo>
                  <a:lnTo>
                    <a:pt x="372" y="124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69" y="125"/>
                  </a:lnTo>
                  <a:lnTo>
                    <a:pt x="369" y="124"/>
                  </a:lnTo>
                  <a:lnTo>
                    <a:pt x="370" y="124"/>
                  </a:lnTo>
                  <a:lnTo>
                    <a:pt x="369" y="124"/>
                  </a:lnTo>
                  <a:lnTo>
                    <a:pt x="369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6" y="122"/>
                  </a:lnTo>
                  <a:lnTo>
                    <a:pt x="365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4" y="122"/>
                  </a:lnTo>
                  <a:lnTo>
                    <a:pt x="365" y="122"/>
                  </a:lnTo>
                  <a:lnTo>
                    <a:pt x="366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2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9" y="123"/>
                  </a:lnTo>
                  <a:lnTo>
                    <a:pt x="369" y="124"/>
                  </a:lnTo>
                  <a:lnTo>
                    <a:pt x="369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2" y="124"/>
                  </a:lnTo>
                  <a:lnTo>
                    <a:pt x="372" y="123"/>
                  </a:lnTo>
                  <a:lnTo>
                    <a:pt x="373" y="123"/>
                  </a:lnTo>
                  <a:lnTo>
                    <a:pt x="373" y="124"/>
                  </a:lnTo>
                  <a:lnTo>
                    <a:pt x="373" y="123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6" y="124"/>
                  </a:lnTo>
                  <a:lnTo>
                    <a:pt x="376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80" y="125"/>
                  </a:lnTo>
                  <a:lnTo>
                    <a:pt x="381" y="125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2" y="124"/>
                  </a:lnTo>
                  <a:lnTo>
                    <a:pt x="382" y="125"/>
                  </a:lnTo>
                  <a:lnTo>
                    <a:pt x="383" y="125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4" y="124"/>
                  </a:lnTo>
                  <a:lnTo>
                    <a:pt x="384" y="125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7" y="123"/>
                  </a:lnTo>
                  <a:lnTo>
                    <a:pt x="388" y="123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4" y="123"/>
                  </a:lnTo>
                  <a:lnTo>
                    <a:pt x="395" y="122"/>
                  </a:lnTo>
                  <a:lnTo>
                    <a:pt x="395" y="123"/>
                  </a:lnTo>
                  <a:lnTo>
                    <a:pt x="396" y="123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8" y="122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9" y="123"/>
                  </a:lnTo>
                  <a:lnTo>
                    <a:pt x="400" y="123"/>
                  </a:lnTo>
                  <a:lnTo>
                    <a:pt x="400" y="123"/>
                  </a:lnTo>
                  <a:lnTo>
                    <a:pt x="401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2" y="124"/>
                  </a:lnTo>
                  <a:lnTo>
                    <a:pt x="401" y="124"/>
                  </a:lnTo>
                  <a:lnTo>
                    <a:pt x="401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399" y="125"/>
                  </a:lnTo>
                  <a:lnTo>
                    <a:pt x="399" y="126"/>
                  </a:lnTo>
                  <a:lnTo>
                    <a:pt x="399" y="126"/>
                  </a:lnTo>
                  <a:lnTo>
                    <a:pt x="399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5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3" y="127"/>
                  </a:lnTo>
                  <a:lnTo>
                    <a:pt x="393" y="128"/>
                  </a:lnTo>
                  <a:lnTo>
                    <a:pt x="393" y="129"/>
                  </a:lnTo>
                  <a:lnTo>
                    <a:pt x="393" y="129"/>
                  </a:lnTo>
                  <a:lnTo>
                    <a:pt x="392" y="129"/>
                  </a:lnTo>
                  <a:lnTo>
                    <a:pt x="393" y="129"/>
                  </a:lnTo>
                  <a:lnTo>
                    <a:pt x="393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1"/>
                  </a:lnTo>
                  <a:lnTo>
                    <a:pt x="391" y="131"/>
                  </a:lnTo>
                  <a:lnTo>
                    <a:pt x="391" y="131"/>
                  </a:lnTo>
                  <a:lnTo>
                    <a:pt x="392" y="131"/>
                  </a:lnTo>
                  <a:lnTo>
                    <a:pt x="391" y="132"/>
                  </a:lnTo>
                  <a:lnTo>
                    <a:pt x="390" y="132"/>
                  </a:lnTo>
                  <a:lnTo>
                    <a:pt x="391" y="132"/>
                  </a:lnTo>
                  <a:lnTo>
                    <a:pt x="391" y="133"/>
                  </a:lnTo>
                  <a:lnTo>
                    <a:pt x="390" y="133"/>
                  </a:lnTo>
                  <a:lnTo>
                    <a:pt x="390" y="133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8" y="135"/>
                  </a:lnTo>
                  <a:lnTo>
                    <a:pt x="387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5" y="135"/>
                  </a:lnTo>
                  <a:lnTo>
                    <a:pt x="384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6"/>
                  </a:lnTo>
                  <a:lnTo>
                    <a:pt x="382" y="136"/>
                  </a:lnTo>
                  <a:lnTo>
                    <a:pt x="382" y="137"/>
                  </a:lnTo>
                  <a:lnTo>
                    <a:pt x="381" y="137"/>
                  </a:lnTo>
                  <a:lnTo>
                    <a:pt x="381" y="137"/>
                  </a:lnTo>
                  <a:lnTo>
                    <a:pt x="380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8"/>
                  </a:lnTo>
                  <a:lnTo>
                    <a:pt x="378" y="138"/>
                  </a:lnTo>
                  <a:lnTo>
                    <a:pt x="378" y="138"/>
                  </a:lnTo>
                  <a:lnTo>
                    <a:pt x="377" y="138"/>
                  </a:lnTo>
                  <a:lnTo>
                    <a:pt x="377" y="138"/>
                  </a:lnTo>
                  <a:lnTo>
                    <a:pt x="376" y="138"/>
                  </a:lnTo>
                  <a:lnTo>
                    <a:pt x="375" y="139"/>
                  </a:lnTo>
                  <a:lnTo>
                    <a:pt x="375" y="139"/>
                  </a:lnTo>
                  <a:lnTo>
                    <a:pt x="374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0" y="140"/>
                  </a:lnTo>
                  <a:lnTo>
                    <a:pt x="370" y="141"/>
                  </a:lnTo>
                  <a:lnTo>
                    <a:pt x="369" y="141"/>
                  </a:lnTo>
                  <a:lnTo>
                    <a:pt x="369" y="141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5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1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8" y="140"/>
                  </a:lnTo>
                  <a:lnTo>
                    <a:pt x="357" y="140"/>
                  </a:lnTo>
                  <a:lnTo>
                    <a:pt x="357" y="139"/>
                  </a:lnTo>
                  <a:lnTo>
                    <a:pt x="356" y="139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5" y="138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4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4" y="137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5" y="138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6" y="139"/>
                  </a:lnTo>
                  <a:lnTo>
                    <a:pt x="357" y="139"/>
                  </a:lnTo>
                  <a:lnTo>
                    <a:pt x="357" y="140"/>
                  </a:lnTo>
                  <a:lnTo>
                    <a:pt x="358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61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5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7" y="143"/>
                  </a:lnTo>
                  <a:lnTo>
                    <a:pt x="366" y="143"/>
                  </a:lnTo>
                  <a:lnTo>
                    <a:pt x="366" y="144"/>
                  </a:lnTo>
                  <a:lnTo>
                    <a:pt x="366" y="143"/>
                  </a:lnTo>
                  <a:lnTo>
                    <a:pt x="367" y="143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3"/>
                  </a:lnTo>
                  <a:lnTo>
                    <a:pt x="367" y="143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5" y="145"/>
                  </a:lnTo>
                  <a:lnTo>
                    <a:pt x="365" y="144"/>
                  </a:lnTo>
                  <a:lnTo>
                    <a:pt x="365" y="145"/>
                  </a:lnTo>
                  <a:lnTo>
                    <a:pt x="364" y="145"/>
                  </a:lnTo>
                  <a:lnTo>
                    <a:pt x="365" y="145"/>
                  </a:lnTo>
                  <a:lnTo>
                    <a:pt x="365" y="145"/>
                  </a:lnTo>
                  <a:lnTo>
                    <a:pt x="365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2" y="146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1" y="146"/>
                  </a:lnTo>
                  <a:lnTo>
                    <a:pt x="360" y="146"/>
                  </a:lnTo>
                  <a:lnTo>
                    <a:pt x="360" y="147"/>
                  </a:lnTo>
                  <a:lnTo>
                    <a:pt x="359" y="147"/>
                  </a:lnTo>
                  <a:lnTo>
                    <a:pt x="360" y="147"/>
                  </a:lnTo>
                  <a:lnTo>
                    <a:pt x="360" y="148"/>
                  </a:lnTo>
                  <a:lnTo>
                    <a:pt x="359" y="148"/>
                  </a:lnTo>
                  <a:lnTo>
                    <a:pt x="359" y="148"/>
                  </a:lnTo>
                  <a:lnTo>
                    <a:pt x="360" y="148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8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5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3" y="149"/>
                  </a:lnTo>
                  <a:lnTo>
                    <a:pt x="353" y="149"/>
                  </a:lnTo>
                  <a:lnTo>
                    <a:pt x="352" y="149"/>
                  </a:lnTo>
                  <a:lnTo>
                    <a:pt x="352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50"/>
                  </a:lnTo>
                  <a:lnTo>
                    <a:pt x="350" y="150"/>
                  </a:lnTo>
                  <a:lnTo>
                    <a:pt x="349" y="150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5" y="151"/>
                  </a:lnTo>
                  <a:lnTo>
                    <a:pt x="345" y="151"/>
                  </a:lnTo>
                  <a:lnTo>
                    <a:pt x="344" y="151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3" y="152"/>
                  </a:lnTo>
                  <a:lnTo>
                    <a:pt x="342" y="152"/>
                  </a:lnTo>
                  <a:lnTo>
                    <a:pt x="342" y="152"/>
                  </a:lnTo>
                  <a:lnTo>
                    <a:pt x="342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39" y="153"/>
                  </a:lnTo>
                  <a:lnTo>
                    <a:pt x="339" y="154"/>
                  </a:lnTo>
                  <a:lnTo>
                    <a:pt x="340" y="154"/>
                  </a:lnTo>
                  <a:lnTo>
                    <a:pt x="340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39" y="157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8"/>
                  </a:lnTo>
                  <a:lnTo>
                    <a:pt x="338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5" y="159"/>
                  </a:lnTo>
                  <a:lnTo>
                    <a:pt x="335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7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3"/>
                  </a:lnTo>
                  <a:lnTo>
                    <a:pt x="328" y="163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6" y="163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3"/>
                  </a:lnTo>
                  <a:lnTo>
                    <a:pt x="320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8" y="163"/>
                  </a:lnTo>
                  <a:lnTo>
                    <a:pt x="318" y="163"/>
                  </a:lnTo>
                  <a:lnTo>
                    <a:pt x="317" y="163"/>
                  </a:lnTo>
                  <a:lnTo>
                    <a:pt x="316" y="163"/>
                  </a:lnTo>
                  <a:lnTo>
                    <a:pt x="316" y="163"/>
                  </a:lnTo>
                  <a:lnTo>
                    <a:pt x="316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3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3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8"/>
                  </a:lnTo>
                  <a:lnTo>
                    <a:pt x="317" y="158"/>
                  </a:lnTo>
                  <a:lnTo>
                    <a:pt x="316" y="158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5" y="159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3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8" y="161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3" y="162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2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7" y="163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6" y="164"/>
                  </a:lnTo>
                  <a:lnTo>
                    <a:pt x="296" y="165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7" y="166"/>
                  </a:lnTo>
                  <a:lnTo>
                    <a:pt x="298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2" y="167"/>
                  </a:lnTo>
                  <a:lnTo>
                    <a:pt x="302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6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9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9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0" y="170"/>
                  </a:lnTo>
                  <a:lnTo>
                    <a:pt x="310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2"/>
                  </a:lnTo>
                  <a:lnTo>
                    <a:pt x="311" y="173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09" y="174"/>
                  </a:lnTo>
                  <a:lnTo>
                    <a:pt x="308" y="174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7" y="175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6" y="174"/>
                  </a:lnTo>
                  <a:lnTo>
                    <a:pt x="306" y="175"/>
                  </a:lnTo>
                  <a:lnTo>
                    <a:pt x="305" y="175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2" y="177"/>
                  </a:lnTo>
                  <a:lnTo>
                    <a:pt x="301" y="177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5" y="178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4" y="179"/>
                  </a:lnTo>
                  <a:lnTo>
                    <a:pt x="294" y="178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4" y="178"/>
                  </a:lnTo>
                  <a:lnTo>
                    <a:pt x="294" y="179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2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6" y="175"/>
                  </a:lnTo>
                  <a:lnTo>
                    <a:pt x="306" y="175"/>
                  </a:lnTo>
                  <a:lnTo>
                    <a:pt x="306" y="174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7" y="175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9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2" y="174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3" y="176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3" y="177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7" y="177"/>
                  </a:lnTo>
                  <a:lnTo>
                    <a:pt x="317" y="178"/>
                  </a:lnTo>
                  <a:lnTo>
                    <a:pt x="317" y="178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20" y="180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0" y="180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7" y="178"/>
                  </a:lnTo>
                  <a:lnTo>
                    <a:pt x="317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6"/>
                  </a:lnTo>
                  <a:lnTo>
                    <a:pt x="313" y="176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1" y="173"/>
                  </a:lnTo>
                  <a:lnTo>
                    <a:pt x="311" y="172"/>
                  </a:lnTo>
                  <a:lnTo>
                    <a:pt x="311" y="172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69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6" y="168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2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8" y="166"/>
                  </a:lnTo>
                  <a:lnTo>
                    <a:pt x="297" y="166"/>
                  </a:lnTo>
                  <a:lnTo>
                    <a:pt x="297" y="165"/>
                  </a:lnTo>
                  <a:lnTo>
                    <a:pt x="297" y="165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6" y="165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8" y="164"/>
                  </a:lnTo>
                  <a:lnTo>
                    <a:pt x="298" y="163"/>
                  </a:lnTo>
                  <a:lnTo>
                    <a:pt x="297" y="164"/>
                  </a:lnTo>
                  <a:lnTo>
                    <a:pt x="297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3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6" y="164"/>
                  </a:lnTo>
                  <a:lnTo>
                    <a:pt x="316" y="164"/>
                  </a:lnTo>
                  <a:lnTo>
                    <a:pt x="317" y="164"/>
                  </a:lnTo>
                  <a:lnTo>
                    <a:pt x="318" y="163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5" y="164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5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4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7" y="164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8" y="163"/>
                  </a:lnTo>
                  <a:lnTo>
                    <a:pt x="329" y="163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1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60"/>
                  </a:lnTo>
                  <a:lnTo>
                    <a:pt x="335" y="160"/>
                  </a:lnTo>
                  <a:lnTo>
                    <a:pt x="335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8" y="159"/>
                  </a:lnTo>
                  <a:lnTo>
                    <a:pt x="338" y="158"/>
                  </a:lnTo>
                  <a:lnTo>
                    <a:pt x="339" y="157"/>
                  </a:lnTo>
                  <a:lnTo>
                    <a:pt x="339" y="157"/>
                  </a:lnTo>
                  <a:lnTo>
                    <a:pt x="340" y="157"/>
                  </a:lnTo>
                  <a:lnTo>
                    <a:pt x="340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2" y="157"/>
                  </a:lnTo>
                  <a:lnTo>
                    <a:pt x="342" y="158"/>
                  </a:lnTo>
                  <a:lnTo>
                    <a:pt x="342" y="158"/>
                  </a:lnTo>
                  <a:lnTo>
                    <a:pt x="342" y="159"/>
                  </a:lnTo>
                  <a:lnTo>
                    <a:pt x="343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8"/>
                  </a:lnTo>
                  <a:lnTo>
                    <a:pt x="343" y="158"/>
                  </a:lnTo>
                  <a:lnTo>
                    <a:pt x="342" y="157"/>
                  </a:lnTo>
                  <a:lnTo>
                    <a:pt x="342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0" y="157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4"/>
                  </a:lnTo>
                  <a:lnTo>
                    <a:pt x="340" y="154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3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1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0" y="151"/>
                  </a:lnTo>
                  <a:lnTo>
                    <a:pt x="351" y="151"/>
                  </a:lnTo>
                  <a:lnTo>
                    <a:pt x="352" y="151"/>
                  </a:lnTo>
                  <a:lnTo>
                    <a:pt x="352" y="151"/>
                  </a:lnTo>
                  <a:lnTo>
                    <a:pt x="353" y="151"/>
                  </a:lnTo>
                  <a:lnTo>
                    <a:pt x="353" y="151"/>
                  </a:lnTo>
                  <a:lnTo>
                    <a:pt x="354" y="151"/>
                  </a:lnTo>
                  <a:lnTo>
                    <a:pt x="355" y="151"/>
                  </a:lnTo>
                  <a:lnTo>
                    <a:pt x="355" y="150"/>
                  </a:lnTo>
                  <a:lnTo>
                    <a:pt x="356" y="150"/>
                  </a:lnTo>
                  <a:lnTo>
                    <a:pt x="356" y="151"/>
                  </a:lnTo>
                  <a:lnTo>
                    <a:pt x="356" y="150"/>
                  </a:lnTo>
                  <a:lnTo>
                    <a:pt x="357" y="150"/>
                  </a:lnTo>
                  <a:lnTo>
                    <a:pt x="357" y="150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8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60" y="149"/>
                  </a:lnTo>
                  <a:lnTo>
                    <a:pt x="360" y="148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2" y="150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0" y="151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2" y="150"/>
                  </a:lnTo>
                  <a:lnTo>
                    <a:pt x="362" y="150"/>
                  </a:lnTo>
                  <a:lnTo>
                    <a:pt x="363" y="150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4" y="151"/>
                  </a:lnTo>
                  <a:lnTo>
                    <a:pt x="363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5" y="152"/>
                  </a:lnTo>
                  <a:lnTo>
                    <a:pt x="365" y="153"/>
                  </a:lnTo>
                  <a:lnTo>
                    <a:pt x="366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8" y="153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9" y="154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6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7" y="157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6" y="158"/>
                  </a:lnTo>
                  <a:lnTo>
                    <a:pt x="366" y="158"/>
                  </a:lnTo>
                  <a:lnTo>
                    <a:pt x="365" y="159"/>
                  </a:lnTo>
                  <a:lnTo>
                    <a:pt x="364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5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2" y="160"/>
                  </a:lnTo>
                  <a:lnTo>
                    <a:pt x="363" y="160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5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5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0" y="169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2"/>
                  </a:lnTo>
                  <a:lnTo>
                    <a:pt x="373" y="172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2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69" y="175"/>
                  </a:lnTo>
                  <a:lnTo>
                    <a:pt x="368" y="175"/>
                  </a:lnTo>
                  <a:lnTo>
                    <a:pt x="368" y="176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8" y="179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2"/>
                  </a:lnTo>
                  <a:lnTo>
                    <a:pt x="368" y="181"/>
                  </a:lnTo>
                  <a:lnTo>
                    <a:pt x="369" y="181"/>
                  </a:lnTo>
                  <a:lnTo>
                    <a:pt x="369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1" y="183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3" y="186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1" y="183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69" y="182"/>
                  </a:lnTo>
                  <a:lnTo>
                    <a:pt x="369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9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6"/>
                  </a:lnTo>
                  <a:lnTo>
                    <a:pt x="369" y="176"/>
                  </a:lnTo>
                  <a:lnTo>
                    <a:pt x="368" y="176"/>
                  </a:lnTo>
                  <a:lnTo>
                    <a:pt x="368" y="175"/>
                  </a:lnTo>
                  <a:lnTo>
                    <a:pt x="369" y="175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2" y="174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2"/>
                  </a:lnTo>
                  <a:lnTo>
                    <a:pt x="372" y="172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69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8"/>
                  </a:lnTo>
                  <a:lnTo>
                    <a:pt x="373" y="168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5" y="167"/>
                  </a:lnTo>
                  <a:lnTo>
                    <a:pt x="375" y="168"/>
                  </a:lnTo>
                  <a:lnTo>
                    <a:pt x="375" y="167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3" y="168"/>
                  </a:lnTo>
                  <a:lnTo>
                    <a:pt x="372" y="168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69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69" y="165"/>
                  </a:lnTo>
                  <a:lnTo>
                    <a:pt x="368" y="165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6" y="163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5" y="162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4" y="161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5" y="160"/>
                  </a:lnTo>
                  <a:lnTo>
                    <a:pt x="366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6" y="159"/>
                  </a:lnTo>
                  <a:lnTo>
                    <a:pt x="366" y="158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9" y="156"/>
                  </a:lnTo>
                  <a:lnTo>
                    <a:pt x="369" y="157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70" y="156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69" y="154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8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2"/>
                  </a:lnTo>
                  <a:lnTo>
                    <a:pt x="365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1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2" y="150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1" y="148"/>
                  </a:lnTo>
                  <a:lnTo>
                    <a:pt x="361" y="148"/>
                  </a:lnTo>
                  <a:lnTo>
                    <a:pt x="362" y="148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4" y="146"/>
                  </a:lnTo>
                  <a:lnTo>
                    <a:pt x="365" y="146"/>
                  </a:lnTo>
                  <a:lnTo>
                    <a:pt x="365" y="146"/>
                  </a:lnTo>
                  <a:lnTo>
                    <a:pt x="366" y="146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8" y="144"/>
                  </a:lnTo>
                  <a:lnTo>
                    <a:pt x="369" y="143"/>
                  </a:lnTo>
                  <a:lnTo>
                    <a:pt x="370" y="143"/>
                  </a:lnTo>
                  <a:lnTo>
                    <a:pt x="369" y="143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3"/>
                  </a:lnTo>
                  <a:lnTo>
                    <a:pt x="370" y="142"/>
                  </a:lnTo>
                  <a:lnTo>
                    <a:pt x="370" y="142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1"/>
                  </a:lnTo>
                  <a:lnTo>
                    <a:pt x="370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8" y="140"/>
                  </a:lnTo>
                  <a:lnTo>
                    <a:pt x="378" y="140"/>
                  </a:lnTo>
                  <a:lnTo>
                    <a:pt x="378" y="139"/>
                  </a:lnTo>
                  <a:lnTo>
                    <a:pt x="379" y="140"/>
                  </a:lnTo>
                  <a:lnTo>
                    <a:pt x="378" y="140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80" y="139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7"/>
                  </a:lnTo>
                  <a:lnTo>
                    <a:pt x="383" y="137"/>
                  </a:lnTo>
                  <a:lnTo>
                    <a:pt x="383" y="137"/>
                  </a:lnTo>
                  <a:lnTo>
                    <a:pt x="384" y="137"/>
                  </a:lnTo>
                  <a:lnTo>
                    <a:pt x="385" y="137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7"/>
                  </a:lnTo>
                  <a:lnTo>
                    <a:pt x="386" y="137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7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9" y="135"/>
                  </a:lnTo>
                  <a:lnTo>
                    <a:pt x="389" y="135"/>
                  </a:lnTo>
                  <a:lnTo>
                    <a:pt x="390" y="135"/>
                  </a:lnTo>
                  <a:lnTo>
                    <a:pt x="390" y="135"/>
                  </a:lnTo>
                  <a:lnTo>
                    <a:pt x="390" y="134"/>
                  </a:lnTo>
                  <a:lnTo>
                    <a:pt x="391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3" y="136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3"/>
                  </a:lnTo>
                  <a:lnTo>
                    <a:pt x="392" y="133"/>
                  </a:lnTo>
                  <a:lnTo>
                    <a:pt x="393" y="133"/>
                  </a:lnTo>
                  <a:lnTo>
                    <a:pt x="393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5" y="133"/>
                  </a:lnTo>
                  <a:lnTo>
                    <a:pt x="395" y="134"/>
                  </a:lnTo>
                  <a:lnTo>
                    <a:pt x="396" y="134"/>
                  </a:lnTo>
                  <a:lnTo>
                    <a:pt x="396" y="134"/>
                  </a:lnTo>
                  <a:lnTo>
                    <a:pt x="397" y="134"/>
                  </a:lnTo>
                  <a:lnTo>
                    <a:pt x="397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9" y="134"/>
                  </a:lnTo>
                  <a:lnTo>
                    <a:pt x="399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8" y="136"/>
                  </a:lnTo>
                  <a:lnTo>
                    <a:pt x="409" y="136"/>
                  </a:lnTo>
                  <a:lnTo>
                    <a:pt x="409" y="136"/>
                  </a:lnTo>
                  <a:lnTo>
                    <a:pt x="409" y="137"/>
                  </a:lnTo>
                  <a:lnTo>
                    <a:pt x="410" y="137"/>
                  </a:lnTo>
                  <a:lnTo>
                    <a:pt x="409" y="137"/>
                  </a:lnTo>
                  <a:lnTo>
                    <a:pt x="409" y="136"/>
                  </a:lnTo>
                  <a:lnTo>
                    <a:pt x="408" y="136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399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7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7" y="133"/>
                  </a:lnTo>
                  <a:lnTo>
                    <a:pt x="397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5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4" y="132"/>
                  </a:lnTo>
                  <a:lnTo>
                    <a:pt x="394" y="131"/>
                  </a:lnTo>
                  <a:lnTo>
                    <a:pt x="394" y="131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29"/>
                  </a:lnTo>
                  <a:lnTo>
                    <a:pt x="395" y="129"/>
                  </a:lnTo>
                  <a:lnTo>
                    <a:pt x="396" y="129"/>
                  </a:lnTo>
                  <a:lnTo>
                    <a:pt x="396" y="129"/>
                  </a:lnTo>
                  <a:lnTo>
                    <a:pt x="397" y="129"/>
                  </a:lnTo>
                  <a:lnTo>
                    <a:pt x="397" y="130"/>
                  </a:lnTo>
                  <a:lnTo>
                    <a:pt x="398" y="130"/>
                  </a:lnTo>
                  <a:lnTo>
                    <a:pt x="398" y="130"/>
                  </a:lnTo>
                  <a:lnTo>
                    <a:pt x="399" y="130"/>
                  </a:lnTo>
                  <a:lnTo>
                    <a:pt x="400" y="130"/>
                  </a:lnTo>
                  <a:lnTo>
                    <a:pt x="400" y="129"/>
                  </a:lnTo>
                  <a:lnTo>
                    <a:pt x="401" y="129"/>
                  </a:lnTo>
                  <a:lnTo>
                    <a:pt x="401" y="129"/>
                  </a:lnTo>
                  <a:lnTo>
                    <a:pt x="402" y="129"/>
                  </a:lnTo>
                  <a:lnTo>
                    <a:pt x="402" y="130"/>
                  </a:lnTo>
                  <a:lnTo>
                    <a:pt x="403" y="130"/>
                  </a:lnTo>
                  <a:lnTo>
                    <a:pt x="404" y="130"/>
                  </a:lnTo>
                  <a:lnTo>
                    <a:pt x="404" y="129"/>
                  </a:lnTo>
                  <a:lnTo>
                    <a:pt x="405" y="130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6" y="130"/>
                  </a:lnTo>
                  <a:lnTo>
                    <a:pt x="406" y="129"/>
                  </a:lnTo>
                  <a:lnTo>
                    <a:pt x="406" y="130"/>
                  </a:lnTo>
                  <a:lnTo>
                    <a:pt x="407" y="130"/>
                  </a:lnTo>
                  <a:lnTo>
                    <a:pt x="407" y="129"/>
                  </a:lnTo>
                  <a:lnTo>
                    <a:pt x="407" y="129"/>
                  </a:lnTo>
                  <a:lnTo>
                    <a:pt x="408" y="129"/>
                  </a:lnTo>
                  <a:lnTo>
                    <a:pt x="408" y="129"/>
                  </a:lnTo>
                  <a:lnTo>
                    <a:pt x="409" y="128"/>
                  </a:lnTo>
                  <a:lnTo>
                    <a:pt x="409" y="128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11" y="129"/>
                  </a:lnTo>
                  <a:lnTo>
                    <a:pt x="411" y="129"/>
                  </a:lnTo>
                  <a:lnTo>
                    <a:pt x="411" y="128"/>
                  </a:lnTo>
                  <a:lnTo>
                    <a:pt x="411" y="128"/>
                  </a:lnTo>
                  <a:lnTo>
                    <a:pt x="410" y="128"/>
                  </a:lnTo>
                  <a:lnTo>
                    <a:pt x="409" y="128"/>
                  </a:lnTo>
                  <a:lnTo>
                    <a:pt x="410" y="128"/>
                  </a:lnTo>
                  <a:lnTo>
                    <a:pt x="410" y="127"/>
                  </a:lnTo>
                  <a:lnTo>
                    <a:pt x="411" y="127"/>
                  </a:lnTo>
                  <a:lnTo>
                    <a:pt x="412" y="127"/>
                  </a:lnTo>
                  <a:lnTo>
                    <a:pt x="412" y="127"/>
                  </a:lnTo>
                  <a:lnTo>
                    <a:pt x="413" y="127"/>
                  </a:lnTo>
                  <a:lnTo>
                    <a:pt x="413" y="127"/>
                  </a:lnTo>
                  <a:lnTo>
                    <a:pt x="414" y="127"/>
                  </a:lnTo>
                  <a:lnTo>
                    <a:pt x="415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6" y="126"/>
                  </a:lnTo>
                  <a:lnTo>
                    <a:pt x="416" y="126"/>
                  </a:lnTo>
                  <a:lnTo>
                    <a:pt x="417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20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4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4"/>
                  </a:lnTo>
                  <a:lnTo>
                    <a:pt x="419" y="124"/>
                  </a:lnTo>
                  <a:lnTo>
                    <a:pt x="419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1" y="125"/>
                  </a:lnTo>
                  <a:lnTo>
                    <a:pt x="422" y="125"/>
                  </a:lnTo>
                  <a:lnTo>
                    <a:pt x="422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5" y="125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6" y="123"/>
                  </a:lnTo>
                  <a:lnTo>
                    <a:pt x="425" y="123"/>
                  </a:lnTo>
                  <a:lnTo>
                    <a:pt x="425" y="124"/>
                  </a:lnTo>
                  <a:lnTo>
                    <a:pt x="425" y="123"/>
                  </a:lnTo>
                  <a:lnTo>
                    <a:pt x="426" y="123"/>
                  </a:lnTo>
                  <a:lnTo>
                    <a:pt x="426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2"/>
                  </a:lnTo>
                  <a:lnTo>
                    <a:pt x="428" y="122"/>
                  </a:lnTo>
                  <a:lnTo>
                    <a:pt x="429" y="122"/>
                  </a:lnTo>
                  <a:lnTo>
                    <a:pt x="429" y="122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1" y="122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2" y="121"/>
                  </a:lnTo>
                  <a:lnTo>
                    <a:pt x="433" y="122"/>
                  </a:lnTo>
                  <a:lnTo>
                    <a:pt x="432" y="122"/>
                  </a:lnTo>
                  <a:lnTo>
                    <a:pt x="433" y="122"/>
                  </a:lnTo>
                  <a:lnTo>
                    <a:pt x="432" y="121"/>
                  </a:lnTo>
                  <a:lnTo>
                    <a:pt x="431" y="121"/>
                  </a:lnTo>
                  <a:lnTo>
                    <a:pt x="431" y="121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8" y="120"/>
                  </a:lnTo>
                  <a:lnTo>
                    <a:pt x="427" y="120"/>
                  </a:lnTo>
                  <a:lnTo>
                    <a:pt x="427" y="121"/>
                  </a:lnTo>
                  <a:lnTo>
                    <a:pt x="427" y="121"/>
                  </a:lnTo>
                  <a:lnTo>
                    <a:pt x="427" y="122"/>
                  </a:lnTo>
                  <a:lnTo>
                    <a:pt x="426" y="122"/>
                  </a:lnTo>
                  <a:lnTo>
                    <a:pt x="426" y="121"/>
                  </a:lnTo>
                  <a:lnTo>
                    <a:pt x="425" y="121"/>
                  </a:lnTo>
                  <a:lnTo>
                    <a:pt x="424" y="121"/>
                  </a:lnTo>
                  <a:lnTo>
                    <a:pt x="424" y="121"/>
                  </a:lnTo>
                  <a:lnTo>
                    <a:pt x="424" y="122"/>
                  </a:lnTo>
                  <a:lnTo>
                    <a:pt x="424" y="121"/>
                  </a:lnTo>
                  <a:lnTo>
                    <a:pt x="423" y="121"/>
                  </a:lnTo>
                  <a:lnTo>
                    <a:pt x="423" y="121"/>
                  </a:lnTo>
                  <a:lnTo>
                    <a:pt x="423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1" y="121"/>
                  </a:lnTo>
                  <a:lnTo>
                    <a:pt x="420" y="120"/>
                  </a:lnTo>
                  <a:lnTo>
                    <a:pt x="420" y="120"/>
                  </a:lnTo>
                  <a:lnTo>
                    <a:pt x="420" y="119"/>
                  </a:lnTo>
                  <a:lnTo>
                    <a:pt x="421" y="119"/>
                  </a:lnTo>
                  <a:lnTo>
                    <a:pt x="422" y="119"/>
                  </a:lnTo>
                  <a:lnTo>
                    <a:pt x="422" y="119"/>
                  </a:lnTo>
                  <a:lnTo>
                    <a:pt x="423" y="119"/>
                  </a:lnTo>
                  <a:lnTo>
                    <a:pt x="423" y="118"/>
                  </a:lnTo>
                  <a:lnTo>
                    <a:pt x="423" y="118"/>
                  </a:lnTo>
                  <a:lnTo>
                    <a:pt x="424" y="117"/>
                  </a:lnTo>
                  <a:lnTo>
                    <a:pt x="424" y="116"/>
                  </a:lnTo>
                  <a:lnTo>
                    <a:pt x="424" y="116"/>
                  </a:lnTo>
                  <a:lnTo>
                    <a:pt x="425" y="116"/>
                  </a:lnTo>
                  <a:lnTo>
                    <a:pt x="426" y="116"/>
                  </a:lnTo>
                  <a:lnTo>
                    <a:pt x="426" y="116"/>
                  </a:lnTo>
                  <a:lnTo>
                    <a:pt x="427" y="116"/>
                  </a:lnTo>
                  <a:lnTo>
                    <a:pt x="427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9" y="117"/>
                  </a:lnTo>
                  <a:lnTo>
                    <a:pt x="430" y="117"/>
                  </a:lnTo>
                  <a:lnTo>
                    <a:pt x="430" y="118"/>
                  </a:lnTo>
                  <a:lnTo>
                    <a:pt x="430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2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7"/>
                  </a:lnTo>
                  <a:lnTo>
                    <a:pt x="433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5" y="116"/>
                  </a:lnTo>
                  <a:lnTo>
                    <a:pt x="436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6" y="116"/>
                  </a:lnTo>
                  <a:lnTo>
                    <a:pt x="436" y="117"/>
                  </a:lnTo>
                  <a:lnTo>
                    <a:pt x="436" y="116"/>
                  </a:lnTo>
                  <a:lnTo>
                    <a:pt x="435" y="116"/>
                  </a:lnTo>
                  <a:lnTo>
                    <a:pt x="435" y="117"/>
                  </a:lnTo>
                  <a:lnTo>
                    <a:pt x="435" y="117"/>
                  </a:lnTo>
                  <a:lnTo>
                    <a:pt x="434" y="117"/>
                  </a:lnTo>
                  <a:lnTo>
                    <a:pt x="434" y="117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5" y="119"/>
                  </a:lnTo>
                  <a:lnTo>
                    <a:pt x="436" y="119"/>
                  </a:lnTo>
                  <a:lnTo>
                    <a:pt x="436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8" y="120"/>
                  </a:lnTo>
                  <a:lnTo>
                    <a:pt x="438" y="120"/>
                  </a:lnTo>
                  <a:lnTo>
                    <a:pt x="439" y="120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40" y="121"/>
                  </a:lnTo>
                  <a:lnTo>
                    <a:pt x="441" y="121"/>
                  </a:lnTo>
                  <a:lnTo>
                    <a:pt x="441" y="121"/>
                  </a:lnTo>
                  <a:lnTo>
                    <a:pt x="442" y="121"/>
                  </a:lnTo>
                  <a:lnTo>
                    <a:pt x="442" y="121"/>
                  </a:lnTo>
                  <a:lnTo>
                    <a:pt x="443" y="121"/>
                  </a:lnTo>
                  <a:lnTo>
                    <a:pt x="444" y="121"/>
                  </a:lnTo>
                  <a:lnTo>
                    <a:pt x="445" y="121"/>
                  </a:lnTo>
                  <a:lnTo>
                    <a:pt x="445" y="121"/>
                  </a:lnTo>
                  <a:lnTo>
                    <a:pt x="446" y="121"/>
                  </a:lnTo>
                  <a:lnTo>
                    <a:pt x="446" y="121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8"/>
                  </a:lnTo>
                  <a:lnTo>
                    <a:pt x="447" y="118"/>
                  </a:lnTo>
                  <a:lnTo>
                    <a:pt x="447" y="118"/>
                  </a:lnTo>
                  <a:lnTo>
                    <a:pt x="447" y="117"/>
                  </a:lnTo>
                  <a:lnTo>
                    <a:pt x="447" y="116"/>
                  </a:lnTo>
                  <a:lnTo>
                    <a:pt x="447" y="117"/>
                  </a:lnTo>
                  <a:lnTo>
                    <a:pt x="448" y="117"/>
                  </a:lnTo>
                  <a:lnTo>
                    <a:pt x="448" y="118"/>
                  </a:lnTo>
                  <a:lnTo>
                    <a:pt x="448" y="118"/>
                  </a:lnTo>
                  <a:lnTo>
                    <a:pt x="449" y="118"/>
                  </a:lnTo>
                  <a:lnTo>
                    <a:pt x="449" y="118"/>
                  </a:lnTo>
                  <a:lnTo>
                    <a:pt x="449" y="119"/>
                  </a:lnTo>
                  <a:lnTo>
                    <a:pt x="450" y="119"/>
                  </a:lnTo>
                  <a:lnTo>
                    <a:pt x="450" y="119"/>
                  </a:lnTo>
                  <a:lnTo>
                    <a:pt x="450" y="120"/>
                  </a:lnTo>
                  <a:lnTo>
                    <a:pt x="450" y="120"/>
                  </a:lnTo>
                  <a:lnTo>
                    <a:pt x="451" y="120"/>
                  </a:lnTo>
                  <a:lnTo>
                    <a:pt x="451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1" y="123"/>
                  </a:lnTo>
                  <a:lnTo>
                    <a:pt x="450" y="123"/>
                  </a:lnTo>
                  <a:lnTo>
                    <a:pt x="450" y="124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8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6"/>
                  </a:lnTo>
                  <a:lnTo>
                    <a:pt x="451" y="126"/>
                  </a:lnTo>
                  <a:lnTo>
                    <a:pt x="451" y="126"/>
                  </a:lnTo>
                  <a:lnTo>
                    <a:pt x="452" y="126"/>
                  </a:lnTo>
                  <a:lnTo>
                    <a:pt x="452" y="126"/>
                  </a:lnTo>
                  <a:lnTo>
                    <a:pt x="453" y="126"/>
                  </a:lnTo>
                  <a:lnTo>
                    <a:pt x="453" y="127"/>
                  </a:lnTo>
                  <a:lnTo>
                    <a:pt x="453" y="127"/>
                  </a:lnTo>
                  <a:lnTo>
                    <a:pt x="453" y="128"/>
                  </a:lnTo>
                  <a:lnTo>
                    <a:pt x="452" y="128"/>
                  </a:lnTo>
                  <a:lnTo>
                    <a:pt x="452" y="129"/>
                  </a:lnTo>
                  <a:lnTo>
                    <a:pt x="452" y="128"/>
                  </a:lnTo>
                  <a:lnTo>
                    <a:pt x="452" y="128"/>
                  </a:lnTo>
                  <a:lnTo>
                    <a:pt x="451" y="128"/>
                  </a:lnTo>
                  <a:lnTo>
                    <a:pt x="450" y="128"/>
                  </a:lnTo>
                  <a:lnTo>
                    <a:pt x="450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8" y="128"/>
                  </a:lnTo>
                  <a:lnTo>
                    <a:pt x="448" y="129"/>
                  </a:lnTo>
                  <a:lnTo>
                    <a:pt x="449" y="129"/>
                  </a:lnTo>
                  <a:lnTo>
                    <a:pt x="448" y="129"/>
                  </a:lnTo>
                  <a:lnTo>
                    <a:pt x="448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0" y="129"/>
                  </a:lnTo>
                  <a:lnTo>
                    <a:pt x="451" y="129"/>
                  </a:lnTo>
                  <a:lnTo>
                    <a:pt x="452" y="129"/>
                  </a:lnTo>
                  <a:lnTo>
                    <a:pt x="452" y="129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2" y="129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1"/>
                  </a:lnTo>
                  <a:lnTo>
                    <a:pt x="452" y="131"/>
                  </a:lnTo>
                  <a:lnTo>
                    <a:pt x="452" y="132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1" y="133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1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3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6"/>
                  </a:lnTo>
                  <a:lnTo>
                    <a:pt x="450" y="136"/>
                  </a:lnTo>
                  <a:lnTo>
                    <a:pt x="451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8"/>
                  </a:lnTo>
                  <a:lnTo>
                    <a:pt x="454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8" y="139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5" y="137"/>
                  </a:lnTo>
                  <a:lnTo>
                    <a:pt x="454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2" y="136"/>
                  </a:lnTo>
                  <a:lnTo>
                    <a:pt x="451" y="136"/>
                  </a:lnTo>
                  <a:lnTo>
                    <a:pt x="450" y="136"/>
                  </a:lnTo>
                  <a:lnTo>
                    <a:pt x="450" y="135"/>
                  </a:lnTo>
                  <a:lnTo>
                    <a:pt x="451" y="135"/>
                  </a:lnTo>
                  <a:lnTo>
                    <a:pt x="451" y="135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4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2"/>
                  </a:lnTo>
                  <a:lnTo>
                    <a:pt x="453" y="131"/>
                  </a:lnTo>
                  <a:lnTo>
                    <a:pt x="453" y="131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1"/>
                  </a:lnTo>
                  <a:lnTo>
                    <a:pt x="454" y="131"/>
                  </a:lnTo>
                  <a:lnTo>
                    <a:pt x="454" y="131"/>
                  </a:lnTo>
                  <a:lnTo>
                    <a:pt x="453" y="131"/>
                  </a:lnTo>
                  <a:lnTo>
                    <a:pt x="454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3" y="128"/>
                  </a:lnTo>
                  <a:lnTo>
                    <a:pt x="453" y="128"/>
                  </a:lnTo>
                  <a:lnTo>
                    <a:pt x="454" y="128"/>
                  </a:lnTo>
                  <a:lnTo>
                    <a:pt x="454" y="127"/>
                  </a:lnTo>
                  <a:lnTo>
                    <a:pt x="455" y="127"/>
                  </a:lnTo>
                  <a:lnTo>
                    <a:pt x="455" y="127"/>
                  </a:lnTo>
                  <a:lnTo>
                    <a:pt x="456" y="127"/>
                  </a:lnTo>
                  <a:lnTo>
                    <a:pt x="456" y="127"/>
                  </a:lnTo>
                  <a:lnTo>
                    <a:pt x="457" y="127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8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9" y="127"/>
                  </a:lnTo>
                  <a:lnTo>
                    <a:pt x="459" y="128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2" y="129"/>
                  </a:lnTo>
                  <a:lnTo>
                    <a:pt x="463" y="129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2"/>
                  </a:lnTo>
                  <a:lnTo>
                    <a:pt x="464" y="132"/>
                  </a:lnTo>
                  <a:lnTo>
                    <a:pt x="464" y="133"/>
                  </a:lnTo>
                  <a:lnTo>
                    <a:pt x="464" y="133"/>
                  </a:lnTo>
                  <a:lnTo>
                    <a:pt x="465" y="133"/>
                  </a:lnTo>
                  <a:lnTo>
                    <a:pt x="465" y="132"/>
                  </a:lnTo>
                  <a:lnTo>
                    <a:pt x="466" y="132"/>
                  </a:lnTo>
                  <a:lnTo>
                    <a:pt x="466" y="133"/>
                  </a:lnTo>
                  <a:lnTo>
                    <a:pt x="467" y="133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8" y="132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9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69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2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7" y="133"/>
                  </a:lnTo>
                  <a:lnTo>
                    <a:pt x="466" y="133"/>
                  </a:lnTo>
                  <a:lnTo>
                    <a:pt x="466" y="132"/>
                  </a:lnTo>
                  <a:lnTo>
                    <a:pt x="465" y="132"/>
                  </a:lnTo>
                  <a:lnTo>
                    <a:pt x="465" y="132"/>
                  </a:lnTo>
                  <a:lnTo>
                    <a:pt x="465" y="133"/>
                  </a:lnTo>
                  <a:lnTo>
                    <a:pt x="464" y="133"/>
                  </a:lnTo>
                  <a:lnTo>
                    <a:pt x="464" y="132"/>
                  </a:lnTo>
                  <a:lnTo>
                    <a:pt x="464" y="132"/>
                  </a:lnTo>
                  <a:lnTo>
                    <a:pt x="463" y="132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0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29"/>
                  </a:lnTo>
                  <a:lnTo>
                    <a:pt x="463" y="129"/>
                  </a:lnTo>
                  <a:lnTo>
                    <a:pt x="462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59" y="128"/>
                  </a:lnTo>
                  <a:lnTo>
                    <a:pt x="459" y="128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6"/>
                  </a:lnTo>
                  <a:lnTo>
                    <a:pt x="456" y="126"/>
                  </a:lnTo>
                  <a:lnTo>
                    <a:pt x="456" y="127"/>
                  </a:lnTo>
                  <a:lnTo>
                    <a:pt x="455" y="127"/>
                  </a:lnTo>
                  <a:lnTo>
                    <a:pt x="455" y="126"/>
                  </a:lnTo>
                  <a:lnTo>
                    <a:pt x="455" y="126"/>
                  </a:lnTo>
                  <a:lnTo>
                    <a:pt x="454" y="126"/>
                  </a:lnTo>
                  <a:lnTo>
                    <a:pt x="453" y="126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4"/>
                  </a:lnTo>
                  <a:lnTo>
                    <a:pt x="452" y="124"/>
                  </a:lnTo>
                  <a:lnTo>
                    <a:pt x="453" y="124"/>
                  </a:lnTo>
                  <a:lnTo>
                    <a:pt x="454" y="124"/>
                  </a:lnTo>
                  <a:lnTo>
                    <a:pt x="455" y="124"/>
                  </a:lnTo>
                  <a:lnTo>
                    <a:pt x="455" y="123"/>
                  </a:lnTo>
                  <a:lnTo>
                    <a:pt x="456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7" y="123"/>
                  </a:lnTo>
                  <a:lnTo>
                    <a:pt x="458" y="123"/>
                  </a:lnTo>
                  <a:lnTo>
                    <a:pt x="459" y="123"/>
                  </a:lnTo>
                  <a:lnTo>
                    <a:pt x="459" y="123"/>
                  </a:lnTo>
                  <a:lnTo>
                    <a:pt x="460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1" y="123"/>
                  </a:lnTo>
                  <a:lnTo>
                    <a:pt x="462" y="123"/>
                  </a:lnTo>
                  <a:lnTo>
                    <a:pt x="463" y="123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6" y="123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7" y="121"/>
                  </a:lnTo>
                  <a:lnTo>
                    <a:pt x="466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2"/>
                  </a:lnTo>
                  <a:lnTo>
                    <a:pt x="468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1"/>
                  </a:lnTo>
                  <a:lnTo>
                    <a:pt x="469" y="121"/>
                  </a:lnTo>
                  <a:lnTo>
                    <a:pt x="470" y="121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0" y="121"/>
                  </a:lnTo>
                  <a:lnTo>
                    <a:pt x="470" y="122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1" y="121"/>
                  </a:lnTo>
                  <a:lnTo>
                    <a:pt x="472" y="121"/>
                  </a:lnTo>
                  <a:lnTo>
                    <a:pt x="472" y="121"/>
                  </a:lnTo>
                  <a:lnTo>
                    <a:pt x="472" y="122"/>
                  </a:lnTo>
                  <a:lnTo>
                    <a:pt x="473" y="122"/>
                  </a:lnTo>
                  <a:lnTo>
                    <a:pt x="474" y="122"/>
                  </a:lnTo>
                  <a:lnTo>
                    <a:pt x="474" y="122"/>
                  </a:lnTo>
                  <a:lnTo>
                    <a:pt x="475" y="122"/>
                  </a:lnTo>
                  <a:lnTo>
                    <a:pt x="475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7" y="122"/>
                  </a:lnTo>
                  <a:lnTo>
                    <a:pt x="478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9" y="122"/>
                  </a:lnTo>
                  <a:lnTo>
                    <a:pt x="480" y="122"/>
                  </a:lnTo>
                  <a:lnTo>
                    <a:pt x="481" y="122"/>
                  </a:lnTo>
                  <a:lnTo>
                    <a:pt x="481" y="122"/>
                  </a:lnTo>
                  <a:lnTo>
                    <a:pt x="482" y="123"/>
                  </a:lnTo>
                  <a:lnTo>
                    <a:pt x="482" y="123"/>
                  </a:lnTo>
                  <a:lnTo>
                    <a:pt x="483" y="123"/>
                  </a:lnTo>
                  <a:lnTo>
                    <a:pt x="483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7" y="123"/>
                  </a:lnTo>
                  <a:lnTo>
                    <a:pt x="487" y="123"/>
                  </a:lnTo>
                  <a:lnTo>
                    <a:pt x="488" y="123"/>
                  </a:lnTo>
                  <a:lnTo>
                    <a:pt x="488" y="123"/>
                  </a:lnTo>
                  <a:lnTo>
                    <a:pt x="489" y="123"/>
                  </a:lnTo>
                  <a:lnTo>
                    <a:pt x="489" y="123"/>
                  </a:lnTo>
                  <a:lnTo>
                    <a:pt x="490" y="123"/>
                  </a:lnTo>
                  <a:lnTo>
                    <a:pt x="490" y="123"/>
                  </a:lnTo>
                  <a:lnTo>
                    <a:pt x="491" y="123"/>
                  </a:lnTo>
                  <a:lnTo>
                    <a:pt x="491" y="123"/>
                  </a:lnTo>
                  <a:lnTo>
                    <a:pt x="492" y="123"/>
                  </a:lnTo>
                  <a:lnTo>
                    <a:pt x="493" y="123"/>
                  </a:lnTo>
                  <a:lnTo>
                    <a:pt x="493" y="123"/>
                  </a:lnTo>
                  <a:lnTo>
                    <a:pt x="494" y="123"/>
                  </a:lnTo>
                  <a:lnTo>
                    <a:pt x="494" y="123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6" y="125"/>
                  </a:lnTo>
                  <a:lnTo>
                    <a:pt x="497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2" y="125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8"/>
                  </a:lnTo>
                  <a:lnTo>
                    <a:pt x="491" y="129"/>
                  </a:lnTo>
                  <a:lnTo>
                    <a:pt x="492" y="129"/>
                  </a:lnTo>
                  <a:lnTo>
                    <a:pt x="492" y="129"/>
                  </a:lnTo>
                  <a:lnTo>
                    <a:pt x="493" y="129"/>
                  </a:lnTo>
                  <a:lnTo>
                    <a:pt x="493" y="129"/>
                  </a:lnTo>
                  <a:lnTo>
                    <a:pt x="494" y="129"/>
                  </a:lnTo>
                  <a:lnTo>
                    <a:pt x="494" y="130"/>
                  </a:lnTo>
                  <a:lnTo>
                    <a:pt x="494" y="130"/>
                  </a:lnTo>
                  <a:lnTo>
                    <a:pt x="495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7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1"/>
                  </a:lnTo>
                  <a:lnTo>
                    <a:pt x="499" y="131"/>
                  </a:lnTo>
                  <a:lnTo>
                    <a:pt x="500" y="131"/>
                  </a:lnTo>
                  <a:lnTo>
                    <a:pt x="500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2" y="131"/>
                  </a:lnTo>
                  <a:lnTo>
                    <a:pt x="502" y="132"/>
                  </a:lnTo>
                  <a:lnTo>
                    <a:pt x="502" y="132"/>
                  </a:lnTo>
                  <a:lnTo>
                    <a:pt x="503" y="132"/>
                  </a:lnTo>
                  <a:lnTo>
                    <a:pt x="503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5"/>
                  </a:lnTo>
                  <a:lnTo>
                    <a:pt x="503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6"/>
                  </a:lnTo>
                  <a:lnTo>
                    <a:pt x="500" y="136"/>
                  </a:lnTo>
                  <a:lnTo>
                    <a:pt x="500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2" y="138"/>
                  </a:lnTo>
                  <a:lnTo>
                    <a:pt x="502" y="139"/>
                  </a:lnTo>
                  <a:lnTo>
                    <a:pt x="501" y="139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2" y="139"/>
                  </a:lnTo>
                  <a:lnTo>
                    <a:pt x="502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0" y="136"/>
                  </a:lnTo>
                  <a:lnTo>
                    <a:pt x="501" y="136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3" y="135"/>
                  </a:lnTo>
                  <a:lnTo>
                    <a:pt x="504" y="135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6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9" y="134"/>
                  </a:lnTo>
                  <a:lnTo>
                    <a:pt x="509" y="134"/>
                  </a:lnTo>
                  <a:lnTo>
                    <a:pt x="510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4" y="135"/>
                  </a:lnTo>
                  <a:lnTo>
                    <a:pt x="515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8" y="135"/>
                  </a:lnTo>
                  <a:lnTo>
                    <a:pt x="518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7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1"/>
                  </a:lnTo>
                  <a:lnTo>
                    <a:pt x="525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9" y="142"/>
                  </a:lnTo>
                  <a:lnTo>
                    <a:pt x="530" y="142"/>
                  </a:lnTo>
                  <a:lnTo>
                    <a:pt x="530" y="143"/>
                  </a:lnTo>
                  <a:lnTo>
                    <a:pt x="530" y="143"/>
                  </a:lnTo>
                  <a:lnTo>
                    <a:pt x="530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3" y="145"/>
                  </a:lnTo>
                  <a:lnTo>
                    <a:pt x="533" y="145"/>
                  </a:lnTo>
                  <a:lnTo>
                    <a:pt x="534" y="145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3" y="150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1" y="149"/>
                  </a:lnTo>
                  <a:lnTo>
                    <a:pt x="531" y="150"/>
                  </a:lnTo>
                  <a:lnTo>
                    <a:pt x="531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1" y="151"/>
                  </a:lnTo>
                  <a:lnTo>
                    <a:pt x="531" y="151"/>
                  </a:lnTo>
                  <a:lnTo>
                    <a:pt x="531" y="150"/>
                  </a:lnTo>
                  <a:lnTo>
                    <a:pt x="531" y="149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3" y="150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2"/>
                  </a:lnTo>
                  <a:lnTo>
                    <a:pt x="533" y="152"/>
                  </a:lnTo>
                  <a:lnTo>
                    <a:pt x="532" y="152"/>
                  </a:lnTo>
                  <a:lnTo>
                    <a:pt x="532" y="152"/>
                  </a:lnTo>
                  <a:lnTo>
                    <a:pt x="532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0" y="153"/>
                  </a:lnTo>
                  <a:lnTo>
                    <a:pt x="530" y="153"/>
                  </a:lnTo>
                  <a:lnTo>
                    <a:pt x="529" y="153"/>
                  </a:lnTo>
                  <a:lnTo>
                    <a:pt x="529" y="154"/>
                  </a:lnTo>
                  <a:lnTo>
                    <a:pt x="528" y="154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7" y="155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6" y="156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4" y="161"/>
                  </a:lnTo>
                  <a:lnTo>
                    <a:pt x="524" y="161"/>
                  </a:lnTo>
                  <a:lnTo>
                    <a:pt x="524" y="162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5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5" y="166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1" y="168"/>
                  </a:lnTo>
                  <a:lnTo>
                    <a:pt x="520" y="168"/>
                  </a:lnTo>
                  <a:lnTo>
                    <a:pt x="520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18" y="168"/>
                  </a:lnTo>
                  <a:lnTo>
                    <a:pt x="517" y="168"/>
                  </a:lnTo>
                  <a:lnTo>
                    <a:pt x="517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4" y="169"/>
                  </a:lnTo>
                  <a:lnTo>
                    <a:pt x="513" y="169"/>
                  </a:lnTo>
                  <a:lnTo>
                    <a:pt x="513" y="168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0" y="169"/>
                  </a:lnTo>
                  <a:lnTo>
                    <a:pt x="509" y="169"/>
                  </a:lnTo>
                  <a:lnTo>
                    <a:pt x="509" y="169"/>
                  </a:lnTo>
                  <a:lnTo>
                    <a:pt x="509" y="168"/>
                  </a:lnTo>
                  <a:lnTo>
                    <a:pt x="509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7" y="169"/>
                  </a:lnTo>
                  <a:lnTo>
                    <a:pt x="507" y="168"/>
                  </a:lnTo>
                  <a:lnTo>
                    <a:pt x="506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4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6" y="168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7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9" y="169"/>
                  </a:lnTo>
                  <a:lnTo>
                    <a:pt x="510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3" y="169"/>
                  </a:lnTo>
                  <a:lnTo>
                    <a:pt x="513" y="169"/>
                  </a:lnTo>
                  <a:lnTo>
                    <a:pt x="514" y="169"/>
                  </a:lnTo>
                  <a:lnTo>
                    <a:pt x="515" y="169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7" y="168"/>
                  </a:lnTo>
                  <a:lnTo>
                    <a:pt x="518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20" y="168"/>
                  </a:lnTo>
                  <a:lnTo>
                    <a:pt x="520" y="169"/>
                  </a:lnTo>
                  <a:lnTo>
                    <a:pt x="521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6" y="167"/>
                  </a:lnTo>
                  <a:lnTo>
                    <a:pt x="526" y="166"/>
                  </a:lnTo>
                  <a:lnTo>
                    <a:pt x="525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5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4" y="162"/>
                  </a:lnTo>
                  <a:lnTo>
                    <a:pt x="524" y="161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5" y="160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9" y="154"/>
                  </a:lnTo>
                  <a:lnTo>
                    <a:pt x="529" y="153"/>
                  </a:lnTo>
                  <a:lnTo>
                    <a:pt x="530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2" y="153"/>
                  </a:lnTo>
                  <a:lnTo>
                    <a:pt x="532" y="152"/>
                  </a:lnTo>
                  <a:lnTo>
                    <a:pt x="533" y="152"/>
                  </a:lnTo>
                  <a:lnTo>
                    <a:pt x="534" y="152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7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5"/>
                  </a:lnTo>
                  <a:lnTo>
                    <a:pt x="534" y="145"/>
                  </a:lnTo>
                  <a:lnTo>
                    <a:pt x="533" y="145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0" y="143"/>
                  </a:lnTo>
                  <a:lnTo>
                    <a:pt x="530" y="142"/>
                  </a:lnTo>
                  <a:lnTo>
                    <a:pt x="529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5" y="141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3" y="139"/>
                  </a:lnTo>
                  <a:lnTo>
                    <a:pt x="523" y="139"/>
                  </a:lnTo>
                  <a:lnTo>
                    <a:pt x="522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19" y="137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5" y="135"/>
                  </a:lnTo>
                  <a:lnTo>
                    <a:pt x="515" y="135"/>
                  </a:lnTo>
                  <a:lnTo>
                    <a:pt x="514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3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0" y="134"/>
                  </a:lnTo>
                  <a:lnTo>
                    <a:pt x="509" y="134"/>
                  </a:lnTo>
                  <a:lnTo>
                    <a:pt x="509" y="133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6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2"/>
                  </a:lnTo>
                  <a:lnTo>
                    <a:pt x="503" y="132"/>
                  </a:lnTo>
                  <a:lnTo>
                    <a:pt x="503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5" y="132"/>
                  </a:lnTo>
                  <a:lnTo>
                    <a:pt x="505" y="132"/>
                  </a:lnTo>
                  <a:lnTo>
                    <a:pt x="506" y="132"/>
                  </a:lnTo>
                  <a:lnTo>
                    <a:pt x="507" y="132"/>
                  </a:lnTo>
                  <a:lnTo>
                    <a:pt x="507" y="132"/>
                  </a:lnTo>
                  <a:lnTo>
                    <a:pt x="508" y="132"/>
                  </a:lnTo>
                  <a:lnTo>
                    <a:pt x="508" y="132"/>
                  </a:lnTo>
                  <a:lnTo>
                    <a:pt x="509" y="132"/>
                  </a:lnTo>
                  <a:lnTo>
                    <a:pt x="509" y="132"/>
                  </a:lnTo>
                  <a:lnTo>
                    <a:pt x="510" y="132"/>
                  </a:lnTo>
                  <a:lnTo>
                    <a:pt x="511" y="133"/>
                  </a:lnTo>
                  <a:lnTo>
                    <a:pt x="512" y="133"/>
                  </a:lnTo>
                  <a:lnTo>
                    <a:pt x="512" y="133"/>
                  </a:lnTo>
                  <a:lnTo>
                    <a:pt x="513" y="133"/>
                  </a:lnTo>
                  <a:lnTo>
                    <a:pt x="513" y="133"/>
                  </a:lnTo>
                  <a:lnTo>
                    <a:pt x="515" y="133"/>
                  </a:lnTo>
                  <a:lnTo>
                    <a:pt x="515" y="133"/>
                  </a:lnTo>
                  <a:lnTo>
                    <a:pt x="516" y="133"/>
                  </a:lnTo>
                  <a:lnTo>
                    <a:pt x="516" y="133"/>
                  </a:lnTo>
                  <a:lnTo>
                    <a:pt x="517" y="133"/>
                  </a:lnTo>
                  <a:lnTo>
                    <a:pt x="517" y="132"/>
                  </a:lnTo>
                  <a:lnTo>
                    <a:pt x="518" y="132"/>
                  </a:lnTo>
                  <a:lnTo>
                    <a:pt x="519" y="132"/>
                  </a:lnTo>
                  <a:lnTo>
                    <a:pt x="519" y="133"/>
                  </a:lnTo>
                  <a:lnTo>
                    <a:pt x="519" y="133"/>
                  </a:lnTo>
                  <a:lnTo>
                    <a:pt x="520" y="133"/>
                  </a:lnTo>
                  <a:lnTo>
                    <a:pt x="520" y="133"/>
                  </a:lnTo>
                  <a:lnTo>
                    <a:pt x="521" y="133"/>
                  </a:lnTo>
                  <a:lnTo>
                    <a:pt x="522" y="133"/>
                  </a:lnTo>
                  <a:lnTo>
                    <a:pt x="522" y="133"/>
                  </a:lnTo>
                  <a:lnTo>
                    <a:pt x="522" y="134"/>
                  </a:lnTo>
                  <a:lnTo>
                    <a:pt x="523" y="134"/>
                  </a:lnTo>
                  <a:lnTo>
                    <a:pt x="523" y="134"/>
                  </a:lnTo>
                  <a:lnTo>
                    <a:pt x="524" y="134"/>
                  </a:lnTo>
                  <a:lnTo>
                    <a:pt x="524" y="134"/>
                  </a:lnTo>
                  <a:lnTo>
                    <a:pt x="525" y="134"/>
                  </a:lnTo>
                  <a:lnTo>
                    <a:pt x="526" y="134"/>
                  </a:lnTo>
                  <a:lnTo>
                    <a:pt x="526" y="134"/>
                  </a:lnTo>
                  <a:lnTo>
                    <a:pt x="527" y="134"/>
                  </a:lnTo>
                  <a:lnTo>
                    <a:pt x="527" y="135"/>
                  </a:lnTo>
                  <a:lnTo>
                    <a:pt x="527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9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1" y="135"/>
                  </a:lnTo>
                  <a:lnTo>
                    <a:pt x="531" y="135"/>
                  </a:lnTo>
                  <a:lnTo>
                    <a:pt x="531" y="136"/>
                  </a:lnTo>
                  <a:lnTo>
                    <a:pt x="532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5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3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5"/>
                  </a:lnTo>
                  <a:lnTo>
                    <a:pt x="534" y="135"/>
                  </a:lnTo>
                  <a:lnTo>
                    <a:pt x="535" y="135"/>
                  </a:lnTo>
                  <a:lnTo>
                    <a:pt x="535" y="135"/>
                  </a:lnTo>
                  <a:lnTo>
                    <a:pt x="536" y="135"/>
                  </a:lnTo>
                  <a:lnTo>
                    <a:pt x="537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8" y="136"/>
                  </a:lnTo>
                  <a:lnTo>
                    <a:pt x="539" y="136"/>
                  </a:lnTo>
                  <a:lnTo>
                    <a:pt x="538" y="136"/>
                  </a:lnTo>
                  <a:lnTo>
                    <a:pt x="538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40" y="137"/>
                  </a:lnTo>
                  <a:lnTo>
                    <a:pt x="541" y="137"/>
                  </a:lnTo>
                  <a:lnTo>
                    <a:pt x="542" y="137"/>
                  </a:lnTo>
                  <a:lnTo>
                    <a:pt x="542" y="137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4" y="138"/>
                  </a:lnTo>
                  <a:lnTo>
                    <a:pt x="545" y="138"/>
                  </a:lnTo>
                  <a:lnTo>
                    <a:pt x="545" y="138"/>
                  </a:lnTo>
                  <a:lnTo>
                    <a:pt x="546" y="139"/>
                  </a:lnTo>
                  <a:lnTo>
                    <a:pt x="546" y="139"/>
                  </a:lnTo>
                  <a:lnTo>
                    <a:pt x="546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9" y="140"/>
                  </a:lnTo>
                  <a:lnTo>
                    <a:pt x="549" y="141"/>
                  </a:lnTo>
                  <a:lnTo>
                    <a:pt x="549" y="141"/>
                  </a:lnTo>
                  <a:lnTo>
                    <a:pt x="550" y="141"/>
                  </a:lnTo>
                  <a:lnTo>
                    <a:pt x="550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3" y="142"/>
                  </a:lnTo>
                  <a:lnTo>
                    <a:pt x="553" y="142"/>
                  </a:lnTo>
                  <a:lnTo>
                    <a:pt x="553" y="143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5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6"/>
                  </a:lnTo>
                  <a:lnTo>
                    <a:pt x="557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0" y="148"/>
                  </a:lnTo>
                  <a:lnTo>
                    <a:pt x="560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9"/>
                  </a:lnTo>
                  <a:lnTo>
                    <a:pt x="562" y="149"/>
                  </a:lnTo>
                  <a:lnTo>
                    <a:pt x="562" y="149"/>
                  </a:lnTo>
                  <a:lnTo>
                    <a:pt x="562" y="150"/>
                  </a:lnTo>
                  <a:lnTo>
                    <a:pt x="562" y="151"/>
                  </a:lnTo>
                  <a:lnTo>
                    <a:pt x="562" y="151"/>
                  </a:lnTo>
                  <a:lnTo>
                    <a:pt x="563" y="151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4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3" y="159"/>
                  </a:lnTo>
                  <a:lnTo>
                    <a:pt x="563" y="159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5" y="160"/>
                  </a:lnTo>
                  <a:lnTo>
                    <a:pt x="565" y="161"/>
                  </a:lnTo>
                  <a:lnTo>
                    <a:pt x="565" y="161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4" y="162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4" y="164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6"/>
                  </a:lnTo>
                  <a:lnTo>
                    <a:pt x="563" y="166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2" y="167"/>
                  </a:lnTo>
                  <a:lnTo>
                    <a:pt x="561" y="167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9"/>
                  </a:lnTo>
                  <a:lnTo>
                    <a:pt x="551" y="169"/>
                  </a:lnTo>
                  <a:lnTo>
                    <a:pt x="551" y="170"/>
                  </a:lnTo>
                  <a:lnTo>
                    <a:pt x="551" y="170"/>
                  </a:lnTo>
                  <a:lnTo>
                    <a:pt x="550" y="170"/>
                  </a:lnTo>
                  <a:lnTo>
                    <a:pt x="550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2" y="171"/>
                  </a:lnTo>
                  <a:lnTo>
                    <a:pt x="551" y="172"/>
                  </a:lnTo>
                  <a:lnTo>
                    <a:pt x="552" y="172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3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5"/>
                  </a:lnTo>
                  <a:lnTo>
                    <a:pt x="551" y="175"/>
                  </a:lnTo>
                  <a:lnTo>
                    <a:pt x="550" y="175"/>
                  </a:lnTo>
                  <a:lnTo>
                    <a:pt x="549" y="175"/>
                  </a:lnTo>
                  <a:lnTo>
                    <a:pt x="549" y="176"/>
                  </a:lnTo>
                  <a:lnTo>
                    <a:pt x="549" y="176"/>
                  </a:lnTo>
                  <a:lnTo>
                    <a:pt x="548" y="176"/>
                  </a:lnTo>
                  <a:lnTo>
                    <a:pt x="548" y="177"/>
                  </a:lnTo>
                  <a:lnTo>
                    <a:pt x="547" y="176"/>
                  </a:lnTo>
                  <a:lnTo>
                    <a:pt x="546" y="176"/>
                  </a:lnTo>
                  <a:lnTo>
                    <a:pt x="546" y="177"/>
                  </a:lnTo>
                  <a:lnTo>
                    <a:pt x="546" y="177"/>
                  </a:lnTo>
                  <a:lnTo>
                    <a:pt x="545" y="177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4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80"/>
                  </a:lnTo>
                  <a:lnTo>
                    <a:pt x="541" y="180"/>
                  </a:lnTo>
                  <a:lnTo>
                    <a:pt x="541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1" y="181"/>
                  </a:lnTo>
                  <a:lnTo>
                    <a:pt x="541" y="180"/>
                  </a:lnTo>
                  <a:lnTo>
                    <a:pt x="542" y="180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3" y="178"/>
                  </a:lnTo>
                  <a:lnTo>
                    <a:pt x="544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80"/>
                  </a:lnTo>
                  <a:lnTo>
                    <a:pt x="545" y="181"/>
                  </a:lnTo>
                  <a:lnTo>
                    <a:pt x="544" y="181"/>
                  </a:lnTo>
                  <a:lnTo>
                    <a:pt x="543" y="181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9" y="181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6"/>
                  </a:lnTo>
                  <a:lnTo>
                    <a:pt x="537" y="186"/>
                  </a:lnTo>
                  <a:lnTo>
                    <a:pt x="538" y="186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9" y="185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0" y="183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3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2" y="186"/>
                  </a:lnTo>
                  <a:lnTo>
                    <a:pt x="541" y="186"/>
                  </a:lnTo>
                  <a:lnTo>
                    <a:pt x="541" y="186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6"/>
                  </a:lnTo>
                  <a:lnTo>
                    <a:pt x="539" y="187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38" y="188"/>
                  </a:lnTo>
                  <a:lnTo>
                    <a:pt x="538" y="188"/>
                  </a:lnTo>
                  <a:lnTo>
                    <a:pt x="538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1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6" y="192"/>
                  </a:lnTo>
                  <a:lnTo>
                    <a:pt x="536" y="193"/>
                  </a:lnTo>
                  <a:lnTo>
                    <a:pt x="536" y="192"/>
                  </a:lnTo>
                  <a:lnTo>
                    <a:pt x="537" y="192"/>
                  </a:lnTo>
                  <a:lnTo>
                    <a:pt x="537" y="193"/>
                  </a:lnTo>
                  <a:lnTo>
                    <a:pt x="536" y="193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5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8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200"/>
                  </a:lnTo>
                  <a:lnTo>
                    <a:pt x="534" y="200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2" y="202"/>
                  </a:lnTo>
                  <a:lnTo>
                    <a:pt x="532" y="202"/>
                  </a:lnTo>
                  <a:lnTo>
                    <a:pt x="532" y="203"/>
                  </a:lnTo>
                  <a:lnTo>
                    <a:pt x="531" y="203"/>
                  </a:lnTo>
                  <a:lnTo>
                    <a:pt x="531" y="202"/>
                  </a:lnTo>
                  <a:lnTo>
                    <a:pt x="532" y="202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2"/>
                  </a:lnTo>
                  <a:lnTo>
                    <a:pt x="531" y="202"/>
                  </a:lnTo>
                  <a:lnTo>
                    <a:pt x="531" y="203"/>
                  </a:lnTo>
                  <a:lnTo>
                    <a:pt x="531" y="203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30" y="204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29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9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7" y="206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5" y="204"/>
                  </a:lnTo>
                  <a:lnTo>
                    <a:pt x="525" y="205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1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18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4"/>
                  </a:lnTo>
                  <a:lnTo>
                    <a:pt x="514" y="204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2"/>
                  </a:lnTo>
                  <a:lnTo>
                    <a:pt x="513" y="202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1" y="203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4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0" y="205"/>
                  </a:lnTo>
                  <a:lnTo>
                    <a:pt x="509" y="205"/>
                  </a:lnTo>
                  <a:lnTo>
                    <a:pt x="510" y="205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2"/>
                  </a:lnTo>
                  <a:lnTo>
                    <a:pt x="514" y="202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4"/>
                  </a:lnTo>
                  <a:lnTo>
                    <a:pt x="515" y="204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8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20" y="205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1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2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4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7"/>
                  </a:lnTo>
                  <a:lnTo>
                    <a:pt x="529" y="206"/>
                  </a:lnTo>
                  <a:lnTo>
                    <a:pt x="529" y="207"/>
                  </a:lnTo>
                  <a:lnTo>
                    <a:pt x="529" y="207"/>
                  </a:lnTo>
                  <a:lnTo>
                    <a:pt x="528" y="207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9"/>
                  </a:lnTo>
                  <a:lnTo>
                    <a:pt x="528" y="209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2"/>
                  </a:lnTo>
                  <a:lnTo>
                    <a:pt x="527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9" y="212"/>
                  </a:lnTo>
                  <a:lnTo>
                    <a:pt x="529" y="213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9" y="214"/>
                  </a:lnTo>
                  <a:lnTo>
                    <a:pt x="529" y="214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1" y="216"/>
                  </a:lnTo>
                  <a:lnTo>
                    <a:pt x="531" y="216"/>
                  </a:lnTo>
                  <a:lnTo>
                    <a:pt x="531" y="217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1" y="220"/>
                  </a:lnTo>
                  <a:lnTo>
                    <a:pt x="531" y="221"/>
                  </a:lnTo>
                  <a:lnTo>
                    <a:pt x="531" y="221"/>
                  </a:lnTo>
                  <a:lnTo>
                    <a:pt x="532" y="221"/>
                  </a:lnTo>
                  <a:lnTo>
                    <a:pt x="532" y="222"/>
                  </a:lnTo>
                  <a:lnTo>
                    <a:pt x="531" y="222"/>
                  </a:lnTo>
                  <a:lnTo>
                    <a:pt x="532" y="222"/>
                  </a:lnTo>
                  <a:lnTo>
                    <a:pt x="532" y="222"/>
                  </a:lnTo>
                  <a:lnTo>
                    <a:pt x="532" y="223"/>
                  </a:lnTo>
                  <a:lnTo>
                    <a:pt x="532" y="223"/>
                  </a:lnTo>
                  <a:lnTo>
                    <a:pt x="532" y="224"/>
                  </a:lnTo>
                  <a:lnTo>
                    <a:pt x="532" y="225"/>
                  </a:lnTo>
                  <a:lnTo>
                    <a:pt x="532" y="225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3" y="227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5"/>
                  </a:lnTo>
                  <a:lnTo>
                    <a:pt x="533" y="225"/>
                  </a:lnTo>
                  <a:lnTo>
                    <a:pt x="533" y="226"/>
                  </a:lnTo>
                  <a:lnTo>
                    <a:pt x="532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4" y="226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8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30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4" y="230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5" y="233"/>
                  </a:lnTo>
                  <a:lnTo>
                    <a:pt x="536" y="233"/>
                  </a:lnTo>
                  <a:lnTo>
                    <a:pt x="536" y="233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8" y="235"/>
                  </a:lnTo>
                  <a:lnTo>
                    <a:pt x="538" y="234"/>
                  </a:lnTo>
                  <a:lnTo>
                    <a:pt x="538" y="235"/>
                  </a:lnTo>
                  <a:lnTo>
                    <a:pt x="538" y="235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7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9"/>
                  </a:lnTo>
                  <a:lnTo>
                    <a:pt x="538" y="240"/>
                  </a:lnTo>
                  <a:lnTo>
                    <a:pt x="538" y="240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9" y="243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40" y="245"/>
                  </a:lnTo>
                  <a:lnTo>
                    <a:pt x="541" y="245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2" y="247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50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4" y="249"/>
                  </a:lnTo>
                  <a:lnTo>
                    <a:pt x="544" y="249"/>
                  </a:lnTo>
                  <a:lnTo>
                    <a:pt x="544" y="250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9" y="254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50" y="253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1" y="253"/>
                  </a:lnTo>
                  <a:lnTo>
                    <a:pt x="551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3" y="254"/>
                  </a:lnTo>
                  <a:lnTo>
                    <a:pt x="553" y="255"/>
                  </a:lnTo>
                  <a:lnTo>
                    <a:pt x="554" y="255"/>
                  </a:lnTo>
                  <a:lnTo>
                    <a:pt x="553" y="255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6" y="254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4" y="258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1" y="260"/>
                  </a:lnTo>
                  <a:lnTo>
                    <a:pt x="550" y="260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0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8" y="262"/>
                  </a:lnTo>
                  <a:lnTo>
                    <a:pt x="547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0"/>
                  </a:lnTo>
                  <a:lnTo>
                    <a:pt x="544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1" y="259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39" y="259"/>
                  </a:lnTo>
                  <a:lnTo>
                    <a:pt x="539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0" y="260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7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5" y="261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2" y="261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5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7" y="261"/>
                  </a:lnTo>
                  <a:lnTo>
                    <a:pt x="527" y="261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2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9" y="259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0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4" y="260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7" y="262"/>
                  </a:lnTo>
                  <a:lnTo>
                    <a:pt x="548" y="262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7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7" y="255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6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8" y="257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9" y="258"/>
                  </a:lnTo>
                  <a:lnTo>
                    <a:pt x="560" y="258"/>
                  </a:lnTo>
                  <a:lnTo>
                    <a:pt x="560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1"/>
                  </a:lnTo>
                  <a:lnTo>
                    <a:pt x="561" y="261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3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1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3" y="261"/>
                  </a:lnTo>
                  <a:lnTo>
                    <a:pt x="564" y="261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5" y="262"/>
                  </a:lnTo>
                  <a:lnTo>
                    <a:pt x="565" y="263"/>
                  </a:lnTo>
                  <a:lnTo>
                    <a:pt x="565" y="263"/>
                  </a:lnTo>
                  <a:lnTo>
                    <a:pt x="566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8" y="263"/>
                  </a:lnTo>
                  <a:lnTo>
                    <a:pt x="568" y="264"/>
                  </a:lnTo>
                  <a:lnTo>
                    <a:pt x="568" y="264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7" y="263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1"/>
                  </a:lnTo>
                  <a:lnTo>
                    <a:pt x="566" y="261"/>
                  </a:lnTo>
                  <a:lnTo>
                    <a:pt x="565" y="261"/>
                  </a:lnTo>
                  <a:lnTo>
                    <a:pt x="565" y="261"/>
                  </a:lnTo>
                  <a:lnTo>
                    <a:pt x="564" y="261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3" y="260"/>
                  </a:lnTo>
                  <a:lnTo>
                    <a:pt x="563" y="259"/>
                  </a:lnTo>
                  <a:lnTo>
                    <a:pt x="564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2" y="259"/>
                  </a:lnTo>
                  <a:lnTo>
                    <a:pt x="561" y="259"/>
                  </a:lnTo>
                  <a:lnTo>
                    <a:pt x="561" y="258"/>
                  </a:lnTo>
                  <a:lnTo>
                    <a:pt x="562" y="258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0" y="258"/>
                  </a:lnTo>
                  <a:lnTo>
                    <a:pt x="560" y="257"/>
                  </a:lnTo>
                  <a:lnTo>
                    <a:pt x="559" y="256"/>
                  </a:lnTo>
                  <a:lnTo>
                    <a:pt x="560" y="256"/>
                  </a:lnTo>
                  <a:lnTo>
                    <a:pt x="559" y="256"/>
                  </a:lnTo>
                  <a:lnTo>
                    <a:pt x="558" y="256"/>
                  </a:lnTo>
                  <a:lnTo>
                    <a:pt x="558" y="256"/>
                  </a:lnTo>
                  <a:lnTo>
                    <a:pt x="558" y="255"/>
                  </a:lnTo>
                  <a:lnTo>
                    <a:pt x="557" y="255"/>
                  </a:lnTo>
                  <a:lnTo>
                    <a:pt x="557" y="255"/>
                  </a:lnTo>
                  <a:lnTo>
                    <a:pt x="556" y="255"/>
                  </a:lnTo>
                  <a:lnTo>
                    <a:pt x="556" y="254"/>
                  </a:lnTo>
                  <a:lnTo>
                    <a:pt x="556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4" y="253"/>
                  </a:lnTo>
                  <a:lnTo>
                    <a:pt x="554" y="253"/>
                  </a:lnTo>
                  <a:lnTo>
                    <a:pt x="553" y="253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2"/>
                  </a:lnTo>
                  <a:lnTo>
                    <a:pt x="550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49" y="249"/>
                  </a:lnTo>
                  <a:lnTo>
                    <a:pt x="549" y="249"/>
                  </a:lnTo>
                  <a:lnTo>
                    <a:pt x="548" y="249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7" y="248"/>
                  </a:lnTo>
                  <a:lnTo>
                    <a:pt x="546" y="248"/>
                  </a:lnTo>
                  <a:lnTo>
                    <a:pt x="546" y="248"/>
                  </a:lnTo>
                  <a:lnTo>
                    <a:pt x="546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7" y="246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1" y="244"/>
                  </a:lnTo>
                  <a:lnTo>
                    <a:pt x="552" y="244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2" y="244"/>
                  </a:lnTo>
                  <a:lnTo>
                    <a:pt x="551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49" y="244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8" y="245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7" y="246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5" y="246"/>
                  </a:lnTo>
                  <a:lnTo>
                    <a:pt x="545" y="245"/>
                  </a:lnTo>
                  <a:lnTo>
                    <a:pt x="545" y="245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4" y="246"/>
                  </a:lnTo>
                  <a:lnTo>
                    <a:pt x="543" y="246"/>
                  </a:lnTo>
                  <a:lnTo>
                    <a:pt x="543" y="245"/>
                  </a:lnTo>
                  <a:lnTo>
                    <a:pt x="543" y="245"/>
                  </a:lnTo>
                  <a:lnTo>
                    <a:pt x="542" y="245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1" y="244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2"/>
                  </a:lnTo>
                  <a:lnTo>
                    <a:pt x="541" y="242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40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39"/>
                  </a:lnTo>
                  <a:lnTo>
                    <a:pt x="540" y="238"/>
                  </a:lnTo>
                  <a:lnTo>
                    <a:pt x="539" y="238"/>
                  </a:lnTo>
                  <a:lnTo>
                    <a:pt x="539" y="238"/>
                  </a:lnTo>
                  <a:lnTo>
                    <a:pt x="540" y="238"/>
                  </a:lnTo>
                  <a:lnTo>
                    <a:pt x="540" y="237"/>
                  </a:lnTo>
                  <a:lnTo>
                    <a:pt x="540" y="237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5"/>
                  </a:lnTo>
                  <a:lnTo>
                    <a:pt x="539" y="235"/>
                  </a:lnTo>
                  <a:lnTo>
                    <a:pt x="539" y="234"/>
                  </a:lnTo>
                  <a:lnTo>
                    <a:pt x="539" y="234"/>
                  </a:lnTo>
                  <a:lnTo>
                    <a:pt x="538" y="234"/>
                  </a:lnTo>
                  <a:lnTo>
                    <a:pt x="538" y="233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1"/>
                  </a:lnTo>
                  <a:lnTo>
                    <a:pt x="537" y="231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40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3" y="230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4"/>
                  </a:lnTo>
                  <a:lnTo>
                    <a:pt x="544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7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51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2"/>
                  </a:lnTo>
                  <a:lnTo>
                    <a:pt x="555" y="233"/>
                  </a:lnTo>
                  <a:lnTo>
                    <a:pt x="555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7" y="231"/>
                  </a:lnTo>
                  <a:lnTo>
                    <a:pt x="558" y="231"/>
                  </a:lnTo>
                  <a:lnTo>
                    <a:pt x="557" y="231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5" y="232"/>
                  </a:lnTo>
                  <a:lnTo>
                    <a:pt x="554" y="232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1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7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4" y="234"/>
                  </a:lnTo>
                  <a:lnTo>
                    <a:pt x="543" y="234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0" y="230"/>
                  </a:lnTo>
                  <a:lnTo>
                    <a:pt x="540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6" y="229"/>
                  </a:lnTo>
                  <a:lnTo>
                    <a:pt x="536" y="228"/>
                  </a:lnTo>
                  <a:lnTo>
                    <a:pt x="537" y="228"/>
                  </a:lnTo>
                  <a:lnTo>
                    <a:pt x="536" y="228"/>
                  </a:lnTo>
                  <a:lnTo>
                    <a:pt x="536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6"/>
                  </a:lnTo>
                  <a:lnTo>
                    <a:pt x="535" y="226"/>
                  </a:lnTo>
                  <a:lnTo>
                    <a:pt x="535" y="225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6" y="223"/>
                  </a:lnTo>
                  <a:lnTo>
                    <a:pt x="537" y="222"/>
                  </a:lnTo>
                  <a:lnTo>
                    <a:pt x="537" y="223"/>
                  </a:lnTo>
                  <a:lnTo>
                    <a:pt x="537" y="222"/>
                  </a:lnTo>
                  <a:lnTo>
                    <a:pt x="536" y="223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4" y="221"/>
                  </a:lnTo>
                  <a:lnTo>
                    <a:pt x="534" y="222"/>
                  </a:lnTo>
                  <a:lnTo>
                    <a:pt x="534" y="221"/>
                  </a:lnTo>
                  <a:lnTo>
                    <a:pt x="535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3" y="221"/>
                  </a:lnTo>
                  <a:lnTo>
                    <a:pt x="533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19"/>
                  </a:lnTo>
                  <a:lnTo>
                    <a:pt x="534" y="219"/>
                  </a:lnTo>
                  <a:lnTo>
                    <a:pt x="533" y="219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5" y="219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3" y="217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2" y="216"/>
                  </a:lnTo>
                  <a:lnTo>
                    <a:pt x="533" y="216"/>
                  </a:lnTo>
                  <a:lnTo>
                    <a:pt x="532" y="216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4" y="215"/>
                  </a:lnTo>
                  <a:lnTo>
                    <a:pt x="534" y="216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6" y="215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40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0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41" y="215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3" y="214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4" y="213"/>
                  </a:lnTo>
                  <a:lnTo>
                    <a:pt x="544" y="212"/>
                  </a:lnTo>
                  <a:lnTo>
                    <a:pt x="544" y="213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3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1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4"/>
                  </a:lnTo>
                  <a:lnTo>
                    <a:pt x="531" y="214"/>
                  </a:lnTo>
                  <a:lnTo>
                    <a:pt x="530" y="214"/>
                  </a:lnTo>
                  <a:lnTo>
                    <a:pt x="530" y="214"/>
                  </a:lnTo>
                  <a:lnTo>
                    <a:pt x="530" y="213"/>
                  </a:lnTo>
                  <a:lnTo>
                    <a:pt x="530" y="213"/>
                  </a:lnTo>
                  <a:lnTo>
                    <a:pt x="530" y="212"/>
                  </a:lnTo>
                  <a:lnTo>
                    <a:pt x="530" y="212"/>
                  </a:lnTo>
                  <a:lnTo>
                    <a:pt x="531" y="212"/>
                  </a:lnTo>
                  <a:lnTo>
                    <a:pt x="531" y="211"/>
                  </a:lnTo>
                  <a:lnTo>
                    <a:pt x="531" y="211"/>
                  </a:lnTo>
                  <a:lnTo>
                    <a:pt x="530" y="211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09"/>
                  </a:lnTo>
                  <a:lnTo>
                    <a:pt x="530" y="208"/>
                  </a:lnTo>
                  <a:lnTo>
                    <a:pt x="530" y="208"/>
                  </a:lnTo>
                  <a:lnTo>
                    <a:pt x="530" y="207"/>
                  </a:lnTo>
                  <a:lnTo>
                    <a:pt x="530" y="207"/>
                  </a:lnTo>
                  <a:lnTo>
                    <a:pt x="530" y="206"/>
                  </a:lnTo>
                  <a:lnTo>
                    <a:pt x="530" y="206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6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09"/>
                  </a:lnTo>
                  <a:lnTo>
                    <a:pt x="542" y="209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4" y="207"/>
                  </a:lnTo>
                  <a:lnTo>
                    <a:pt x="544" y="206"/>
                  </a:lnTo>
                  <a:lnTo>
                    <a:pt x="545" y="206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7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7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5" y="206"/>
                  </a:lnTo>
                  <a:lnTo>
                    <a:pt x="544" y="206"/>
                  </a:lnTo>
                  <a:lnTo>
                    <a:pt x="544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2" y="207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9"/>
                  </a:lnTo>
                  <a:lnTo>
                    <a:pt x="541" y="209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0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8"/>
                  </a:lnTo>
                  <a:lnTo>
                    <a:pt x="536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5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6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4"/>
                  </a:lnTo>
                  <a:lnTo>
                    <a:pt x="535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3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3" y="203"/>
                  </a:lnTo>
                  <a:lnTo>
                    <a:pt x="534" y="203"/>
                  </a:lnTo>
                  <a:lnTo>
                    <a:pt x="534" y="203"/>
                  </a:lnTo>
                  <a:lnTo>
                    <a:pt x="534" y="202"/>
                  </a:lnTo>
                  <a:lnTo>
                    <a:pt x="535" y="202"/>
                  </a:lnTo>
                  <a:lnTo>
                    <a:pt x="535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5" y="201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6" y="200"/>
                  </a:lnTo>
                  <a:lnTo>
                    <a:pt x="536" y="199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6" y="199"/>
                  </a:lnTo>
                  <a:lnTo>
                    <a:pt x="536" y="199"/>
                  </a:lnTo>
                  <a:lnTo>
                    <a:pt x="536" y="198"/>
                  </a:lnTo>
                  <a:lnTo>
                    <a:pt x="536" y="197"/>
                  </a:lnTo>
                  <a:lnTo>
                    <a:pt x="536" y="197"/>
                  </a:lnTo>
                  <a:lnTo>
                    <a:pt x="536" y="196"/>
                  </a:lnTo>
                  <a:lnTo>
                    <a:pt x="537" y="196"/>
                  </a:lnTo>
                  <a:lnTo>
                    <a:pt x="537" y="196"/>
                  </a:lnTo>
                  <a:lnTo>
                    <a:pt x="537" y="195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2"/>
                  </a:lnTo>
                  <a:lnTo>
                    <a:pt x="538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40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2" y="191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90"/>
                  </a:lnTo>
                  <a:lnTo>
                    <a:pt x="544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2"/>
                  </a:lnTo>
                  <a:lnTo>
                    <a:pt x="547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1" y="193"/>
                  </a:lnTo>
                  <a:lnTo>
                    <a:pt x="552" y="193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2" y="194"/>
                  </a:lnTo>
                  <a:lnTo>
                    <a:pt x="563" y="194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6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8" y="194"/>
                  </a:lnTo>
                  <a:lnTo>
                    <a:pt x="568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6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4" y="193"/>
                  </a:lnTo>
                  <a:lnTo>
                    <a:pt x="564" y="193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3" y="194"/>
                  </a:lnTo>
                  <a:lnTo>
                    <a:pt x="562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1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7" y="192"/>
                  </a:lnTo>
                  <a:lnTo>
                    <a:pt x="546" y="192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5" y="191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4" y="190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1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0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8" y="192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7" y="191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8" y="190"/>
                  </a:lnTo>
                  <a:lnTo>
                    <a:pt x="538" y="189"/>
                  </a:lnTo>
                  <a:lnTo>
                    <a:pt x="538" y="189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40" y="188"/>
                  </a:lnTo>
                  <a:lnTo>
                    <a:pt x="540" y="187"/>
                  </a:lnTo>
                  <a:lnTo>
                    <a:pt x="541" y="187"/>
                  </a:lnTo>
                  <a:lnTo>
                    <a:pt x="541" y="187"/>
                  </a:lnTo>
                  <a:lnTo>
                    <a:pt x="541" y="186"/>
                  </a:lnTo>
                  <a:lnTo>
                    <a:pt x="542" y="186"/>
                  </a:lnTo>
                  <a:lnTo>
                    <a:pt x="542" y="186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3" y="185"/>
                  </a:lnTo>
                  <a:lnTo>
                    <a:pt x="543" y="184"/>
                  </a:lnTo>
                  <a:lnTo>
                    <a:pt x="543" y="184"/>
                  </a:lnTo>
                  <a:lnTo>
                    <a:pt x="543" y="183"/>
                  </a:lnTo>
                  <a:lnTo>
                    <a:pt x="543" y="182"/>
                  </a:lnTo>
                  <a:lnTo>
                    <a:pt x="544" y="182"/>
                  </a:lnTo>
                  <a:lnTo>
                    <a:pt x="544" y="182"/>
                  </a:lnTo>
                  <a:lnTo>
                    <a:pt x="545" y="182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0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50" y="179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8" y="189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6" y="188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51" y="183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1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7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8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6" y="177"/>
                  </a:lnTo>
                  <a:lnTo>
                    <a:pt x="547" y="177"/>
                  </a:lnTo>
                  <a:lnTo>
                    <a:pt x="547" y="178"/>
                  </a:lnTo>
                  <a:lnTo>
                    <a:pt x="547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50" y="177"/>
                  </a:lnTo>
                  <a:lnTo>
                    <a:pt x="550" y="177"/>
                  </a:lnTo>
                  <a:lnTo>
                    <a:pt x="550" y="176"/>
                  </a:lnTo>
                  <a:lnTo>
                    <a:pt x="551" y="176"/>
                  </a:lnTo>
                  <a:lnTo>
                    <a:pt x="551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3" y="175"/>
                  </a:lnTo>
                  <a:lnTo>
                    <a:pt x="553" y="175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3" y="173"/>
                  </a:lnTo>
                  <a:lnTo>
                    <a:pt x="554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3" y="171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5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7" y="170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5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2" y="170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0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5" y="168"/>
                  </a:lnTo>
                  <a:lnTo>
                    <a:pt x="555" y="169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6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8" y="169"/>
                  </a:lnTo>
                  <a:lnTo>
                    <a:pt x="559" y="169"/>
                  </a:lnTo>
                  <a:lnTo>
                    <a:pt x="560" y="169"/>
                  </a:lnTo>
                  <a:lnTo>
                    <a:pt x="560" y="169"/>
                  </a:lnTo>
                  <a:lnTo>
                    <a:pt x="560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8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5" y="165"/>
                  </a:lnTo>
                  <a:lnTo>
                    <a:pt x="565" y="165"/>
                  </a:lnTo>
                  <a:lnTo>
                    <a:pt x="566" y="165"/>
                  </a:lnTo>
                  <a:lnTo>
                    <a:pt x="566" y="164"/>
                  </a:lnTo>
                  <a:lnTo>
                    <a:pt x="566" y="164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1"/>
                  </a:lnTo>
                  <a:lnTo>
                    <a:pt x="565" y="160"/>
                  </a:lnTo>
                  <a:lnTo>
                    <a:pt x="565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4" y="159"/>
                  </a:lnTo>
                  <a:lnTo>
                    <a:pt x="564" y="159"/>
                  </a:lnTo>
                  <a:lnTo>
                    <a:pt x="563" y="158"/>
                  </a:lnTo>
                  <a:lnTo>
                    <a:pt x="563" y="157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4"/>
                  </a:lnTo>
                  <a:lnTo>
                    <a:pt x="564" y="153"/>
                  </a:lnTo>
                  <a:lnTo>
                    <a:pt x="563" y="153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4" y="151"/>
                  </a:lnTo>
                  <a:lnTo>
                    <a:pt x="564" y="150"/>
                  </a:lnTo>
                  <a:lnTo>
                    <a:pt x="563" y="150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0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5" y="150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3" y="148"/>
                  </a:lnTo>
                  <a:lnTo>
                    <a:pt x="563" y="148"/>
                  </a:lnTo>
                  <a:lnTo>
                    <a:pt x="563" y="147"/>
                  </a:lnTo>
                  <a:lnTo>
                    <a:pt x="562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0" y="146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1" y="145"/>
                  </a:lnTo>
                  <a:lnTo>
                    <a:pt x="560" y="145"/>
                  </a:lnTo>
                  <a:lnTo>
                    <a:pt x="560" y="144"/>
                  </a:lnTo>
                  <a:lnTo>
                    <a:pt x="560" y="144"/>
                  </a:lnTo>
                  <a:lnTo>
                    <a:pt x="560" y="143"/>
                  </a:lnTo>
                  <a:lnTo>
                    <a:pt x="560" y="142"/>
                  </a:lnTo>
                  <a:lnTo>
                    <a:pt x="560" y="142"/>
                  </a:lnTo>
                  <a:lnTo>
                    <a:pt x="559" y="141"/>
                  </a:lnTo>
                  <a:lnTo>
                    <a:pt x="558" y="141"/>
                  </a:lnTo>
                  <a:lnTo>
                    <a:pt x="559" y="141"/>
                  </a:lnTo>
                  <a:lnTo>
                    <a:pt x="560" y="141"/>
                  </a:lnTo>
                  <a:lnTo>
                    <a:pt x="560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2" y="141"/>
                  </a:lnTo>
                  <a:lnTo>
                    <a:pt x="563" y="141"/>
                  </a:lnTo>
                  <a:lnTo>
                    <a:pt x="563" y="141"/>
                  </a:lnTo>
                  <a:lnTo>
                    <a:pt x="564" y="141"/>
                  </a:lnTo>
                  <a:lnTo>
                    <a:pt x="564" y="141"/>
                  </a:lnTo>
                  <a:lnTo>
                    <a:pt x="565" y="141"/>
                  </a:lnTo>
                  <a:lnTo>
                    <a:pt x="565" y="141"/>
                  </a:lnTo>
                  <a:lnTo>
                    <a:pt x="566" y="141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8" y="142"/>
                  </a:lnTo>
                  <a:lnTo>
                    <a:pt x="568" y="143"/>
                  </a:lnTo>
                  <a:lnTo>
                    <a:pt x="567" y="143"/>
                  </a:lnTo>
                  <a:lnTo>
                    <a:pt x="568" y="143"/>
                  </a:lnTo>
                  <a:lnTo>
                    <a:pt x="568" y="143"/>
                  </a:lnTo>
                  <a:lnTo>
                    <a:pt x="568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70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2" y="145"/>
                  </a:lnTo>
                  <a:lnTo>
                    <a:pt x="572" y="146"/>
                  </a:lnTo>
                  <a:lnTo>
                    <a:pt x="572" y="146"/>
                  </a:lnTo>
                  <a:lnTo>
                    <a:pt x="573" y="146"/>
                  </a:lnTo>
                  <a:lnTo>
                    <a:pt x="573" y="146"/>
                  </a:lnTo>
                  <a:lnTo>
                    <a:pt x="573" y="147"/>
                  </a:lnTo>
                  <a:lnTo>
                    <a:pt x="573" y="148"/>
                  </a:lnTo>
                  <a:lnTo>
                    <a:pt x="573" y="148"/>
                  </a:lnTo>
                  <a:lnTo>
                    <a:pt x="574" y="148"/>
                  </a:lnTo>
                  <a:lnTo>
                    <a:pt x="574" y="148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5" y="150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8" y="151"/>
                  </a:lnTo>
                  <a:lnTo>
                    <a:pt x="578" y="150"/>
                  </a:lnTo>
                  <a:lnTo>
                    <a:pt x="579" y="150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8" y="148"/>
                  </a:lnTo>
                  <a:lnTo>
                    <a:pt x="578" y="148"/>
                  </a:lnTo>
                  <a:lnTo>
                    <a:pt x="578" y="147"/>
                  </a:lnTo>
                  <a:lnTo>
                    <a:pt x="578" y="146"/>
                  </a:lnTo>
                  <a:lnTo>
                    <a:pt x="578" y="147"/>
                  </a:lnTo>
                  <a:lnTo>
                    <a:pt x="578" y="148"/>
                  </a:lnTo>
                  <a:lnTo>
                    <a:pt x="579" y="148"/>
                  </a:lnTo>
                  <a:lnTo>
                    <a:pt x="579" y="148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0" y="150"/>
                  </a:lnTo>
                  <a:lnTo>
                    <a:pt x="580" y="150"/>
                  </a:lnTo>
                  <a:lnTo>
                    <a:pt x="580" y="151"/>
                  </a:lnTo>
                  <a:lnTo>
                    <a:pt x="581" y="151"/>
                  </a:lnTo>
                  <a:lnTo>
                    <a:pt x="582" y="151"/>
                  </a:lnTo>
                  <a:lnTo>
                    <a:pt x="581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8" y="151"/>
                  </a:lnTo>
                  <a:lnTo>
                    <a:pt x="578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7" y="153"/>
                  </a:lnTo>
                  <a:lnTo>
                    <a:pt x="578" y="153"/>
                  </a:lnTo>
                  <a:lnTo>
                    <a:pt x="578" y="153"/>
                  </a:lnTo>
                  <a:lnTo>
                    <a:pt x="578" y="152"/>
                  </a:lnTo>
                  <a:lnTo>
                    <a:pt x="579" y="152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4"/>
                  </a:lnTo>
                  <a:lnTo>
                    <a:pt x="579" y="155"/>
                  </a:lnTo>
                  <a:lnTo>
                    <a:pt x="580" y="155"/>
                  </a:lnTo>
                  <a:lnTo>
                    <a:pt x="580" y="155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2" y="157"/>
                  </a:lnTo>
                  <a:lnTo>
                    <a:pt x="582" y="157"/>
                  </a:lnTo>
                  <a:lnTo>
                    <a:pt x="583" y="158"/>
                  </a:lnTo>
                  <a:lnTo>
                    <a:pt x="583" y="159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3" y="162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6"/>
                  </a:lnTo>
                  <a:lnTo>
                    <a:pt x="581" y="166"/>
                  </a:lnTo>
                  <a:lnTo>
                    <a:pt x="582" y="166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6" y="160"/>
                  </a:lnTo>
                  <a:lnTo>
                    <a:pt x="586" y="160"/>
                  </a:lnTo>
                  <a:lnTo>
                    <a:pt x="586" y="161"/>
                  </a:lnTo>
                  <a:lnTo>
                    <a:pt x="587" y="161"/>
                  </a:lnTo>
                  <a:lnTo>
                    <a:pt x="587" y="162"/>
                  </a:lnTo>
                  <a:lnTo>
                    <a:pt x="587" y="162"/>
                  </a:lnTo>
                  <a:lnTo>
                    <a:pt x="587" y="163"/>
                  </a:lnTo>
                  <a:lnTo>
                    <a:pt x="588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90" y="163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92" y="162"/>
                  </a:lnTo>
                  <a:lnTo>
                    <a:pt x="591" y="162"/>
                  </a:lnTo>
                  <a:lnTo>
                    <a:pt x="591" y="163"/>
                  </a:lnTo>
                  <a:lnTo>
                    <a:pt x="592" y="163"/>
                  </a:lnTo>
                  <a:lnTo>
                    <a:pt x="592" y="163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5"/>
                  </a:lnTo>
                  <a:lnTo>
                    <a:pt x="593" y="165"/>
                  </a:lnTo>
                  <a:lnTo>
                    <a:pt x="593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4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5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5"/>
                  </a:lnTo>
                  <a:lnTo>
                    <a:pt x="595" y="165"/>
                  </a:lnTo>
                  <a:lnTo>
                    <a:pt x="596" y="165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3"/>
                  </a:lnTo>
                  <a:lnTo>
                    <a:pt x="598" y="163"/>
                  </a:lnTo>
                  <a:lnTo>
                    <a:pt x="598" y="162"/>
                  </a:lnTo>
                  <a:lnTo>
                    <a:pt x="599" y="162"/>
                  </a:lnTo>
                  <a:lnTo>
                    <a:pt x="599" y="162"/>
                  </a:lnTo>
                  <a:lnTo>
                    <a:pt x="599" y="161"/>
                  </a:lnTo>
                  <a:lnTo>
                    <a:pt x="600" y="161"/>
                  </a:lnTo>
                  <a:lnTo>
                    <a:pt x="599" y="161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3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3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1" y="159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5" y="159"/>
                  </a:lnTo>
                  <a:lnTo>
                    <a:pt x="605" y="160"/>
                  </a:lnTo>
                  <a:lnTo>
                    <a:pt x="604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1"/>
                  </a:lnTo>
                  <a:lnTo>
                    <a:pt x="607" y="161"/>
                  </a:lnTo>
                  <a:lnTo>
                    <a:pt x="606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8" y="163"/>
                  </a:lnTo>
                  <a:lnTo>
                    <a:pt x="609" y="162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10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2" y="164"/>
                  </a:lnTo>
                  <a:lnTo>
                    <a:pt x="613" y="165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1" y="167"/>
                  </a:lnTo>
                  <a:lnTo>
                    <a:pt x="610" y="167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8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8" y="174"/>
                  </a:lnTo>
                  <a:lnTo>
                    <a:pt x="607" y="174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7" y="174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7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5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3" y="163"/>
                  </a:lnTo>
                  <a:lnTo>
                    <a:pt x="612" y="163"/>
                  </a:lnTo>
                  <a:lnTo>
                    <a:pt x="613" y="164"/>
                  </a:lnTo>
                  <a:lnTo>
                    <a:pt x="612" y="163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0" y="164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2"/>
                  </a:lnTo>
                  <a:lnTo>
                    <a:pt x="608" y="163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6" y="162"/>
                  </a:lnTo>
                  <a:lnTo>
                    <a:pt x="607" y="161"/>
                  </a:lnTo>
                  <a:lnTo>
                    <a:pt x="606" y="161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5" y="160"/>
                  </a:lnTo>
                  <a:lnTo>
                    <a:pt x="605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8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6"/>
                  </a:lnTo>
                  <a:lnTo>
                    <a:pt x="601" y="156"/>
                  </a:lnTo>
                  <a:lnTo>
                    <a:pt x="602" y="155"/>
                  </a:lnTo>
                  <a:lnTo>
                    <a:pt x="602" y="155"/>
                  </a:lnTo>
                  <a:lnTo>
                    <a:pt x="602" y="154"/>
                  </a:lnTo>
                  <a:lnTo>
                    <a:pt x="602" y="154"/>
                  </a:lnTo>
                  <a:lnTo>
                    <a:pt x="602" y="153"/>
                  </a:lnTo>
                  <a:lnTo>
                    <a:pt x="603" y="152"/>
                  </a:lnTo>
                  <a:lnTo>
                    <a:pt x="603" y="152"/>
                  </a:lnTo>
                  <a:lnTo>
                    <a:pt x="603" y="151"/>
                  </a:lnTo>
                  <a:lnTo>
                    <a:pt x="604" y="151"/>
                  </a:lnTo>
                  <a:lnTo>
                    <a:pt x="605" y="150"/>
                  </a:lnTo>
                  <a:lnTo>
                    <a:pt x="605" y="149"/>
                  </a:lnTo>
                  <a:lnTo>
                    <a:pt x="605" y="149"/>
                  </a:lnTo>
                  <a:lnTo>
                    <a:pt x="606" y="148"/>
                  </a:lnTo>
                  <a:lnTo>
                    <a:pt x="606" y="148"/>
                  </a:lnTo>
                  <a:lnTo>
                    <a:pt x="607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9" y="147"/>
                  </a:lnTo>
                  <a:lnTo>
                    <a:pt x="609" y="147"/>
                  </a:lnTo>
                  <a:lnTo>
                    <a:pt x="610" y="147"/>
                  </a:lnTo>
                  <a:lnTo>
                    <a:pt x="610" y="147"/>
                  </a:lnTo>
                  <a:lnTo>
                    <a:pt x="610" y="148"/>
                  </a:lnTo>
                  <a:lnTo>
                    <a:pt x="611" y="148"/>
                  </a:lnTo>
                  <a:lnTo>
                    <a:pt x="612" y="148"/>
                  </a:lnTo>
                  <a:lnTo>
                    <a:pt x="612" y="149"/>
                  </a:lnTo>
                  <a:lnTo>
                    <a:pt x="612" y="148"/>
                  </a:lnTo>
                  <a:lnTo>
                    <a:pt x="611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09" y="148"/>
                  </a:lnTo>
                  <a:lnTo>
                    <a:pt x="609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7" y="148"/>
                  </a:lnTo>
                  <a:lnTo>
                    <a:pt x="607" y="148"/>
                  </a:lnTo>
                  <a:lnTo>
                    <a:pt x="607" y="149"/>
                  </a:lnTo>
                  <a:lnTo>
                    <a:pt x="608" y="149"/>
                  </a:lnTo>
                  <a:lnTo>
                    <a:pt x="608" y="149"/>
                  </a:lnTo>
                  <a:lnTo>
                    <a:pt x="607" y="149"/>
                  </a:lnTo>
                  <a:lnTo>
                    <a:pt x="607" y="150"/>
                  </a:lnTo>
                  <a:lnTo>
                    <a:pt x="607" y="151"/>
                  </a:lnTo>
                  <a:lnTo>
                    <a:pt x="608" y="151"/>
                  </a:lnTo>
                  <a:lnTo>
                    <a:pt x="608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2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3"/>
                  </a:lnTo>
                  <a:lnTo>
                    <a:pt x="610" y="153"/>
                  </a:lnTo>
                  <a:lnTo>
                    <a:pt x="611" y="153"/>
                  </a:lnTo>
                  <a:lnTo>
                    <a:pt x="612" y="153"/>
                  </a:lnTo>
                  <a:lnTo>
                    <a:pt x="612" y="154"/>
                  </a:lnTo>
                  <a:lnTo>
                    <a:pt x="612" y="154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6" y="155"/>
                  </a:lnTo>
                  <a:lnTo>
                    <a:pt x="615" y="155"/>
                  </a:lnTo>
                  <a:lnTo>
                    <a:pt x="615" y="156"/>
                  </a:lnTo>
                  <a:lnTo>
                    <a:pt x="615" y="155"/>
                  </a:lnTo>
                  <a:lnTo>
                    <a:pt x="616" y="155"/>
                  </a:lnTo>
                  <a:lnTo>
                    <a:pt x="616" y="156"/>
                  </a:lnTo>
                  <a:lnTo>
                    <a:pt x="617" y="156"/>
                  </a:lnTo>
                  <a:lnTo>
                    <a:pt x="617" y="156"/>
                  </a:lnTo>
                  <a:lnTo>
                    <a:pt x="618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20" y="156"/>
                  </a:lnTo>
                  <a:lnTo>
                    <a:pt x="620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2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8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8"/>
                  </a:lnTo>
                  <a:lnTo>
                    <a:pt x="624" y="158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8" y="157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9" y="158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5"/>
                  </a:lnTo>
                  <a:lnTo>
                    <a:pt x="624" y="155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1" y="156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2" y="158"/>
                  </a:lnTo>
                  <a:lnTo>
                    <a:pt x="632" y="158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3" y="160"/>
                  </a:lnTo>
                  <a:lnTo>
                    <a:pt x="633" y="160"/>
                  </a:lnTo>
                  <a:lnTo>
                    <a:pt x="634" y="160"/>
                  </a:lnTo>
                  <a:lnTo>
                    <a:pt x="635" y="160"/>
                  </a:lnTo>
                  <a:lnTo>
                    <a:pt x="635" y="161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5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29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5" y="167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4" y="169"/>
                  </a:lnTo>
                  <a:lnTo>
                    <a:pt x="624" y="169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70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6" y="171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6" y="172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6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8" y="174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7" y="175"/>
                  </a:lnTo>
                  <a:lnTo>
                    <a:pt x="627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9" y="176"/>
                  </a:lnTo>
                  <a:lnTo>
                    <a:pt x="630" y="176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8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8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4" y="180"/>
                  </a:lnTo>
                  <a:lnTo>
                    <a:pt x="624" y="181"/>
                  </a:lnTo>
                  <a:lnTo>
                    <a:pt x="625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3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0" y="186"/>
                  </a:lnTo>
                  <a:lnTo>
                    <a:pt x="620" y="187"/>
                  </a:lnTo>
                  <a:lnTo>
                    <a:pt x="621" y="187"/>
                  </a:lnTo>
                  <a:lnTo>
                    <a:pt x="621" y="188"/>
                  </a:lnTo>
                  <a:lnTo>
                    <a:pt x="620" y="188"/>
                  </a:lnTo>
                  <a:lnTo>
                    <a:pt x="620" y="188"/>
                  </a:lnTo>
                  <a:lnTo>
                    <a:pt x="620" y="189"/>
                  </a:lnTo>
                  <a:lnTo>
                    <a:pt x="620" y="188"/>
                  </a:lnTo>
                  <a:lnTo>
                    <a:pt x="621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1" y="191"/>
                  </a:lnTo>
                  <a:lnTo>
                    <a:pt x="620" y="191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5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8" y="195"/>
                  </a:lnTo>
                  <a:lnTo>
                    <a:pt x="618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3" y="196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8" y="195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8" y="195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7" y="196"/>
                  </a:lnTo>
                  <a:lnTo>
                    <a:pt x="607" y="197"/>
                  </a:lnTo>
                  <a:lnTo>
                    <a:pt x="607" y="196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8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5" y="196"/>
                  </a:lnTo>
                  <a:lnTo>
                    <a:pt x="615" y="197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20" y="195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1" y="196"/>
                  </a:lnTo>
                  <a:lnTo>
                    <a:pt x="622" y="196"/>
                  </a:lnTo>
                  <a:lnTo>
                    <a:pt x="622" y="196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3" y="200"/>
                  </a:lnTo>
                  <a:lnTo>
                    <a:pt x="623" y="200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3" y="208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2" y="205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4" y="202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0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3" y="198"/>
                  </a:lnTo>
                  <a:lnTo>
                    <a:pt x="624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3" y="196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2" y="195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1" y="191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7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3" y="185"/>
                  </a:lnTo>
                  <a:lnTo>
                    <a:pt x="622" y="185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4" y="183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0"/>
                  </a:lnTo>
                  <a:lnTo>
                    <a:pt x="626" y="180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7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9" y="178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9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7" y="176"/>
                  </a:lnTo>
                  <a:lnTo>
                    <a:pt x="627" y="175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8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6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6" y="172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6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69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5" y="167"/>
                  </a:lnTo>
                  <a:lnTo>
                    <a:pt x="626" y="167"/>
                  </a:lnTo>
                  <a:lnTo>
                    <a:pt x="627" y="167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9" y="167"/>
                  </a:lnTo>
                  <a:lnTo>
                    <a:pt x="629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1" y="167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5" y="165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41" y="163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2" y="164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1" y="163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9" y="162"/>
                  </a:lnTo>
                  <a:lnTo>
                    <a:pt x="638" y="161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1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6" y="158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60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8"/>
                  </a:lnTo>
                  <a:lnTo>
                    <a:pt x="635" y="158"/>
                  </a:lnTo>
                  <a:lnTo>
                    <a:pt x="635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6" y="155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7" y="156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9" y="155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40" y="153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0" y="154"/>
                  </a:lnTo>
                  <a:lnTo>
                    <a:pt x="639" y="154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1" y="155"/>
                  </a:lnTo>
                  <a:lnTo>
                    <a:pt x="641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3" y="155"/>
                  </a:lnTo>
                  <a:lnTo>
                    <a:pt x="643" y="155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6" y="157"/>
                  </a:lnTo>
                  <a:lnTo>
                    <a:pt x="645" y="156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8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5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8" y="159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1"/>
                  </a:lnTo>
                  <a:lnTo>
                    <a:pt x="650" y="161"/>
                  </a:lnTo>
                  <a:lnTo>
                    <a:pt x="650" y="162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8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7" y="158"/>
                  </a:lnTo>
                  <a:lnTo>
                    <a:pt x="648" y="158"/>
                  </a:lnTo>
                  <a:lnTo>
                    <a:pt x="648" y="157"/>
                  </a:lnTo>
                  <a:lnTo>
                    <a:pt x="649" y="157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8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2" y="158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49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3" y="157"/>
                  </a:lnTo>
                  <a:lnTo>
                    <a:pt x="652" y="157"/>
                  </a:lnTo>
                  <a:lnTo>
                    <a:pt x="652" y="156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7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9" y="155"/>
                  </a:lnTo>
                  <a:lnTo>
                    <a:pt x="649" y="155"/>
                  </a:lnTo>
                  <a:lnTo>
                    <a:pt x="650" y="155"/>
                  </a:lnTo>
                  <a:lnTo>
                    <a:pt x="650" y="154"/>
                  </a:lnTo>
                  <a:lnTo>
                    <a:pt x="650" y="153"/>
                  </a:lnTo>
                  <a:lnTo>
                    <a:pt x="650" y="153"/>
                  </a:lnTo>
                  <a:lnTo>
                    <a:pt x="650" y="152"/>
                  </a:lnTo>
                  <a:lnTo>
                    <a:pt x="651" y="152"/>
                  </a:lnTo>
                  <a:lnTo>
                    <a:pt x="651" y="152"/>
                  </a:lnTo>
                  <a:lnTo>
                    <a:pt x="652" y="152"/>
                  </a:lnTo>
                  <a:lnTo>
                    <a:pt x="653" y="152"/>
                  </a:lnTo>
                  <a:lnTo>
                    <a:pt x="653" y="152"/>
                  </a:lnTo>
                  <a:lnTo>
                    <a:pt x="654" y="152"/>
                  </a:lnTo>
                  <a:lnTo>
                    <a:pt x="654" y="152"/>
                  </a:lnTo>
                  <a:lnTo>
                    <a:pt x="655" y="152"/>
                  </a:lnTo>
                  <a:lnTo>
                    <a:pt x="655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7" y="151"/>
                  </a:lnTo>
                  <a:lnTo>
                    <a:pt x="657" y="151"/>
                  </a:lnTo>
                  <a:lnTo>
                    <a:pt x="657" y="152"/>
                  </a:lnTo>
                  <a:lnTo>
                    <a:pt x="657" y="152"/>
                  </a:lnTo>
                  <a:lnTo>
                    <a:pt x="658" y="152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9" y="156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1" y="154"/>
                  </a:lnTo>
                  <a:lnTo>
                    <a:pt x="661" y="154"/>
                  </a:lnTo>
                  <a:lnTo>
                    <a:pt x="662" y="154"/>
                  </a:lnTo>
                  <a:lnTo>
                    <a:pt x="662" y="154"/>
                  </a:lnTo>
                  <a:lnTo>
                    <a:pt x="663" y="154"/>
                  </a:lnTo>
                  <a:lnTo>
                    <a:pt x="664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4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6" y="156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4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4"/>
                  </a:lnTo>
                  <a:lnTo>
                    <a:pt x="667" y="155"/>
                  </a:lnTo>
                  <a:lnTo>
                    <a:pt x="666" y="154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0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5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2" y="148"/>
                  </a:lnTo>
                  <a:lnTo>
                    <a:pt x="663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1" y="148"/>
                  </a:lnTo>
                  <a:lnTo>
                    <a:pt x="660" y="148"/>
                  </a:lnTo>
                  <a:lnTo>
                    <a:pt x="660" y="147"/>
                  </a:lnTo>
                  <a:lnTo>
                    <a:pt x="660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7"/>
                  </a:lnTo>
                  <a:lnTo>
                    <a:pt x="661" y="147"/>
                  </a:lnTo>
                  <a:lnTo>
                    <a:pt x="661" y="148"/>
                  </a:lnTo>
                  <a:lnTo>
                    <a:pt x="662" y="148"/>
                  </a:lnTo>
                  <a:lnTo>
                    <a:pt x="662" y="147"/>
                  </a:lnTo>
                  <a:lnTo>
                    <a:pt x="662" y="147"/>
                  </a:lnTo>
                  <a:lnTo>
                    <a:pt x="662" y="146"/>
                  </a:lnTo>
                  <a:lnTo>
                    <a:pt x="663" y="146"/>
                  </a:lnTo>
                  <a:lnTo>
                    <a:pt x="663" y="146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6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5" y="144"/>
                  </a:lnTo>
                  <a:lnTo>
                    <a:pt x="665" y="145"/>
                  </a:lnTo>
                  <a:lnTo>
                    <a:pt x="666" y="145"/>
                  </a:lnTo>
                  <a:lnTo>
                    <a:pt x="667" y="145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6" y="142"/>
                  </a:lnTo>
                  <a:lnTo>
                    <a:pt x="665" y="142"/>
                  </a:lnTo>
                  <a:lnTo>
                    <a:pt x="665" y="143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4" y="144"/>
                  </a:lnTo>
                  <a:lnTo>
                    <a:pt x="664" y="144"/>
                  </a:lnTo>
                  <a:lnTo>
                    <a:pt x="663" y="144"/>
                  </a:lnTo>
                  <a:lnTo>
                    <a:pt x="662" y="143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2" y="144"/>
                  </a:lnTo>
                  <a:lnTo>
                    <a:pt x="662" y="145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0" y="145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59" y="144"/>
                  </a:lnTo>
                  <a:lnTo>
                    <a:pt x="660" y="144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59" y="145"/>
                  </a:lnTo>
                  <a:lnTo>
                    <a:pt x="659" y="144"/>
                  </a:lnTo>
                  <a:lnTo>
                    <a:pt x="658" y="144"/>
                  </a:lnTo>
                  <a:lnTo>
                    <a:pt x="658" y="144"/>
                  </a:lnTo>
                  <a:lnTo>
                    <a:pt x="658" y="143"/>
                  </a:lnTo>
                  <a:lnTo>
                    <a:pt x="658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9" y="141"/>
                  </a:lnTo>
                  <a:lnTo>
                    <a:pt x="660" y="141"/>
                  </a:lnTo>
                  <a:lnTo>
                    <a:pt x="660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3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5" y="142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3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0" y="141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2" y="139"/>
                  </a:lnTo>
                  <a:lnTo>
                    <a:pt x="662" y="140"/>
                  </a:lnTo>
                  <a:lnTo>
                    <a:pt x="662" y="139"/>
                  </a:lnTo>
                  <a:lnTo>
                    <a:pt x="662" y="139"/>
                  </a:lnTo>
                  <a:lnTo>
                    <a:pt x="663" y="138"/>
                  </a:lnTo>
                  <a:lnTo>
                    <a:pt x="664" y="138"/>
                  </a:lnTo>
                  <a:lnTo>
                    <a:pt x="665" y="138"/>
                  </a:lnTo>
                  <a:lnTo>
                    <a:pt x="665" y="138"/>
                  </a:lnTo>
                  <a:lnTo>
                    <a:pt x="666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9"/>
                  </a:lnTo>
                  <a:lnTo>
                    <a:pt x="667" y="139"/>
                  </a:lnTo>
                  <a:lnTo>
                    <a:pt x="668" y="140"/>
                  </a:lnTo>
                  <a:lnTo>
                    <a:pt x="667" y="140"/>
                  </a:lnTo>
                  <a:lnTo>
                    <a:pt x="668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70" y="140"/>
                  </a:lnTo>
                  <a:lnTo>
                    <a:pt x="671" y="140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1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6"/>
                  </a:lnTo>
                  <a:lnTo>
                    <a:pt x="673" y="135"/>
                  </a:lnTo>
                  <a:lnTo>
                    <a:pt x="672" y="135"/>
                  </a:lnTo>
                  <a:lnTo>
                    <a:pt x="672" y="135"/>
                  </a:lnTo>
                  <a:lnTo>
                    <a:pt x="671" y="135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2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3" y="134"/>
                  </a:lnTo>
                  <a:lnTo>
                    <a:pt x="674" y="134"/>
                  </a:lnTo>
                  <a:lnTo>
                    <a:pt x="675" y="134"/>
                  </a:lnTo>
                  <a:lnTo>
                    <a:pt x="675" y="134"/>
                  </a:lnTo>
                  <a:lnTo>
                    <a:pt x="676" y="134"/>
                  </a:lnTo>
                  <a:lnTo>
                    <a:pt x="676" y="134"/>
                  </a:lnTo>
                  <a:lnTo>
                    <a:pt x="677" y="134"/>
                  </a:lnTo>
                  <a:lnTo>
                    <a:pt x="677" y="135"/>
                  </a:lnTo>
                  <a:lnTo>
                    <a:pt x="677" y="135"/>
                  </a:lnTo>
                  <a:lnTo>
                    <a:pt x="678" y="135"/>
                  </a:lnTo>
                  <a:lnTo>
                    <a:pt x="679" y="135"/>
                  </a:lnTo>
                  <a:lnTo>
                    <a:pt x="679" y="135"/>
                  </a:lnTo>
                  <a:lnTo>
                    <a:pt x="680" y="135"/>
                  </a:lnTo>
                  <a:lnTo>
                    <a:pt x="680" y="136"/>
                  </a:lnTo>
                  <a:lnTo>
                    <a:pt x="681" y="136"/>
                  </a:lnTo>
                  <a:lnTo>
                    <a:pt x="682" y="136"/>
                  </a:lnTo>
                  <a:lnTo>
                    <a:pt x="682" y="136"/>
                  </a:lnTo>
                  <a:lnTo>
                    <a:pt x="683" y="136"/>
                  </a:lnTo>
                  <a:lnTo>
                    <a:pt x="683" y="136"/>
                  </a:lnTo>
                  <a:lnTo>
                    <a:pt x="684" y="136"/>
                  </a:lnTo>
                  <a:lnTo>
                    <a:pt x="685" y="136"/>
                  </a:lnTo>
                  <a:lnTo>
                    <a:pt x="686" y="136"/>
                  </a:lnTo>
                  <a:lnTo>
                    <a:pt x="686" y="136"/>
                  </a:lnTo>
                  <a:lnTo>
                    <a:pt x="687" y="136"/>
                  </a:lnTo>
                  <a:lnTo>
                    <a:pt x="688" y="136"/>
                  </a:lnTo>
                  <a:lnTo>
                    <a:pt x="689" y="137"/>
                  </a:lnTo>
                  <a:lnTo>
                    <a:pt x="690" y="137"/>
                  </a:lnTo>
                  <a:lnTo>
                    <a:pt x="691" y="137"/>
                  </a:lnTo>
                  <a:lnTo>
                    <a:pt x="691" y="137"/>
                  </a:lnTo>
                  <a:lnTo>
                    <a:pt x="692" y="137"/>
                  </a:lnTo>
                  <a:lnTo>
                    <a:pt x="693" y="137"/>
                  </a:lnTo>
                  <a:lnTo>
                    <a:pt x="693" y="137"/>
                  </a:lnTo>
                  <a:lnTo>
                    <a:pt x="694" y="137"/>
                  </a:lnTo>
                  <a:lnTo>
                    <a:pt x="694" y="137"/>
                  </a:lnTo>
                  <a:lnTo>
                    <a:pt x="695" y="137"/>
                  </a:lnTo>
                  <a:lnTo>
                    <a:pt x="695" y="137"/>
                  </a:lnTo>
                  <a:lnTo>
                    <a:pt x="696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8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700" y="137"/>
                  </a:lnTo>
                  <a:lnTo>
                    <a:pt x="701" y="137"/>
                  </a:lnTo>
                  <a:lnTo>
                    <a:pt x="701" y="137"/>
                  </a:lnTo>
                  <a:lnTo>
                    <a:pt x="702" y="137"/>
                  </a:lnTo>
                  <a:lnTo>
                    <a:pt x="702" y="137"/>
                  </a:lnTo>
                  <a:lnTo>
                    <a:pt x="702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4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6" y="138"/>
                  </a:lnTo>
                  <a:lnTo>
                    <a:pt x="707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9" y="138"/>
                  </a:lnTo>
                  <a:lnTo>
                    <a:pt x="709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10" y="139"/>
                  </a:lnTo>
                  <a:lnTo>
                    <a:pt x="711" y="139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40"/>
                  </a:lnTo>
                  <a:lnTo>
                    <a:pt x="713" y="140"/>
                  </a:lnTo>
                  <a:lnTo>
                    <a:pt x="713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5" y="140"/>
                  </a:lnTo>
                  <a:lnTo>
                    <a:pt x="716" y="140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7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18" y="142"/>
                  </a:lnTo>
                  <a:lnTo>
                    <a:pt x="718" y="141"/>
                  </a:lnTo>
                  <a:lnTo>
                    <a:pt x="717" y="141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5" y="142"/>
                  </a:lnTo>
                  <a:lnTo>
                    <a:pt x="714" y="141"/>
                  </a:lnTo>
                  <a:lnTo>
                    <a:pt x="713" y="142"/>
                  </a:lnTo>
                  <a:lnTo>
                    <a:pt x="713" y="142"/>
                  </a:lnTo>
                  <a:lnTo>
                    <a:pt x="712" y="142"/>
                  </a:lnTo>
                  <a:lnTo>
                    <a:pt x="711" y="141"/>
                  </a:lnTo>
                  <a:lnTo>
                    <a:pt x="711" y="142"/>
                  </a:lnTo>
                  <a:lnTo>
                    <a:pt x="710" y="142"/>
                  </a:lnTo>
                  <a:lnTo>
                    <a:pt x="710" y="141"/>
                  </a:lnTo>
                  <a:lnTo>
                    <a:pt x="710" y="141"/>
                  </a:lnTo>
                  <a:lnTo>
                    <a:pt x="709" y="141"/>
                  </a:lnTo>
                  <a:lnTo>
                    <a:pt x="709" y="141"/>
                  </a:lnTo>
                  <a:lnTo>
                    <a:pt x="709" y="142"/>
                  </a:lnTo>
                  <a:lnTo>
                    <a:pt x="708" y="142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0"/>
                  </a:lnTo>
                  <a:lnTo>
                    <a:pt x="705" y="140"/>
                  </a:lnTo>
                  <a:lnTo>
                    <a:pt x="705" y="140"/>
                  </a:lnTo>
                  <a:lnTo>
                    <a:pt x="704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2" y="142"/>
                  </a:lnTo>
                  <a:lnTo>
                    <a:pt x="702" y="142"/>
                  </a:lnTo>
                  <a:lnTo>
                    <a:pt x="702" y="143"/>
                  </a:lnTo>
                  <a:lnTo>
                    <a:pt x="701" y="143"/>
                  </a:lnTo>
                  <a:lnTo>
                    <a:pt x="701" y="143"/>
                  </a:lnTo>
                  <a:lnTo>
                    <a:pt x="700" y="143"/>
                  </a:lnTo>
                  <a:lnTo>
                    <a:pt x="700" y="142"/>
                  </a:lnTo>
                  <a:lnTo>
                    <a:pt x="699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2"/>
                  </a:lnTo>
                  <a:lnTo>
                    <a:pt x="698" y="142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700" y="144"/>
                  </a:lnTo>
                  <a:lnTo>
                    <a:pt x="701" y="144"/>
                  </a:lnTo>
                  <a:lnTo>
                    <a:pt x="701" y="144"/>
                  </a:lnTo>
                  <a:lnTo>
                    <a:pt x="702" y="144"/>
                  </a:lnTo>
                  <a:lnTo>
                    <a:pt x="702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4" y="144"/>
                  </a:lnTo>
                  <a:lnTo>
                    <a:pt x="705" y="143"/>
                  </a:lnTo>
                  <a:lnTo>
                    <a:pt x="705" y="143"/>
                  </a:lnTo>
                  <a:lnTo>
                    <a:pt x="706" y="143"/>
                  </a:lnTo>
                  <a:lnTo>
                    <a:pt x="706" y="143"/>
                  </a:lnTo>
                  <a:lnTo>
                    <a:pt x="707" y="143"/>
                  </a:lnTo>
                  <a:lnTo>
                    <a:pt x="708" y="143"/>
                  </a:lnTo>
                  <a:lnTo>
                    <a:pt x="709" y="143"/>
                  </a:lnTo>
                  <a:lnTo>
                    <a:pt x="709" y="142"/>
                  </a:lnTo>
                  <a:lnTo>
                    <a:pt x="710" y="142"/>
                  </a:lnTo>
                  <a:lnTo>
                    <a:pt x="710" y="142"/>
                  </a:lnTo>
                  <a:lnTo>
                    <a:pt x="711" y="142"/>
                  </a:lnTo>
                  <a:lnTo>
                    <a:pt x="712" y="142"/>
                  </a:lnTo>
                  <a:lnTo>
                    <a:pt x="712" y="142"/>
                  </a:lnTo>
                  <a:lnTo>
                    <a:pt x="714" y="142"/>
                  </a:lnTo>
                  <a:lnTo>
                    <a:pt x="714" y="142"/>
                  </a:lnTo>
                  <a:lnTo>
                    <a:pt x="715" y="142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7" y="142"/>
                  </a:lnTo>
                  <a:lnTo>
                    <a:pt x="718" y="142"/>
                  </a:lnTo>
                  <a:lnTo>
                    <a:pt x="718" y="142"/>
                  </a:lnTo>
                  <a:lnTo>
                    <a:pt x="719" y="142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21" y="142"/>
                  </a:lnTo>
                  <a:lnTo>
                    <a:pt x="721" y="142"/>
                  </a:lnTo>
                  <a:lnTo>
                    <a:pt x="720" y="142"/>
                  </a:lnTo>
                  <a:lnTo>
                    <a:pt x="720" y="143"/>
                  </a:lnTo>
                  <a:lnTo>
                    <a:pt x="720" y="143"/>
                  </a:lnTo>
                  <a:lnTo>
                    <a:pt x="720" y="144"/>
                  </a:lnTo>
                  <a:lnTo>
                    <a:pt x="719" y="144"/>
                  </a:lnTo>
                  <a:lnTo>
                    <a:pt x="719" y="144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17" y="145"/>
                  </a:lnTo>
                  <a:lnTo>
                    <a:pt x="717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6" y="146"/>
                  </a:lnTo>
                  <a:lnTo>
                    <a:pt x="715" y="146"/>
                  </a:lnTo>
                  <a:lnTo>
                    <a:pt x="716" y="146"/>
                  </a:lnTo>
                  <a:lnTo>
                    <a:pt x="716" y="147"/>
                  </a:lnTo>
                  <a:lnTo>
                    <a:pt x="715" y="147"/>
                  </a:lnTo>
                  <a:lnTo>
                    <a:pt x="714" y="147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3" y="148"/>
                  </a:lnTo>
                  <a:lnTo>
                    <a:pt x="713" y="149"/>
                  </a:lnTo>
                  <a:lnTo>
                    <a:pt x="713" y="149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7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5"/>
                  </a:lnTo>
                  <a:lnTo>
                    <a:pt x="714" y="145"/>
                  </a:lnTo>
                  <a:lnTo>
                    <a:pt x="714" y="145"/>
                  </a:lnTo>
                  <a:lnTo>
                    <a:pt x="713" y="145"/>
                  </a:lnTo>
                  <a:lnTo>
                    <a:pt x="713" y="146"/>
                  </a:lnTo>
                  <a:lnTo>
                    <a:pt x="713" y="145"/>
                  </a:lnTo>
                  <a:lnTo>
                    <a:pt x="713" y="145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5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2" y="143"/>
                  </a:lnTo>
                  <a:lnTo>
                    <a:pt x="711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09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2" y="144"/>
                  </a:lnTo>
                  <a:lnTo>
                    <a:pt x="712" y="144"/>
                  </a:lnTo>
                  <a:lnTo>
                    <a:pt x="711" y="144"/>
                  </a:lnTo>
                  <a:lnTo>
                    <a:pt x="711" y="145"/>
                  </a:lnTo>
                  <a:lnTo>
                    <a:pt x="710" y="145"/>
                  </a:lnTo>
                  <a:lnTo>
                    <a:pt x="710" y="145"/>
                  </a:lnTo>
                  <a:lnTo>
                    <a:pt x="710" y="146"/>
                  </a:lnTo>
                  <a:lnTo>
                    <a:pt x="710" y="146"/>
                  </a:lnTo>
                  <a:lnTo>
                    <a:pt x="711" y="146"/>
                  </a:lnTo>
                  <a:lnTo>
                    <a:pt x="711" y="146"/>
                  </a:lnTo>
                  <a:lnTo>
                    <a:pt x="712" y="146"/>
                  </a:lnTo>
                  <a:lnTo>
                    <a:pt x="712" y="146"/>
                  </a:lnTo>
                  <a:lnTo>
                    <a:pt x="712" y="147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1" y="148"/>
                  </a:lnTo>
                  <a:lnTo>
                    <a:pt x="711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09" y="148"/>
                  </a:lnTo>
                  <a:lnTo>
                    <a:pt x="709" y="148"/>
                  </a:lnTo>
                  <a:lnTo>
                    <a:pt x="708" y="149"/>
                  </a:lnTo>
                  <a:lnTo>
                    <a:pt x="708" y="148"/>
                  </a:lnTo>
                  <a:lnTo>
                    <a:pt x="708" y="148"/>
                  </a:lnTo>
                  <a:lnTo>
                    <a:pt x="707" y="148"/>
                  </a:lnTo>
                  <a:lnTo>
                    <a:pt x="707" y="148"/>
                  </a:lnTo>
                  <a:lnTo>
                    <a:pt x="706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7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7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9"/>
                  </a:lnTo>
                  <a:lnTo>
                    <a:pt x="706" y="149"/>
                  </a:lnTo>
                  <a:lnTo>
                    <a:pt x="707" y="149"/>
                  </a:lnTo>
                  <a:lnTo>
                    <a:pt x="707" y="149"/>
                  </a:lnTo>
                  <a:lnTo>
                    <a:pt x="706" y="150"/>
                  </a:lnTo>
                  <a:lnTo>
                    <a:pt x="706" y="149"/>
                  </a:lnTo>
                  <a:lnTo>
                    <a:pt x="706" y="150"/>
                  </a:lnTo>
                  <a:lnTo>
                    <a:pt x="706" y="150"/>
                  </a:lnTo>
                  <a:lnTo>
                    <a:pt x="706" y="151"/>
                  </a:lnTo>
                  <a:lnTo>
                    <a:pt x="705" y="150"/>
                  </a:lnTo>
                  <a:lnTo>
                    <a:pt x="705" y="150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2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2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3" y="153"/>
                  </a:lnTo>
                  <a:lnTo>
                    <a:pt x="703" y="154"/>
                  </a:lnTo>
                  <a:lnTo>
                    <a:pt x="702" y="154"/>
                  </a:lnTo>
                  <a:lnTo>
                    <a:pt x="703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1" y="155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0" y="159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3" y="155"/>
                  </a:lnTo>
                  <a:lnTo>
                    <a:pt x="702" y="154"/>
                  </a:lnTo>
                  <a:lnTo>
                    <a:pt x="703" y="154"/>
                  </a:lnTo>
                  <a:lnTo>
                    <a:pt x="703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7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4"/>
                  </a:lnTo>
                  <a:lnTo>
                    <a:pt x="707" y="154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8" y="154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9" y="153"/>
                  </a:lnTo>
                  <a:lnTo>
                    <a:pt x="709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2"/>
                  </a:lnTo>
                  <a:lnTo>
                    <a:pt x="709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1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3" y="151"/>
                  </a:lnTo>
                  <a:lnTo>
                    <a:pt x="713" y="151"/>
                  </a:lnTo>
                  <a:lnTo>
                    <a:pt x="713" y="150"/>
                  </a:lnTo>
                  <a:lnTo>
                    <a:pt x="714" y="150"/>
                  </a:lnTo>
                  <a:lnTo>
                    <a:pt x="714" y="149"/>
                  </a:lnTo>
                  <a:lnTo>
                    <a:pt x="715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7"/>
                  </a:lnTo>
                  <a:lnTo>
                    <a:pt x="717" y="147"/>
                  </a:lnTo>
                  <a:lnTo>
                    <a:pt x="718" y="146"/>
                  </a:lnTo>
                  <a:lnTo>
                    <a:pt x="718" y="146"/>
                  </a:lnTo>
                  <a:lnTo>
                    <a:pt x="718" y="145"/>
                  </a:lnTo>
                  <a:lnTo>
                    <a:pt x="719" y="145"/>
                  </a:lnTo>
                  <a:lnTo>
                    <a:pt x="720" y="145"/>
                  </a:lnTo>
                  <a:lnTo>
                    <a:pt x="720" y="144"/>
                  </a:lnTo>
                  <a:lnTo>
                    <a:pt x="720" y="144"/>
                  </a:lnTo>
                  <a:lnTo>
                    <a:pt x="721" y="143"/>
                  </a:lnTo>
                  <a:lnTo>
                    <a:pt x="721" y="143"/>
                  </a:lnTo>
                  <a:lnTo>
                    <a:pt x="722" y="143"/>
                  </a:lnTo>
                  <a:lnTo>
                    <a:pt x="722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4" y="142"/>
                  </a:lnTo>
                  <a:lnTo>
                    <a:pt x="724" y="142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6" y="142"/>
                  </a:lnTo>
                  <a:lnTo>
                    <a:pt x="727" y="142"/>
                  </a:lnTo>
                  <a:lnTo>
                    <a:pt x="727" y="142"/>
                  </a:lnTo>
                  <a:lnTo>
                    <a:pt x="728" y="142"/>
                  </a:lnTo>
                  <a:lnTo>
                    <a:pt x="728" y="142"/>
                  </a:lnTo>
                  <a:lnTo>
                    <a:pt x="729" y="142"/>
                  </a:lnTo>
                  <a:lnTo>
                    <a:pt x="729" y="142"/>
                  </a:lnTo>
                  <a:lnTo>
                    <a:pt x="730" y="142"/>
                  </a:lnTo>
                  <a:lnTo>
                    <a:pt x="731" y="142"/>
                  </a:lnTo>
                  <a:lnTo>
                    <a:pt x="732" y="142"/>
                  </a:lnTo>
                  <a:lnTo>
                    <a:pt x="732" y="142"/>
                  </a:lnTo>
                  <a:lnTo>
                    <a:pt x="733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5" y="142"/>
                  </a:lnTo>
                  <a:lnTo>
                    <a:pt x="735" y="142"/>
                  </a:lnTo>
                  <a:lnTo>
                    <a:pt x="736" y="142"/>
                  </a:lnTo>
                  <a:lnTo>
                    <a:pt x="736" y="143"/>
                  </a:lnTo>
                  <a:lnTo>
                    <a:pt x="736" y="143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8" y="143"/>
                  </a:lnTo>
                  <a:lnTo>
                    <a:pt x="737" y="143"/>
                  </a:lnTo>
                  <a:lnTo>
                    <a:pt x="738" y="143"/>
                  </a:lnTo>
                  <a:lnTo>
                    <a:pt x="738" y="143"/>
                  </a:lnTo>
                  <a:lnTo>
                    <a:pt x="738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1" y="144"/>
                  </a:lnTo>
                  <a:lnTo>
                    <a:pt x="742" y="144"/>
                  </a:lnTo>
                  <a:lnTo>
                    <a:pt x="742" y="145"/>
                  </a:lnTo>
                  <a:lnTo>
                    <a:pt x="742" y="145"/>
                  </a:lnTo>
                  <a:lnTo>
                    <a:pt x="743" y="145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44" y="146"/>
                  </a:lnTo>
                  <a:lnTo>
                    <a:pt x="745" y="146"/>
                  </a:lnTo>
                  <a:lnTo>
                    <a:pt x="745" y="147"/>
                  </a:lnTo>
                  <a:lnTo>
                    <a:pt x="746" y="147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5" y="149"/>
                  </a:lnTo>
                  <a:lnTo>
                    <a:pt x="744" y="150"/>
                  </a:lnTo>
                  <a:lnTo>
                    <a:pt x="744" y="150"/>
                  </a:lnTo>
                  <a:lnTo>
                    <a:pt x="743" y="150"/>
                  </a:lnTo>
                  <a:lnTo>
                    <a:pt x="743" y="151"/>
                  </a:lnTo>
                  <a:lnTo>
                    <a:pt x="743" y="150"/>
                  </a:lnTo>
                  <a:lnTo>
                    <a:pt x="742" y="150"/>
                  </a:lnTo>
                  <a:lnTo>
                    <a:pt x="742" y="149"/>
                  </a:lnTo>
                  <a:lnTo>
                    <a:pt x="742" y="149"/>
                  </a:lnTo>
                  <a:lnTo>
                    <a:pt x="742" y="148"/>
                  </a:lnTo>
                  <a:lnTo>
                    <a:pt x="741" y="148"/>
                  </a:lnTo>
                  <a:lnTo>
                    <a:pt x="740" y="148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39" y="149"/>
                  </a:lnTo>
                  <a:lnTo>
                    <a:pt x="739" y="150"/>
                  </a:lnTo>
                  <a:lnTo>
                    <a:pt x="739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7" y="150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5" y="149"/>
                  </a:lnTo>
                  <a:lnTo>
                    <a:pt x="735" y="150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0"/>
                  </a:lnTo>
                  <a:lnTo>
                    <a:pt x="735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50"/>
                  </a:lnTo>
                  <a:lnTo>
                    <a:pt x="737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7" y="151"/>
                  </a:lnTo>
                  <a:lnTo>
                    <a:pt x="736" y="151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5" y="152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4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5" y="154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1"/>
                  </a:lnTo>
                  <a:lnTo>
                    <a:pt x="737" y="151"/>
                  </a:lnTo>
                  <a:lnTo>
                    <a:pt x="737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6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3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1"/>
                  </a:lnTo>
                  <a:lnTo>
                    <a:pt x="739" y="151"/>
                  </a:lnTo>
                  <a:lnTo>
                    <a:pt x="739" y="152"/>
                  </a:lnTo>
                  <a:lnTo>
                    <a:pt x="739" y="152"/>
                  </a:lnTo>
                  <a:lnTo>
                    <a:pt x="740" y="151"/>
                  </a:lnTo>
                  <a:lnTo>
                    <a:pt x="740" y="152"/>
                  </a:lnTo>
                  <a:lnTo>
                    <a:pt x="741" y="152"/>
                  </a:lnTo>
                  <a:lnTo>
                    <a:pt x="742" y="152"/>
                  </a:lnTo>
                  <a:lnTo>
                    <a:pt x="742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4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3" y="155"/>
                  </a:lnTo>
                  <a:lnTo>
                    <a:pt x="743" y="156"/>
                  </a:lnTo>
                  <a:lnTo>
                    <a:pt x="743" y="156"/>
                  </a:lnTo>
                  <a:lnTo>
                    <a:pt x="743" y="155"/>
                  </a:lnTo>
                  <a:lnTo>
                    <a:pt x="742" y="155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1" y="156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0" y="156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1" y="158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1"/>
                  </a:lnTo>
                  <a:lnTo>
                    <a:pt x="738" y="161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6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1" y="164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0" y="165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7" y="165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5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1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7" y="167"/>
                  </a:lnTo>
                  <a:lnTo>
                    <a:pt x="727" y="167"/>
                  </a:lnTo>
                  <a:lnTo>
                    <a:pt x="727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3" y="169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2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2"/>
                  </a:lnTo>
                  <a:lnTo>
                    <a:pt x="719" y="172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8" y="173"/>
                  </a:lnTo>
                  <a:lnTo>
                    <a:pt x="718" y="174"/>
                  </a:lnTo>
                  <a:lnTo>
                    <a:pt x="718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2" y="170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3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5" y="169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4" y="172"/>
                  </a:lnTo>
                  <a:lnTo>
                    <a:pt x="725" y="172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4" y="174"/>
                  </a:lnTo>
                  <a:lnTo>
                    <a:pt x="724" y="174"/>
                  </a:lnTo>
                  <a:lnTo>
                    <a:pt x="723" y="174"/>
                  </a:lnTo>
                  <a:lnTo>
                    <a:pt x="723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6" y="176"/>
                  </a:lnTo>
                  <a:lnTo>
                    <a:pt x="725" y="176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6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3"/>
                  </a:lnTo>
                  <a:lnTo>
                    <a:pt x="726" y="183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7" y="185"/>
                  </a:lnTo>
                  <a:lnTo>
                    <a:pt x="726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2" y="193"/>
                  </a:lnTo>
                  <a:lnTo>
                    <a:pt x="722" y="194"/>
                  </a:lnTo>
                  <a:lnTo>
                    <a:pt x="722" y="194"/>
                  </a:lnTo>
                  <a:lnTo>
                    <a:pt x="721" y="194"/>
                  </a:lnTo>
                  <a:lnTo>
                    <a:pt x="721" y="195"/>
                  </a:lnTo>
                  <a:lnTo>
                    <a:pt x="721" y="195"/>
                  </a:lnTo>
                  <a:lnTo>
                    <a:pt x="721" y="196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0" y="196"/>
                  </a:lnTo>
                  <a:lnTo>
                    <a:pt x="719" y="196"/>
                  </a:lnTo>
                  <a:lnTo>
                    <a:pt x="719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6" y="197"/>
                  </a:lnTo>
                  <a:lnTo>
                    <a:pt x="716" y="196"/>
                  </a:lnTo>
                  <a:lnTo>
                    <a:pt x="715" y="196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3" y="197"/>
                  </a:lnTo>
                  <a:lnTo>
                    <a:pt x="713" y="197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0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3" y="198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89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9" y="198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2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700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10" y="197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1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1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09" y="202"/>
                  </a:lnTo>
                  <a:lnTo>
                    <a:pt x="709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2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7" y="203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7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4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6"/>
                  </a:lnTo>
                  <a:lnTo>
                    <a:pt x="704" y="206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5"/>
                  </a:lnTo>
                  <a:lnTo>
                    <a:pt x="703" y="205"/>
                  </a:lnTo>
                  <a:lnTo>
                    <a:pt x="703" y="206"/>
                  </a:lnTo>
                  <a:lnTo>
                    <a:pt x="702" y="206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6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2" y="204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0" y="205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89" y="204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90" y="205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6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8" y="206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2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6"/>
                  </a:lnTo>
                  <a:lnTo>
                    <a:pt x="705" y="206"/>
                  </a:lnTo>
                  <a:lnTo>
                    <a:pt x="705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1" y="207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3" y="208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1" y="210"/>
                  </a:lnTo>
                  <a:lnTo>
                    <a:pt x="691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3"/>
                  </a:lnTo>
                  <a:lnTo>
                    <a:pt x="686" y="213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2"/>
                  </a:lnTo>
                  <a:lnTo>
                    <a:pt x="687" y="222"/>
                  </a:lnTo>
                  <a:lnTo>
                    <a:pt x="688" y="222"/>
                  </a:lnTo>
                  <a:lnTo>
                    <a:pt x="688" y="223"/>
                  </a:lnTo>
                  <a:lnTo>
                    <a:pt x="687" y="223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9" y="224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1"/>
                  </a:lnTo>
                  <a:lnTo>
                    <a:pt x="690" y="231"/>
                  </a:lnTo>
                  <a:lnTo>
                    <a:pt x="690" y="232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1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89" y="234"/>
                  </a:lnTo>
                  <a:lnTo>
                    <a:pt x="690" y="234"/>
                  </a:lnTo>
                  <a:lnTo>
                    <a:pt x="689" y="235"/>
                  </a:lnTo>
                  <a:lnTo>
                    <a:pt x="688" y="235"/>
                  </a:lnTo>
                  <a:lnTo>
                    <a:pt x="688" y="236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9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0" y="242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1" y="243"/>
                  </a:lnTo>
                  <a:lnTo>
                    <a:pt x="691" y="244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1" y="245"/>
                  </a:lnTo>
                  <a:lnTo>
                    <a:pt x="691" y="246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2" y="250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9" y="253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90" y="252"/>
                  </a:lnTo>
                  <a:lnTo>
                    <a:pt x="690" y="253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6" y="253"/>
                  </a:lnTo>
                  <a:lnTo>
                    <a:pt x="696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8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6" y="254"/>
                  </a:lnTo>
                  <a:lnTo>
                    <a:pt x="696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1" y="252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0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1" y="248"/>
                  </a:lnTo>
                  <a:lnTo>
                    <a:pt x="691" y="247"/>
                  </a:lnTo>
                  <a:lnTo>
                    <a:pt x="692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6"/>
                  </a:lnTo>
                  <a:lnTo>
                    <a:pt x="691" y="246"/>
                  </a:lnTo>
                  <a:lnTo>
                    <a:pt x="691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1" y="244"/>
                  </a:lnTo>
                  <a:lnTo>
                    <a:pt x="691" y="243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0" y="242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6" y="241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39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8" y="236"/>
                  </a:lnTo>
                  <a:lnTo>
                    <a:pt x="688" y="236"/>
                  </a:lnTo>
                  <a:lnTo>
                    <a:pt x="688" y="235"/>
                  </a:lnTo>
                  <a:lnTo>
                    <a:pt x="689" y="235"/>
                  </a:lnTo>
                  <a:lnTo>
                    <a:pt x="690" y="235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1" y="233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0" y="232"/>
                  </a:lnTo>
                  <a:lnTo>
                    <a:pt x="690" y="231"/>
                  </a:lnTo>
                  <a:lnTo>
                    <a:pt x="691" y="231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0" y="227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89" y="224"/>
                  </a:lnTo>
                  <a:lnTo>
                    <a:pt x="690" y="224"/>
                  </a:lnTo>
                  <a:lnTo>
                    <a:pt x="690" y="225"/>
                  </a:lnTo>
                  <a:lnTo>
                    <a:pt x="690" y="224"/>
                  </a:lnTo>
                  <a:lnTo>
                    <a:pt x="689" y="224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2"/>
                  </a:lnTo>
                  <a:lnTo>
                    <a:pt x="687" y="222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7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3"/>
                  </a:lnTo>
                  <a:lnTo>
                    <a:pt x="687" y="213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1" y="211"/>
                  </a:lnTo>
                  <a:lnTo>
                    <a:pt x="691" y="211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1"/>
                  </a:lnTo>
                  <a:lnTo>
                    <a:pt x="697" y="210"/>
                  </a:lnTo>
                  <a:lnTo>
                    <a:pt x="698" y="210"/>
                  </a:lnTo>
                  <a:lnTo>
                    <a:pt x="698" y="211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8"/>
                  </a:lnTo>
                  <a:lnTo>
                    <a:pt x="703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6" y="206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7" y="205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7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2"/>
                  </a:lnTo>
                  <a:lnTo>
                    <a:pt x="709" y="202"/>
                  </a:lnTo>
                  <a:lnTo>
                    <a:pt x="709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11" y="202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3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199"/>
                  </a:lnTo>
                  <a:lnTo>
                    <a:pt x="713" y="198"/>
                  </a:lnTo>
                  <a:lnTo>
                    <a:pt x="713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5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6" y="197"/>
                  </a:lnTo>
                  <a:lnTo>
                    <a:pt x="716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9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2" y="197"/>
                  </a:lnTo>
                  <a:lnTo>
                    <a:pt x="721" y="197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5"/>
                  </a:lnTo>
                  <a:lnTo>
                    <a:pt x="722" y="194"/>
                  </a:lnTo>
                  <a:lnTo>
                    <a:pt x="722" y="195"/>
                  </a:lnTo>
                  <a:lnTo>
                    <a:pt x="722" y="194"/>
                  </a:lnTo>
                  <a:lnTo>
                    <a:pt x="723" y="194"/>
                  </a:lnTo>
                  <a:lnTo>
                    <a:pt x="722" y="194"/>
                  </a:lnTo>
                  <a:lnTo>
                    <a:pt x="722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6" y="188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7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6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3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3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1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7"/>
                  </a:lnTo>
                  <a:lnTo>
                    <a:pt x="726" y="177"/>
                  </a:lnTo>
                  <a:lnTo>
                    <a:pt x="726" y="176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3"/>
                  </a:lnTo>
                  <a:lnTo>
                    <a:pt x="725" y="172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6" y="171"/>
                  </a:lnTo>
                  <a:lnTo>
                    <a:pt x="726" y="171"/>
                  </a:lnTo>
                  <a:lnTo>
                    <a:pt x="725" y="171"/>
                  </a:lnTo>
                  <a:lnTo>
                    <a:pt x="725" y="170"/>
                  </a:lnTo>
                  <a:lnTo>
                    <a:pt x="726" y="170"/>
                  </a:lnTo>
                  <a:lnTo>
                    <a:pt x="726" y="170"/>
                  </a:lnTo>
                  <a:lnTo>
                    <a:pt x="727" y="170"/>
                  </a:lnTo>
                  <a:lnTo>
                    <a:pt x="727" y="169"/>
                  </a:lnTo>
                  <a:lnTo>
                    <a:pt x="727" y="169"/>
                  </a:lnTo>
                  <a:lnTo>
                    <a:pt x="727" y="168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9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30" y="168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3" y="167"/>
                  </a:lnTo>
                  <a:lnTo>
                    <a:pt x="734" y="167"/>
                  </a:lnTo>
                  <a:lnTo>
                    <a:pt x="734" y="167"/>
                  </a:lnTo>
                  <a:lnTo>
                    <a:pt x="735" y="167"/>
                  </a:lnTo>
                  <a:lnTo>
                    <a:pt x="735" y="167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5"/>
                  </a:lnTo>
                  <a:lnTo>
                    <a:pt x="736" y="165"/>
                  </a:lnTo>
                  <a:lnTo>
                    <a:pt x="735" y="165"/>
                  </a:lnTo>
                  <a:lnTo>
                    <a:pt x="735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9" y="164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8" y="163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2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48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8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6"/>
                  </a:lnTo>
                  <a:lnTo>
                    <a:pt x="752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4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6" y="156"/>
                  </a:lnTo>
                  <a:lnTo>
                    <a:pt x="757" y="156"/>
                  </a:lnTo>
                  <a:lnTo>
                    <a:pt x="757" y="156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9" y="161"/>
                  </a:lnTo>
                  <a:lnTo>
                    <a:pt x="759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2" y="161"/>
                  </a:lnTo>
                  <a:lnTo>
                    <a:pt x="762" y="161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59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6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6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9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3" y="163"/>
                  </a:lnTo>
                  <a:lnTo>
                    <a:pt x="764" y="163"/>
                  </a:lnTo>
                  <a:lnTo>
                    <a:pt x="764" y="163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5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7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5" y="167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6" y="165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8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3" y="164"/>
                  </a:lnTo>
                  <a:lnTo>
                    <a:pt x="773" y="163"/>
                  </a:lnTo>
                  <a:lnTo>
                    <a:pt x="774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7"/>
                  </a:lnTo>
                  <a:lnTo>
                    <a:pt x="777" y="167"/>
                  </a:lnTo>
                  <a:lnTo>
                    <a:pt x="776" y="167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7" y="167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4"/>
                  </a:lnTo>
                  <a:lnTo>
                    <a:pt x="776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8" y="163"/>
                  </a:lnTo>
                  <a:lnTo>
                    <a:pt x="779" y="163"/>
                  </a:lnTo>
                  <a:lnTo>
                    <a:pt x="779" y="163"/>
                  </a:lnTo>
                  <a:lnTo>
                    <a:pt x="780" y="163"/>
                  </a:lnTo>
                  <a:lnTo>
                    <a:pt x="780" y="162"/>
                  </a:lnTo>
                  <a:lnTo>
                    <a:pt x="780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2" y="162"/>
                  </a:lnTo>
                  <a:lnTo>
                    <a:pt x="783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4" y="162"/>
                  </a:lnTo>
                  <a:lnTo>
                    <a:pt x="785" y="162"/>
                  </a:lnTo>
                  <a:lnTo>
                    <a:pt x="786" y="162"/>
                  </a:lnTo>
                  <a:lnTo>
                    <a:pt x="787" y="162"/>
                  </a:lnTo>
                  <a:lnTo>
                    <a:pt x="787" y="161"/>
                  </a:lnTo>
                  <a:lnTo>
                    <a:pt x="787" y="161"/>
                  </a:lnTo>
                  <a:lnTo>
                    <a:pt x="788" y="161"/>
                  </a:lnTo>
                  <a:lnTo>
                    <a:pt x="788" y="161"/>
                  </a:lnTo>
                  <a:lnTo>
                    <a:pt x="789" y="161"/>
                  </a:lnTo>
                  <a:lnTo>
                    <a:pt x="790" y="161"/>
                  </a:lnTo>
                  <a:lnTo>
                    <a:pt x="790" y="161"/>
                  </a:lnTo>
                  <a:lnTo>
                    <a:pt x="791" y="161"/>
                  </a:lnTo>
                  <a:lnTo>
                    <a:pt x="791" y="160"/>
                  </a:lnTo>
                  <a:lnTo>
                    <a:pt x="792" y="160"/>
                  </a:lnTo>
                  <a:lnTo>
                    <a:pt x="793" y="160"/>
                  </a:lnTo>
                  <a:lnTo>
                    <a:pt x="794" y="160"/>
                  </a:lnTo>
                  <a:lnTo>
                    <a:pt x="794" y="160"/>
                  </a:lnTo>
                  <a:lnTo>
                    <a:pt x="795" y="160"/>
                  </a:lnTo>
                  <a:lnTo>
                    <a:pt x="795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7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1"/>
                  </a:lnTo>
                  <a:lnTo>
                    <a:pt x="798" y="162"/>
                  </a:lnTo>
                  <a:lnTo>
                    <a:pt x="798" y="161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6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1"/>
                  </a:lnTo>
                  <a:lnTo>
                    <a:pt x="798" y="161"/>
                  </a:lnTo>
                  <a:lnTo>
                    <a:pt x="798" y="160"/>
                  </a:lnTo>
                  <a:lnTo>
                    <a:pt x="799" y="160"/>
                  </a:lnTo>
                  <a:lnTo>
                    <a:pt x="799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2" y="160"/>
                  </a:lnTo>
                  <a:lnTo>
                    <a:pt x="802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1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5" y="161"/>
                  </a:lnTo>
                  <a:lnTo>
                    <a:pt x="804" y="160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6" y="161"/>
                  </a:lnTo>
                  <a:lnTo>
                    <a:pt x="807" y="161"/>
                  </a:lnTo>
                  <a:lnTo>
                    <a:pt x="807" y="161"/>
                  </a:lnTo>
                  <a:lnTo>
                    <a:pt x="808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10" y="162"/>
                  </a:lnTo>
                  <a:lnTo>
                    <a:pt x="809" y="162"/>
                  </a:lnTo>
                  <a:lnTo>
                    <a:pt x="810" y="162"/>
                  </a:lnTo>
                  <a:lnTo>
                    <a:pt x="810" y="162"/>
                  </a:lnTo>
                  <a:lnTo>
                    <a:pt x="811" y="162"/>
                  </a:lnTo>
                  <a:lnTo>
                    <a:pt x="811" y="162"/>
                  </a:lnTo>
                  <a:lnTo>
                    <a:pt x="812" y="162"/>
                  </a:lnTo>
                  <a:lnTo>
                    <a:pt x="812" y="162"/>
                  </a:lnTo>
                  <a:lnTo>
                    <a:pt x="813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4"/>
                  </a:lnTo>
                  <a:lnTo>
                    <a:pt x="812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1" y="167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2" y="164"/>
                  </a:lnTo>
                  <a:lnTo>
                    <a:pt x="813" y="164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5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7" y="163"/>
                  </a:lnTo>
                  <a:lnTo>
                    <a:pt x="817" y="163"/>
                  </a:lnTo>
                  <a:lnTo>
                    <a:pt x="818" y="163"/>
                  </a:lnTo>
                  <a:lnTo>
                    <a:pt x="818" y="164"/>
                  </a:lnTo>
                  <a:lnTo>
                    <a:pt x="818" y="164"/>
                  </a:lnTo>
                  <a:lnTo>
                    <a:pt x="819" y="164"/>
                  </a:lnTo>
                  <a:lnTo>
                    <a:pt x="819" y="164"/>
                  </a:lnTo>
                  <a:lnTo>
                    <a:pt x="820" y="164"/>
                  </a:lnTo>
                  <a:lnTo>
                    <a:pt x="820" y="165"/>
                  </a:lnTo>
                  <a:lnTo>
                    <a:pt x="821" y="165"/>
                  </a:lnTo>
                  <a:lnTo>
                    <a:pt x="821" y="165"/>
                  </a:lnTo>
                  <a:lnTo>
                    <a:pt x="821" y="166"/>
                  </a:lnTo>
                  <a:lnTo>
                    <a:pt x="822" y="166"/>
                  </a:lnTo>
                  <a:lnTo>
                    <a:pt x="822" y="166"/>
                  </a:lnTo>
                  <a:lnTo>
                    <a:pt x="823" y="166"/>
                  </a:lnTo>
                  <a:lnTo>
                    <a:pt x="823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8"/>
                  </a:lnTo>
                  <a:lnTo>
                    <a:pt x="825" y="168"/>
                  </a:lnTo>
                  <a:lnTo>
                    <a:pt x="825" y="168"/>
                  </a:lnTo>
                  <a:lnTo>
                    <a:pt x="825" y="169"/>
                  </a:lnTo>
                  <a:lnTo>
                    <a:pt x="825" y="169"/>
                  </a:lnTo>
                  <a:lnTo>
                    <a:pt x="825" y="170"/>
                  </a:lnTo>
                  <a:lnTo>
                    <a:pt x="825" y="170"/>
                  </a:lnTo>
                  <a:lnTo>
                    <a:pt x="826" y="170"/>
                  </a:lnTo>
                  <a:lnTo>
                    <a:pt x="826" y="171"/>
                  </a:lnTo>
                  <a:lnTo>
                    <a:pt x="826" y="171"/>
                  </a:lnTo>
                  <a:lnTo>
                    <a:pt x="827" y="171"/>
                  </a:lnTo>
                  <a:lnTo>
                    <a:pt x="827" y="172"/>
                  </a:lnTo>
                  <a:lnTo>
                    <a:pt x="827" y="173"/>
                  </a:lnTo>
                  <a:lnTo>
                    <a:pt x="826" y="173"/>
                  </a:lnTo>
                  <a:lnTo>
                    <a:pt x="826" y="173"/>
                  </a:lnTo>
                  <a:lnTo>
                    <a:pt x="825" y="173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6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19" y="176"/>
                  </a:lnTo>
                  <a:lnTo>
                    <a:pt x="818" y="176"/>
                  </a:lnTo>
                  <a:lnTo>
                    <a:pt x="818" y="177"/>
                  </a:lnTo>
                  <a:lnTo>
                    <a:pt x="818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20" y="177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21" y="176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3" y="174"/>
                  </a:lnTo>
                  <a:lnTo>
                    <a:pt x="823" y="175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4" y="176"/>
                  </a:lnTo>
                  <a:lnTo>
                    <a:pt x="825" y="176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8"/>
                  </a:lnTo>
                  <a:lnTo>
                    <a:pt x="824" y="177"/>
                  </a:lnTo>
                  <a:lnTo>
                    <a:pt x="823" y="177"/>
                  </a:lnTo>
                  <a:lnTo>
                    <a:pt x="823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80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3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18" y="183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4" y="180"/>
                  </a:lnTo>
                  <a:lnTo>
                    <a:pt x="824" y="179"/>
                  </a:lnTo>
                  <a:lnTo>
                    <a:pt x="825" y="179"/>
                  </a:lnTo>
                  <a:lnTo>
                    <a:pt x="825" y="179"/>
                  </a:lnTo>
                  <a:lnTo>
                    <a:pt x="826" y="179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8" y="181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3"/>
                  </a:lnTo>
                  <a:lnTo>
                    <a:pt x="829" y="182"/>
                  </a:lnTo>
                  <a:lnTo>
                    <a:pt x="830" y="183"/>
                  </a:lnTo>
                  <a:lnTo>
                    <a:pt x="830" y="184"/>
                  </a:lnTo>
                  <a:lnTo>
                    <a:pt x="829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1" y="184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3" y="186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1" y="186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0" y="183"/>
                  </a:lnTo>
                  <a:lnTo>
                    <a:pt x="830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2" y="183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3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1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2" y="181"/>
                  </a:lnTo>
                  <a:lnTo>
                    <a:pt x="832" y="181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3"/>
                  </a:lnTo>
                  <a:lnTo>
                    <a:pt x="833" y="183"/>
                  </a:lnTo>
                  <a:lnTo>
                    <a:pt x="832" y="183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3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4" y="182"/>
                  </a:lnTo>
                  <a:lnTo>
                    <a:pt x="834" y="183"/>
                  </a:lnTo>
                  <a:lnTo>
                    <a:pt x="833" y="183"/>
                  </a:lnTo>
                  <a:lnTo>
                    <a:pt x="833" y="184"/>
                  </a:lnTo>
                  <a:lnTo>
                    <a:pt x="833" y="184"/>
                  </a:lnTo>
                  <a:lnTo>
                    <a:pt x="834" y="184"/>
                  </a:lnTo>
                  <a:lnTo>
                    <a:pt x="833" y="185"/>
                  </a:lnTo>
                  <a:lnTo>
                    <a:pt x="833" y="184"/>
                  </a:lnTo>
                  <a:lnTo>
                    <a:pt x="833" y="185"/>
                  </a:lnTo>
                  <a:lnTo>
                    <a:pt x="833" y="185"/>
                  </a:lnTo>
                  <a:lnTo>
                    <a:pt x="834" y="185"/>
                  </a:lnTo>
                  <a:lnTo>
                    <a:pt x="834" y="186"/>
                  </a:lnTo>
                  <a:lnTo>
                    <a:pt x="834" y="186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5" y="188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3" y="189"/>
                  </a:lnTo>
                  <a:lnTo>
                    <a:pt x="834" y="189"/>
                  </a:lnTo>
                  <a:lnTo>
                    <a:pt x="834" y="190"/>
                  </a:lnTo>
                  <a:lnTo>
                    <a:pt x="835" y="190"/>
                  </a:lnTo>
                  <a:lnTo>
                    <a:pt x="835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7" y="191"/>
                  </a:lnTo>
                  <a:lnTo>
                    <a:pt x="836" y="191"/>
                  </a:lnTo>
                  <a:lnTo>
                    <a:pt x="837" y="192"/>
                  </a:lnTo>
                  <a:lnTo>
                    <a:pt x="836" y="192"/>
                  </a:lnTo>
                  <a:lnTo>
                    <a:pt x="836" y="193"/>
                  </a:lnTo>
                  <a:lnTo>
                    <a:pt x="836" y="193"/>
                  </a:lnTo>
                  <a:lnTo>
                    <a:pt x="836" y="194"/>
                  </a:lnTo>
                  <a:lnTo>
                    <a:pt x="836" y="194"/>
                  </a:lnTo>
                  <a:lnTo>
                    <a:pt x="835" y="194"/>
                  </a:lnTo>
                  <a:lnTo>
                    <a:pt x="836" y="195"/>
                  </a:lnTo>
                  <a:lnTo>
                    <a:pt x="835" y="195"/>
                  </a:lnTo>
                  <a:lnTo>
                    <a:pt x="835" y="195"/>
                  </a:lnTo>
                  <a:lnTo>
                    <a:pt x="834" y="195"/>
                  </a:lnTo>
                  <a:lnTo>
                    <a:pt x="834" y="196"/>
                  </a:lnTo>
                  <a:lnTo>
                    <a:pt x="833" y="195"/>
                  </a:lnTo>
                  <a:lnTo>
                    <a:pt x="833" y="196"/>
                  </a:lnTo>
                  <a:lnTo>
                    <a:pt x="832" y="196"/>
                  </a:lnTo>
                  <a:lnTo>
                    <a:pt x="832" y="196"/>
                  </a:lnTo>
                  <a:lnTo>
                    <a:pt x="831" y="196"/>
                  </a:lnTo>
                  <a:lnTo>
                    <a:pt x="831" y="196"/>
                  </a:lnTo>
                  <a:lnTo>
                    <a:pt x="831" y="195"/>
                  </a:lnTo>
                  <a:lnTo>
                    <a:pt x="830" y="195"/>
                  </a:lnTo>
                  <a:lnTo>
                    <a:pt x="830" y="196"/>
                  </a:lnTo>
                  <a:lnTo>
                    <a:pt x="829" y="196"/>
                  </a:lnTo>
                  <a:lnTo>
                    <a:pt x="829" y="196"/>
                  </a:lnTo>
                  <a:lnTo>
                    <a:pt x="829" y="195"/>
                  </a:lnTo>
                  <a:lnTo>
                    <a:pt x="828" y="195"/>
                  </a:lnTo>
                  <a:lnTo>
                    <a:pt x="828" y="195"/>
                  </a:lnTo>
                  <a:lnTo>
                    <a:pt x="828" y="196"/>
                  </a:lnTo>
                  <a:lnTo>
                    <a:pt x="827" y="196"/>
                  </a:lnTo>
                  <a:lnTo>
                    <a:pt x="827" y="195"/>
                  </a:lnTo>
                  <a:lnTo>
                    <a:pt x="827" y="195"/>
                  </a:lnTo>
                  <a:lnTo>
                    <a:pt x="827" y="196"/>
                  </a:lnTo>
                  <a:lnTo>
                    <a:pt x="827" y="196"/>
                  </a:lnTo>
                  <a:lnTo>
                    <a:pt x="826" y="196"/>
                  </a:lnTo>
                  <a:lnTo>
                    <a:pt x="826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4" y="195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3" y="194"/>
                  </a:lnTo>
                  <a:lnTo>
                    <a:pt x="823" y="193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2" y="194"/>
                  </a:lnTo>
                  <a:lnTo>
                    <a:pt x="821" y="194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6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6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2" y="193"/>
                  </a:lnTo>
                  <a:lnTo>
                    <a:pt x="812" y="192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2" y="192"/>
                  </a:lnTo>
                  <a:lnTo>
                    <a:pt x="812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2" y="195"/>
                  </a:lnTo>
                  <a:lnTo>
                    <a:pt x="811" y="195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3"/>
                  </a:lnTo>
                  <a:lnTo>
                    <a:pt x="810" y="193"/>
                  </a:lnTo>
                  <a:lnTo>
                    <a:pt x="809" y="193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09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8"/>
                  </a:lnTo>
                  <a:lnTo>
                    <a:pt x="810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8" y="199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7" y="200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4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2" y="204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1" y="204"/>
                  </a:lnTo>
                  <a:lnTo>
                    <a:pt x="801" y="204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4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9" y="200"/>
                  </a:lnTo>
                  <a:lnTo>
                    <a:pt x="809" y="200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10" y="199"/>
                  </a:lnTo>
                  <a:lnTo>
                    <a:pt x="810" y="198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6"/>
                  </a:lnTo>
                  <a:lnTo>
                    <a:pt x="809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2" y="196"/>
                  </a:lnTo>
                  <a:lnTo>
                    <a:pt x="812" y="195"/>
                  </a:lnTo>
                  <a:lnTo>
                    <a:pt x="813" y="195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5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5" y="197"/>
                  </a:lnTo>
                  <a:lnTo>
                    <a:pt x="815" y="197"/>
                  </a:lnTo>
                  <a:lnTo>
                    <a:pt x="815" y="198"/>
                  </a:lnTo>
                  <a:lnTo>
                    <a:pt x="814" y="198"/>
                  </a:lnTo>
                  <a:lnTo>
                    <a:pt x="815" y="198"/>
                  </a:lnTo>
                  <a:lnTo>
                    <a:pt x="814" y="199"/>
                  </a:lnTo>
                  <a:lnTo>
                    <a:pt x="815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4" y="201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5" y="202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6" y="200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199"/>
                  </a:lnTo>
                  <a:lnTo>
                    <a:pt x="816" y="198"/>
                  </a:lnTo>
                  <a:lnTo>
                    <a:pt x="815" y="198"/>
                  </a:lnTo>
                  <a:lnTo>
                    <a:pt x="816" y="198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5" y="197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5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4" y="195"/>
                  </a:lnTo>
                  <a:lnTo>
                    <a:pt x="814" y="194"/>
                  </a:lnTo>
                  <a:lnTo>
                    <a:pt x="815" y="195"/>
                  </a:lnTo>
                  <a:lnTo>
                    <a:pt x="815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5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9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1" y="196"/>
                  </a:lnTo>
                  <a:lnTo>
                    <a:pt x="821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3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5" y="197"/>
                  </a:lnTo>
                  <a:lnTo>
                    <a:pt x="825" y="197"/>
                  </a:lnTo>
                  <a:lnTo>
                    <a:pt x="826" y="197"/>
                  </a:lnTo>
                  <a:lnTo>
                    <a:pt x="827" y="197"/>
                  </a:lnTo>
                  <a:lnTo>
                    <a:pt x="827" y="197"/>
                  </a:lnTo>
                  <a:lnTo>
                    <a:pt x="828" y="197"/>
                  </a:lnTo>
                  <a:lnTo>
                    <a:pt x="828" y="197"/>
                  </a:lnTo>
                  <a:lnTo>
                    <a:pt x="829" y="197"/>
                  </a:lnTo>
                  <a:lnTo>
                    <a:pt x="829" y="198"/>
                  </a:lnTo>
                  <a:lnTo>
                    <a:pt x="829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1" y="197"/>
                  </a:lnTo>
                  <a:lnTo>
                    <a:pt x="831" y="197"/>
                  </a:lnTo>
                  <a:lnTo>
                    <a:pt x="832" y="197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1" y="198"/>
                  </a:lnTo>
                  <a:lnTo>
                    <a:pt x="832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1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4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4" y="200"/>
                  </a:lnTo>
                  <a:lnTo>
                    <a:pt x="834" y="199"/>
                  </a:lnTo>
                  <a:lnTo>
                    <a:pt x="834" y="200"/>
                  </a:lnTo>
                  <a:lnTo>
                    <a:pt x="833" y="200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2" y="198"/>
                  </a:lnTo>
                  <a:lnTo>
                    <a:pt x="833" y="198"/>
                  </a:lnTo>
                  <a:lnTo>
                    <a:pt x="833" y="197"/>
                  </a:lnTo>
                  <a:lnTo>
                    <a:pt x="834" y="197"/>
                  </a:lnTo>
                  <a:lnTo>
                    <a:pt x="835" y="197"/>
                  </a:lnTo>
                  <a:lnTo>
                    <a:pt x="835" y="197"/>
                  </a:lnTo>
                  <a:lnTo>
                    <a:pt x="835" y="196"/>
                  </a:lnTo>
                  <a:lnTo>
                    <a:pt x="836" y="196"/>
                  </a:lnTo>
                  <a:lnTo>
                    <a:pt x="836" y="195"/>
                  </a:lnTo>
                  <a:lnTo>
                    <a:pt x="837" y="195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8" y="194"/>
                  </a:lnTo>
                  <a:lnTo>
                    <a:pt x="838" y="195"/>
                  </a:lnTo>
                  <a:lnTo>
                    <a:pt x="839" y="195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5"/>
                  </a:lnTo>
                  <a:lnTo>
                    <a:pt x="838" y="195"/>
                  </a:lnTo>
                  <a:lnTo>
                    <a:pt x="838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6" y="194"/>
                  </a:lnTo>
                  <a:lnTo>
                    <a:pt x="836" y="193"/>
                  </a:lnTo>
                  <a:lnTo>
                    <a:pt x="837" y="193"/>
                  </a:lnTo>
                  <a:lnTo>
                    <a:pt x="837" y="193"/>
                  </a:lnTo>
                  <a:lnTo>
                    <a:pt x="838" y="193"/>
                  </a:lnTo>
                  <a:lnTo>
                    <a:pt x="839" y="193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1"/>
                  </a:lnTo>
                  <a:lnTo>
                    <a:pt x="838" y="191"/>
                  </a:lnTo>
                  <a:lnTo>
                    <a:pt x="838" y="190"/>
                  </a:lnTo>
                  <a:lnTo>
                    <a:pt x="838" y="190"/>
                  </a:lnTo>
                  <a:lnTo>
                    <a:pt x="837" y="189"/>
                  </a:lnTo>
                  <a:lnTo>
                    <a:pt x="838" y="189"/>
                  </a:lnTo>
                  <a:lnTo>
                    <a:pt x="838" y="189"/>
                  </a:lnTo>
                  <a:lnTo>
                    <a:pt x="837" y="189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8" y="188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7" y="187"/>
                  </a:lnTo>
                  <a:lnTo>
                    <a:pt x="838" y="187"/>
                  </a:lnTo>
                  <a:lnTo>
                    <a:pt x="839" y="187"/>
                  </a:lnTo>
                  <a:lnTo>
                    <a:pt x="839" y="186"/>
                  </a:lnTo>
                  <a:lnTo>
                    <a:pt x="838" y="186"/>
                  </a:lnTo>
                  <a:lnTo>
                    <a:pt x="837" y="185"/>
                  </a:lnTo>
                  <a:lnTo>
                    <a:pt x="838" y="185"/>
                  </a:lnTo>
                  <a:lnTo>
                    <a:pt x="839" y="185"/>
                  </a:lnTo>
                  <a:lnTo>
                    <a:pt x="839" y="185"/>
                  </a:lnTo>
                  <a:lnTo>
                    <a:pt x="839" y="184"/>
                  </a:lnTo>
                  <a:lnTo>
                    <a:pt x="839" y="184"/>
                  </a:lnTo>
                  <a:lnTo>
                    <a:pt x="840" y="184"/>
                  </a:lnTo>
                  <a:lnTo>
                    <a:pt x="840" y="184"/>
                  </a:lnTo>
                  <a:lnTo>
                    <a:pt x="840" y="183"/>
                  </a:lnTo>
                  <a:lnTo>
                    <a:pt x="841" y="183"/>
                  </a:lnTo>
                  <a:lnTo>
                    <a:pt x="842" y="183"/>
                  </a:lnTo>
                  <a:lnTo>
                    <a:pt x="842" y="183"/>
                  </a:lnTo>
                  <a:lnTo>
                    <a:pt x="842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4" y="182"/>
                  </a:lnTo>
                  <a:lnTo>
                    <a:pt x="843" y="182"/>
                  </a:lnTo>
                  <a:lnTo>
                    <a:pt x="843" y="181"/>
                  </a:lnTo>
                  <a:lnTo>
                    <a:pt x="844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7" y="181"/>
                  </a:lnTo>
                  <a:lnTo>
                    <a:pt x="847" y="181"/>
                  </a:lnTo>
                  <a:lnTo>
                    <a:pt x="848" y="181"/>
                  </a:lnTo>
                  <a:lnTo>
                    <a:pt x="848" y="181"/>
                  </a:lnTo>
                  <a:lnTo>
                    <a:pt x="849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1" y="181"/>
                  </a:lnTo>
                  <a:lnTo>
                    <a:pt x="851" y="180"/>
                  </a:lnTo>
                  <a:lnTo>
                    <a:pt x="852" y="180"/>
                  </a:lnTo>
                  <a:lnTo>
                    <a:pt x="853" y="180"/>
                  </a:lnTo>
                  <a:lnTo>
                    <a:pt x="853" y="181"/>
                  </a:lnTo>
                  <a:lnTo>
                    <a:pt x="853" y="181"/>
                  </a:lnTo>
                  <a:lnTo>
                    <a:pt x="854" y="181"/>
                  </a:lnTo>
                  <a:lnTo>
                    <a:pt x="854" y="181"/>
                  </a:lnTo>
                  <a:lnTo>
                    <a:pt x="855" y="181"/>
                  </a:lnTo>
                  <a:lnTo>
                    <a:pt x="855" y="181"/>
                  </a:lnTo>
                  <a:lnTo>
                    <a:pt x="856" y="181"/>
                  </a:lnTo>
                  <a:lnTo>
                    <a:pt x="857" y="181"/>
                  </a:lnTo>
                  <a:lnTo>
                    <a:pt x="857" y="180"/>
                  </a:lnTo>
                  <a:lnTo>
                    <a:pt x="857" y="180"/>
                  </a:lnTo>
                  <a:lnTo>
                    <a:pt x="858" y="180"/>
                  </a:lnTo>
                  <a:lnTo>
                    <a:pt x="858" y="179"/>
                  </a:lnTo>
                  <a:lnTo>
                    <a:pt x="858" y="179"/>
                  </a:lnTo>
                  <a:lnTo>
                    <a:pt x="859" y="179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60" y="181"/>
                  </a:lnTo>
                  <a:lnTo>
                    <a:pt x="859" y="181"/>
                  </a:lnTo>
                  <a:lnTo>
                    <a:pt x="860" y="181"/>
                  </a:lnTo>
                  <a:lnTo>
                    <a:pt x="860" y="181"/>
                  </a:lnTo>
                  <a:lnTo>
                    <a:pt x="861" y="181"/>
                  </a:lnTo>
                  <a:lnTo>
                    <a:pt x="861" y="181"/>
                  </a:lnTo>
                  <a:lnTo>
                    <a:pt x="862" y="182"/>
                  </a:lnTo>
                  <a:lnTo>
                    <a:pt x="861" y="182"/>
                  </a:lnTo>
                  <a:lnTo>
                    <a:pt x="862" y="182"/>
                  </a:lnTo>
                  <a:lnTo>
                    <a:pt x="862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4" y="182"/>
                  </a:lnTo>
                  <a:lnTo>
                    <a:pt x="865" y="182"/>
                  </a:lnTo>
                  <a:lnTo>
                    <a:pt x="865" y="182"/>
                  </a:lnTo>
                  <a:lnTo>
                    <a:pt x="866" y="182"/>
                  </a:lnTo>
                  <a:lnTo>
                    <a:pt x="866" y="182"/>
                  </a:lnTo>
                  <a:lnTo>
                    <a:pt x="867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9" y="182"/>
                  </a:lnTo>
                  <a:lnTo>
                    <a:pt x="869" y="182"/>
                  </a:lnTo>
                  <a:lnTo>
                    <a:pt x="870" y="182"/>
                  </a:lnTo>
                  <a:lnTo>
                    <a:pt x="870" y="182"/>
                  </a:lnTo>
                  <a:lnTo>
                    <a:pt x="871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3" y="182"/>
                  </a:lnTo>
                  <a:lnTo>
                    <a:pt x="873" y="182"/>
                  </a:lnTo>
                  <a:lnTo>
                    <a:pt x="874" y="183"/>
                  </a:lnTo>
                  <a:lnTo>
                    <a:pt x="874" y="183"/>
                  </a:lnTo>
                  <a:lnTo>
                    <a:pt x="875" y="183"/>
                  </a:lnTo>
                  <a:lnTo>
                    <a:pt x="876" y="183"/>
                  </a:lnTo>
                  <a:lnTo>
                    <a:pt x="876" y="183"/>
                  </a:lnTo>
                  <a:lnTo>
                    <a:pt x="877" y="183"/>
                  </a:lnTo>
                  <a:lnTo>
                    <a:pt x="877" y="183"/>
                  </a:lnTo>
                  <a:lnTo>
                    <a:pt x="878" y="183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80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7"/>
                  </a:lnTo>
                  <a:lnTo>
                    <a:pt x="879" y="187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7"/>
                  </a:lnTo>
                  <a:lnTo>
                    <a:pt x="878" y="187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2" y="184"/>
                  </a:lnTo>
                  <a:lnTo>
                    <a:pt x="882" y="183"/>
                  </a:lnTo>
                  <a:lnTo>
                    <a:pt x="883" y="183"/>
                  </a:lnTo>
                  <a:lnTo>
                    <a:pt x="883" y="183"/>
                  </a:lnTo>
                  <a:lnTo>
                    <a:pt x="883" y="182"/>
                  </a:lnTo>
                  <a:lnTo>
                    <a:pt x="884" y="182"/>
                  </a:lnTo>
                  <a:lnTo>
                    <a:pt x="884" y="183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3"/>
                  </a:lnTo>
                  <a:lnTo>
                    <a:pt x="884" y="182"/>
                  </a:lnTo>
                  <a:lnTo>
                    <a:pt x="884" y="182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6" y="181"/>
                  </a:lnTo>
                  <a:lnTo>
                    <a:pt x="887" y="180"/>
                  </a:lnTo>
                  <a:lnTo>
                    <a:pt x="887" y="180"/>
                  </a:lnTo>
                  <a:lnTo>
                    <a:pt x="887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9" y="179"/>
                  </a:lnTo>
                  <a:lnTo>
                    <a:pt x="889" y="179"/>
                  </a:lnTo>
                  <a:lnTo>
                    <a:pt x="890" y="179"/>
                  </a:lnTo>
                  <a:lnTo>
                    <a:pt x="891" y="179"/>
                  </a:lnTo>
                  <a:lnTo>
                    <a:pt x="890" y="179"/>
                  </a:lnTo>
                  <a:lnTo>
                    <a:pt x="891" y="180"/>
                  </a:lnTo>
                  <a:lnTo>
                    <a:pt x="890" y="180"/>
                  </a:lnTo>
                  <a:lnTo>
                    <a:pt x="891" y="180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0" y="181"/>
                  </a:lnTo>
                  <a:lnTo>
                    <a:pt x="890" y="181"/>
                  </a:lnTo>
                  <a:lnTo>
                    <a:pt x="889" y="181"/>
                  </a:lnTo>
                  <a:lnTo>
                    <a:pt x="890" y="181"/>
                  </a:lnTo>
                  <a:lnTo>
                    <a:pt x="890" y="182"/>
                  </a:lnTo>
                  <a:lnTo>
                    <a:pt x="891" y="182"/>
                  </a:lnTo>
                  <a:lnTo>
                    <a:pt x="891" y="182"/>
                  </a:lnTo>
                  <a:lnTo>
                    <a:pt x="892" y="182"/>
                  </a:lnTo>
                  <a:lnTo>
                    <a:pt x="892" y="182"/>
                  </a:lnTo>
                  <a:lnTo>
                    <a:pt x="892" y="183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5"/>
                  </a:lnTo>
                  <a:lnTo>
                    <a:pt x="892" y="186"/>
                  </a:lnTo>
                  <a:lnTo>
                    <a:pt x="892" y="186"/>
                  </a:lnTo>
                  <a:lnTo>
                    <a:pt x="892" y="187"/>
                  </a:lnTo>
                  <a:lnTo>
                    <a:pt x="892" y="187"/>
                  </a:lnTo>
                  <a:lnTo>
                    <a:pt x="892" y="188"/>
                  </a:lnTo>
                  <a:lnTo>
                    <a:pt x="893" y="188"/>
                  </a:lnTo>
                  <a:lnTo>
                    <a:pt x="894" y="188"/>
                  </a:lnTo>
                  <a:lnTo>
                    <a:pt x="894" y="188"/>
                  </a:lnTo>
                  <a:lnTo>
                    <a:pt x="895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7" y="188"/>
                  </a:lnTo>
                  <a:lnTo>
                    <a:pt x="898" y="188"/>
                  </a:lnTo>
                  <a:lnTo>
                    <a:pt x="898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900" y="189"/>
                  </a:lnTo>
                  <a:lnTo>
                    <a:pt x="900" y="189"/>
                  </a:lnTo>
                  <a:lnTo>
                    <a:pt x="901" y="189"/>
                  </a:lnTo>
                  <a:lnTo>
                    <a:pt x="901" y="190"/>
                  </a:lnTo>
                  <a:lnTo>
                    <a:pt x="902" y="190"/>
                  </a:lnTo>
                  <a:lnTo>
                    <a:pt x="902" y="191"/>
                  </a:lnTo>
                  <a:lnTo>
                    <a:pt x="902" y="192"/>
                  </a:lnTo>
                  <a:lnTo>
                    <a:pt x="901" y="192"/>
                  </a:lnTo>
                  <a:lnTo>
                    <a:pt x="901" y="192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3" y="193"/>
                  </a:lnTo>
                  <a:lnTo>
                    <a:pt x="903" y="194"/>
                  </a:lnTo>
                  <a:lnTo>
                    <a:pt x="903" y="194"/>
                  </a:lnTo>
                  <a:lnTo>
                    <a:pt x="904" y="194"/>
                  </a:lnTo>
                  <a:lnTo>
                    <a:pt x="904" y="194"/>
                  </a:lnTo>
                  <a:lnTo>
                    <a:pt x="904" y="193"/>
                  </a:lnTo>
                  <a:lnTo>
                    <a:pt x="905" y="193"/>
                  </a:lnTo>
                  <a:lnTo>
                    <a:pt x="906" y="193"/>
                  </a:lnTo>
                  <a:lnTo>
                    <a:pt x="906" y="194"/>
                  </a:lnTo>
                  <a:lnTo>
                    <a:pt x="906" y="193"/>
                  </a:lnTo>
                  <a:lnTo>
                    <a:pt x="906" y="193"/>
                  </a:lnTo>
                  <a:lnTo>
                    <a:pt x="907" y="193"/>
                  </a:lnTo>
                  <a:lnTo>
                    <a:pt x="907" y="193"/>
                  </a:lnTo>
                  <a:lnTo>
                    <a:pt x="908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1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1" y="194"/>
                  </a:lnTo>
                  <a:lnTo>
                    <a:pt x="911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3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1" y="193"/>
                  </a:lnTo>
                  <a:lnTo>
                    <a:pt x="911" y="192"/>
                  </a:lnTo>
                  <a:lnTo>
                    <a:pt x="912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2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1"/>
                  </a:lnTo>
                  <a:lnTo>
                    <a:pt x="912" y="191"/>
                  </a:lnTo>
                  <a:lnTo>
                    <a:pt x="913" y="191"/>
                  </a:lnTo>
                  <a:lnTo>
                    <a:pt x="913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6" y="190"/>
                  </a:lnTo>
                  <a:lnTo>
                    <a:pt x="916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8"/>
                  </a:lnTo>
                  <a:lnTo>
                    <a:pt x="913" y="188"/>
                  </a:lnTo>
                  <a:lnTo>
                    <a:pt x="913" y="188"/>
                  </a:lnTo>
                  <a:lnTo>
                    <a:pt x="913" y="187"/>
                  </a:lnTo>
                  <a:lnTo>
                    <a:pt x="913" y="186"/>
                  </a:lnTo>
                  <a:lnTo>
                    <a:pt x="913" y="186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4"/>
                  </a:lnTo>
                  <a:lnTo>
                    <a:pt x="912" y="184"/>
                  </a:lnTo>
                  <a:lnTo>
                    <a:pt x="911" y="184"/>
                  </a:lnTo>
                  <a:lnTo>
                    <a:pt x="911" y="183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0" y="182"/>
                  </a:lnTo>
                  <a:lnTo>
                    <a:pt x="910" y="182"/>
                  </a:lnTo>
                  <a:lnTo>
                    <a:pt x="909" y="182"/>
                  </a:lnTo>
                  <a:lnTo>
                    <a:pt x="909" y="182"/>
                  </a:lnTo>
                  <a:lnTo>
                    <a:pt x="908" y="182"/>
                  </a:lnTo>
                  <a:lnTo>
                    <a:pt x="907" y="182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8" y="180"/>
                  </a:lnTo>
                  <a:lnTo>
                    <a:pt x="909" y="180"/>
                  </a:lnTo>
                  <a:lnTo>
                    <a:pt x="909" y="180"/>
                  </a:lnTo>
                  <a:lnTo>
                    <a:pt x="910" y="180"/>
                  </a:lnTo>
                  <a:lnTo>
                    <a:pt x="910" y="180"/>
                  </a:lnTo>
                  <a:lnTo>
                    <a:pt x="910" y="179"/>
                  </a:lnTo>
                  <a:lnTo>
                    <a:pt x="911" y="179"/>
                  </a:lnTo>
                  <a:lnTo>
                    <a:pt x="911" y="180"/>
                  </a:lnTo>
                  <a:lnTo>
                    <a:pt x="910" y="180"/>
                  </a:lnTo>
                  <a:lnTo>
                    <a:pt x="911" y="180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0" y="179"/>
                  </a:lnTo>
                  <a:lnTo>
                    <a:pt x="910" y="178"/>
                  </a:lnTo>
                  <a:lnTo>
                    <a:pt x="911" y="178"/>
                  </a:lnTo>
                  <a:lnTo>
                    <a:pt x="910" y="178"/>
                  </a:lnTo>
                  <a:lnTo>
                    <a:pt x="910" y="177"/>
                  </a:lnTo>
                  <a:lnTo>
                    <a:pt x="910" y="177"/>
                  </a:lnTo>
                  <a:lnTo>
                    <a:pt x="910" y="176"/>
                  </a:lnTo>
                  <a:lnTo>
                    <a:pt x="910" y="175"/>
                  </a:lnTo>
                  <a:lnTo>
                    <a:pt x="911" y="175"/>
                  </a:lnTo>
                  <a:lnTo>
                    <a:pt x="911" y="175"/>
                  </a:lnTo>
                  <a:lnTo>
                    <a:pt x="910" y="175"/>
                  </a:lnTo>
                  <a:lnTo>
                    <a:pt x="910" y="175"/>
                  </a:lnTo>
                  <a:lnTo>
                    <a:pt x="909" y="174"/>
                  </a:lnTo>
                  <a:lnTo>
                    <a:pt x="910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1" y="174"/>
                  </a:lnTo>
                  <a:lnTo>
                    <a:pt x="911" y="175"/>
                  </a:lnTo>
                  <a:lnTo>
                    <a:pt x="912" y="175"/>
                  </a:lnTo>
                  <a:lnTo>
                    <a:pt x="913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4" y="175"/>
                  </a:lnTo>
                  <a:lnTo>
                    <a:pt x="915" y="175"/>
                  </a:lnTo>
                  <a:lnTo>
                    <a:pt x="915" y="175"/>
                  </a:lnTo>
                  <a:lnTo>
                    <a:pt x="916" y="175"/>
                  </a:lnTo>
                  <a:lnTo>
                    <a:pt x="917" y="175"/>
                  </a:lnTo>
                  <a:lnTo>
                    <a:pt x="917" y="175"/>
                  </a:lnTo>
                  <a:lnTo>
                    <a:pt x="918" y="175"/>
                  </a:lnTo>
                  <a:lnTo>
                    <a:pt x="918" y="175"/>
                  </a:lnTo>
                  <a:lnTo>
                    <a:pt x="919" y="175"/>
                  </a:lnTo>
                  <a:lnTo>
                    <a:pt x="919" y="176"/>
                  </a:lnTo>
                  <a:lnTo>
                    <a:pt x="919" y="175"/>
                  </a:lnTo>
                  <a:lnTo>
                    <a:pt x="920" y="176"/>
                  </a:lnTo>
                  <a:lnTo>
                    <a:pt x="920" y="176"/>
                  </a:lnTo>
                  <a:lnTo>
                    <a:pt x="921" y="176"/>
                  </a:lnTo>
                  <a:lnTo>
                    <a:pt x="922" y="176"/>
                  </a:lnTo>
                  <a:lnTo>
                    <a:pt x="922" y="177"/>
                  </a:lnTo>
                  <a:lnTo>
                    <a:pt x="922" y="177"/>
                  </a:lnTo>
                  <a:lnTo>
                    <a:pt x="923" y="177"/>
                  </a:lnTo>
                  <a:lnTo>
                    <a:pt x="924" y="177"/>
                  </a:lnTo>
                  <a:lnTo>
                    <a:pt x="924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7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9" y="177"/>
                  </a:lnTo>
                  <a:lnTo>
                    <a:pt x="929" y="178"/>
                  </a:lnTo>
                  <a:lnTo>
                    <a:pt x="929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1" y="178"/>
                  </a:lnTo>
                  <a:lnTo>
                    <a:pt x="932" y="178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3" y="180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3" y="177"/>
                  </a:lnTo>
                  <a:lnTo>
                    <a:pt x="933" y="177"/>
                  </a:lnTo>
                  <a:lnTo>
                    <a:pt x="934" y="177"/>
                  </a:lnTo>
                  <a:lnTo>
                    <a:pt x="935" y="177"/>
                  </a:lnTo>
                  <a:lnTo>
                    <a:pt x="935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9"/>
                  </a:lnTo>
                  <a:lnTo>
                    <a:pt x="936" y="179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9" y="180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40" y="178"/>
                  </a:lnTo>
                  <a:lnTo>
                    <a:pt x="940" y="178"/>
                  </a:lnTo>
                  <a:lnTo>
                    <a:pt x="941" y="178"/>
                  </a:lnTo>
                  <a:lnTo>
                    <a:pt x="941" y="178"/>
                  </a:lnTo>
                  <a:lnTo>
                    <a:pt x="942" y="178"/>
                  </a:lnTo>
                  <a:lnTo>
                    <a:pt x="943" y="178"/>
                  </a:lnTo>
                  <a:lnTo>
                    <a:pt x="943" y="178"/>
                  </a:lnTo>
                  <a:lnTo>
                    <a:pt x="944" y="178"/>
                  </a:lnTo>
                  <a:lnTo>
                    <a:pt x="945" y="178"/>
                  </a:lnTo>
                  <a:lnTo>
                    <a:pt x="946" y="178"/>
                  </a:lnTo>
                  <a:lnTo>
                    <a:pt x="946" y="178"/>
                  </a:lnTo>
                  <a:lnTo>
                    <a:pt x="947" y="178"/>
                  </a:lnTo>
                  <a:lnTo>
                    <a:pt x="947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49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6" y="178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8" y="179"/>
                  </a:lnTo>
                  <a:lnTo>
                    <a:pt x="958" y="180"/>
                  </a:lnTo>
                  <a:lnTo>
                    <a:pt x="958" y="180"/>
                  </a:lnTo>
                  <a:lnTo>
                    <a:pt x="959" y="180"/>
                  </a:lnTo>
                  <a:lnTo>
                    <a:pt x="959" y="180"/>
                  </a:lnTo>
                  <a:lnTo>
                    <a:pt x="959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2" y="181"/>
                  </a:lnTo>
                  <a:lnTo>
                    <a:pt x="962" y="181"/>
                  </a:lnTo>
                  <a:lnTo>
                    <a:pt x="963" y="181"/>
                  </a:lnTo>
                  <a:lnTo>
                    <a:pt x="963" y="182"/>
                  </a:lnTo>
                  <a:lnTo>
                    <a:pt x="963" y="182"/>
                  </a:lnTo>
                  <a:lnTo>
                    <a:pt x="964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7" y="182"/>
                  </a:lnTo>
                  <a:lnTo>
                    <a:pt x="967" y="182"/>
                  </a:lnTo>
                  <a:lnTo>
                    <a:pt x="967" y="183"/>
                  </a:lnTo>
                  <a:lnTo>
                    <a:pt x="968" y="183"/>
                  </a:lnTo>
                  <a:lnTo>
                    <a:pt x="967" y="182"/>
                  </a:lnTo>
                  <a:lnTo>
                    <a:pt x="968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4"/>
                  </a:lnTo>
                  <a:lnTo>
                    <a:pt x="970" y="184"/>
                  </a:lnTo>
                  <a:lnTo>
                    <a:pt x="970" y="184"/>
                  </a:lnTo>
                  <a:lnTo>
                    <a:pt x="971" y="184"/>
                  </a:lnTo>
                  <a:lnTo>
                    <a:pt x="971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5" y="184"/>
                  </a:lnTo>
                  <a:lnTo>
                    <a:pt x="976" y="184"/>
                  </a:lnTo>
                  <a:lnTo>
                    <a:pt x="976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6" y="185"/>
                  </a:lnTo>
                  <a:lnTo>
                    <a:pt x="976" y="186"/>
                  </a:lnTo>
                  <a:lnTo>
                    <a:pt x="976" y="186"/>
                  </a:lnTo>
                  <a:lnTo>
                    <a:pt x="977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1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3" y="189"/>
                  </a:lnTo>
                  <a:lnTo>
                    <a:pt x="983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7"/>
                  </a:lnTo>
                  <a:lnTo>
                    <a:pt x="981" y="187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8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89"/>
                  </a:lnTo>
                  <a:lnTo>
                    <a:pt x="985" y="190"/>
                  </a:lnTo>
                  <a:lnTo>
                    <a:pt x="986" y="190"/>
                  </a:lnTo>
                  <a:lnTo>
                    <a:pt x="987" y="190"/>
                  </a:lnTo>
                  <a:lnTo>
                    <a:pt x="987" y="241"/>
                  </a:lnTo>
                  <a:lnTo>
                    <a:pt x="986" y="241"/>
                  </a:lnTo>
                  <a:lnTo>
                    <a:pt x="985" y="241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7" y="244"/>
                  </a:lnTo>
                  <a:lnTo>
                    <a:pt x="987" y="245"/>
                  </a:lnTo>
                  <a:lnTo>
                    <a:pt x="986" y="245"/>
                  </a:lnTo>
                  <a:lnTo>
                    <a:pt x="986" y="246"/>
                  </a:lnTo>
                  <a:lnTo>
                    <a:pt x="985" y="246"/>
                  </a:lnTo>
                  <a:lnTo>
                    <a:pt x="985" y="246"/>
                  </a:lnTo>
                  <a:lnTo>
                    <a:pt x="985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8"/>
                  </a:lnTo>
                  <a:lnTo>
                    <a:pt x="983" y="248"/>
                  </a:lnTo>
                  <a:lnTo>
                    <a:pt x="983" y="248"/>
                  </a:lnTo>
                  <a:lnTo>
                    <a:pt x="982" y="248"/>
                  </a:lnTo>
                  <a:lnTo>
                    <a:pt x="982" y="249"/>
                  </a:lnTo>
                  <a:lnTo>
                    <a:pt x="982" y="249"/>
                  </a:lnTo>
                  <a:lnTo>
                    <a:pt x="981" y="249"/>
                  </a:lnTo>
                  <a:lnTo>
                    <a:pt x="981" y="249"/>
                  </a:lnTo>
                  <a:lnTo>
                    <a:pt x="980" y="249"/>
                  </a:lnTo>
                  <a:lnTo>
                    <a:pt x="980" y="249"/>
                  </a:lnTo>
                  <a:lnTo>
                    <a:pt x="979" y="249"/>
                  </a:lnTo>
                  <a:lnTo>
                    <a:pt x="979" y="250"/>
                  </a:lnTo>
                  <a:lnTo>
                    <a:pt x="978" y="250"/>
                  </a:lnTo>
                  <a:lnTo>
                    <a:pt x="978" y="250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5" y="252"/>
                  </a:lnTo>
                  <a:lnTo>
                    <a:pt x="975" y="252"/>
                  </a:lnTo>
                  <a:lnTo>
                    <a:pt x="974" y="252"/>
                  </a:lnTo>
                  <a:lnTo>
                    <a:pt x="974" y="252"/>
                  </a:lnTo>
                  <a:lnTo>
                    <a:pt x="975" y="252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6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1"/>
                  </a:lnTo>
                  <a:lnTo>
                    <a:pt x="975" y="251"/>
                  </a:lnTo>
                  <a:lnTo>
                    <a:pt x="975" y="251"/>
                  </a:lnTo>
                  <a:lnTo>
                    <a:pt x="974" y="251"/>
                  </a:lnTo>
                  <a:lnTo>
                    <a:pt x="974" y="251"/>
                  </a:lnTo>
                  <a:lnTo>
                    <a:pt x="973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2" y="251"/>
                  </a:lnTo>
                  <a:lnTo>
                    <a:pt x="971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69" y="251"/>
                  </a:lnTo>
                  <a:lnTo>
                    <a:pt x="969" y="251"/>
                  </a:lnTo>
                  <a:lnTo>
                    <a:pt x="968" y="251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7"/>
                  </a:lnTo>
                  <a:lnTo>
                    <a:pt x="965" y="247"/>
                  </a:lnTo>
                  <a:lnTo>
                    <a:pt x="964" y="247"/>
                  </a:lnTo>
                  <a:lnTo>
                    <a:pt x="964" y="247"/>
                  </a:lnTo>
                  <a:lnTo>
                    <a:pt x="963" y="246"/>
                  </a:lnTo>
                  <a:lnTo>
                    <a:pt x="964" y="247"/>
                  </a:lnTo>
                  <a:lnTo>
                    <a:pt x="964" y="246"/>
                  </a:lnTo>
                  <a:lnTo>
                    <a:pt x="963" y="246"/>
                  </a:lnTo>
                  <a:lnTo>
                    <a:pt x="963" y="246"/>
                  </a:lnTo>
                  <a:lnTo>
                    <a:pt x="963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0" y="245"/>
                  </a:lnTo>
                  <a:lnTo>
                    <a:pt x="960" y="246"/>
                  </a:lnTo>
                  <a:lnTo>
                    <a:pt x="959" y="246"/>
                  </a:lnTo>
                  <a:lnTo>
                    <a:pt x="959" y="246"/>
                  </a:lnTo>
                  <a:lnTo>
                    <a:pt x="959" y="245"/>
                  </a:lnTo>
                  <a:lnTo>
                    <a:pt x="958" y="245"/>
                  </a:lnTo>
                  <a:lnTo>
                    <a:pt x="958" y="246"/>
                  </a:lnTo>
                  <a:lnTo>
                    <a:pt x="957" y="246"/>
                  </a:lnTo>
                  <a:lnTo>
                    <a:pt x="958" y="246"/>
                  </a:lnTo>
                  <a:lnTo>
                    <a:pt x="958" y="246"/>
                  </a:lnTo>
                  <a:lnTo>
                    <a:pt x="958" y="247"/>
                  </a:lnTo>
                  <a:lnTo>
                    <a:pt x="959" y="247"/>
                  </a:lnTo>
                  <a:lnTo>
                    <a:pt x="959" y="247"/>
                  </a:lnTo>
                  <a:lnTo>
                    <a:pt x="960" y="247"/>
                  </a:lnTo>
                  <a:lnTo>
                    <a:pt x="961" y="247"/>
                  </a:lnTo>
                  <a:lnTo>
                    <a:pt x="961" y="246"/>
                  </a:lnTo>
                  <a:lnTo>
                    <a:pt x="961" y="246"/>
                  </a:lnTo>
                  <a:lnTo>
                    <a:pt x="962" y="246"/>
                  </a:lnTo>
                  <a:lnTo>
                    <a:pt x="962" y="246"/>
                  </a:lnTo>
                  <a:lnTo>
                    <a:pt x="962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4" y="247"/>
                  </a:lnTo>
                  <a:lnTo>
                    <a:pt x="964" y="248"/>
                  </a:lnTo>
                  <a:lnTo>
                    <a:pt x="964" y="247"/>
                  </a:lnTo>
                  <a:lnTo>
                    <a:pt x="965" y="248"/>
                  </a:lnTo>
                  <a:lnTo>
                    <a:pt x="965" y="247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4" y="249"/>
                  </a:lnTo>
                  <a:lnTo>
                    <a:pt x="964" y="249"/>
                  </a:lnTo>
                  <a:lnTo>
                    <a:pt x="963" y="249"/>
                  </a:lnTo>
                  <a:lnTo>
                    <a:pt x="963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8"/>
                  </a:lnTo>
                  <a:lnTo>
                    <a:pt x="961" y="248"/>
                  </a:lnTo>
                  <a:lnTo>
                    <a:pt x="961" y="249"/>
                  </a:lnTo>
                  <a:lnTo>
                    <a:pt x="961" y="249"/>
                  </a:lnTo>
                  <a:lnTo>
                    <a:pt x="961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59" y="248"/>
                  </a:lnTo>
                  <a:lnTo>
                    <a:pt x="959" y="249"/>
                  </a:lnTo>
                  <a:lnTo>
                    <a:pt x="958" y="249"/>
                  </a:lnTo>
                  <a:lnTo>
                    <a:pt x="958" y="249"/>
                  </a:lnTo>
                  <a:lnTo>
                    <a:pt x="958" y="248"/>
                  </a:lnTo>
                  <a:lnTo>
                    <a:pt x="957" y="248"/>
                  </a:lnTo>
                  <a:lnTo>
                    <a:pt x="957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5" y="248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4" y="247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3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1" y="249"/>
                  </a:lnTo>
                  <a:lnTo>
                    <a:pt x="951" y="249"/>
                  </a:lnTo>
                  <a:lnTo>
                    <a:pt x="950" y="249"/>
                  </a:lnTo>
                  <a:lnTo>
                    <a:pt x="950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8" y="250"/>
                  </a:lnTo>
                  <a:lnTo>
                    <a:pt x="948" y="249"/>
                  </a:lnTo>
                  <a:lnTo>
                    <a:pt x="948" y="249"/>
                  </a:lnTo>
                  <a:lnTo>
                    <a:pt x="948" y="250"/>
                  </a:lnTo>
                  <a:lnTo>
                    <a:pt x="947" y="250"/>
                  </a:lnTo>
                  <a:lnTo>
                    <a:pt x="947" y="249"/>
                  </a:lnTo>
                  <a:lnTo>
                    <a:pt x="947" y="249"/>
                  </a:lnTo>
                  <a:lnTo>
                    <a:pt x="947" y="250"/>
                  </a:lnTo>
                  <a:lnTo>
                    <a:pt x="946" y="250"/>
                  </a:lnTo>
                  <a:lnTo>
                    <a:pt x="946" y="250"/>
                  </a:lnTo>
                  <a:lnTo>
                    <a:pt x="945" y="251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2" y="251"/>
                  </a:lnTo>
                  <a:lnTo>
                    <a:pt x="941" y="251"/>
                  </a:lnTo>
                  <a:lnTo>
                    <a:pt x="941" y="250"/>
                  </a:lnTo>
                  <a:lnTo>
                    <a:pt x="941" y="250"/>
                  </a:lnTo>
                  <a:lnTo>
                    <a:pt x="941" y="249"/>
                  </a:lnTo>
                  <a:lnTo>
                    <a:pt x="940" y="249"/>
                  </a:lnTo>
                  <a:lnTo>
                    <a:pt x="940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3" y="248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5" y="246"/>
                  </a:lnTo>
                  <a:lnTo>
                    <a:pt x="945" y="245"/>
                  </a:lnTo>
                  <a:lnTo>
                    <a:pt x="945" y="246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0" y="248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41" y="249"/>
                  </a:lnTo>
                  <a:lnTo>
                    <a:pt x="940" y="250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40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8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6" y="246"/>
                  </a:lnTo>
                  <a:lnTo>
                    <a:pt x="935" y="246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8" y="247"/>
                  </a:lnTo>
                  <a:lnTo>
                    <a:pt x="938" y="248"/>
                  </a:lnTo>
                  <a:lnTo>
                    <a:pt x="938" y="248"/>
                  </a:lnTo>
                  <a:lnTo>
                    <a:pt x="939" y="248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40" y="249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38" y="250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6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8" y="250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40" y="249"/>
                  </a:lnTo>
                  <a:lnTo>
                    <a:pt x="940" y="250"/>
                  </a:lnTo>
                  <a:lnTo>
                    <a:pt x="941" y="250"/>
                  </a:lnTo>
                  <a:lnTo>
                    <a:pt x="941" y="251"/>
                  </a:lnTo>
                  <a:lnTo>
                    <a:pt x="941" y="251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2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0" y="252"/>
                  </a:lnTo>
                  <a:lnTo>
                    <a:pt x="940" y="252"/>
                  </a:lnTo>
                  <a:lnTo>
                    <a:pt x="939" y="252"/>
                  </a:lnTo>
                  <a:lnTo>
                    <a:pt x="939" y="252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1" y="254"/>
                  </a:lnTo>
                  <a:lnTo>
                    <a:pt x="941" y="255"/>
                  </a:lnTo>
                  <a:lnTo>
                    <a:pt x="941" y="255"/>
                  </a:lnTo>
                  <a:lnTo>
                    <a:pt x="941" y="254"/>
                  </a:lnTo>
                  <a:lnTo>
                    <a:pt x="942" y="254"/>
                  </a:lnTo>
                  <a:lnTo>
                    <a:pt x="942" y="255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4" y="254"/>
                  </a:lnTo>
                  <a:lnTo>
                    <a:pt x="944" y="253"/>
                  </a:lnTo>
                  <a:lnTo>
                    <a:pt x="944" y="253"/>
                  </a:lnTo>
                  <a:lnTo>
                    <a:pt x="944" y="252"/>
                  </a:lnTo>
                  <a:lnTo>
                    <a:pt x="944" y="252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5" y="251"/>
                  </a:lnTo>
                  <a:lnTo>
                    <a:pt x="946" y="251"/>
                  </a:lnTo>
                  <a:lnTo>
                    <a:pt x="946" y="251"/>
                  </a:lnTo>
                  <a:lnTo>
                    <a:pt x="946" y="250"/>
                  </a:lnTo>
                  <a:lnTo>
                    <a:pt x="947" y="250"/>
                  </a:lnTo>
                  <a:lnTo>
                    <a:pt x="947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9" y="250"/>
                  </a:lnTo>
                  <a:lnTo>
                    <a:pt x="950" y="250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1" y="249"/>
                  </a:lnTo>
                  <a:lnTo>
                    <a:pt x="951" y="250"/>
                  </a:lnTo>
                  <a:lnTo>
                    <a:pt x="951" y="250"/>
                  </a:lnTo>
                  <a:lnTo>
                    <a:pt x="952" y="250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3" y="249"/>
                  </a:lnTo>
                  <a:lnTo>
                    <a:pt x="953" y="249"/>
                  </a:lnTo>
                  <a:lnTo>
                    <a:pt x="954" y="249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5" y="248"/>
                  </a:lnTo>
                  <a:lnTo>
                    <a:pt x="955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7" y="249"/>
                  </a:lnTo>
                  <a:lnTo>
                    <a:pt x="957" y="250"/>
                  </a:lnTo>
                  <a:lnTo>
                    <a:pt x="958" y="250"/>
                  </a:lnTo>
                  <a:lnTo>
                    <a:pt x="958" y="251"/>
                  </a:lnTo>
                  <a:lnTo>
                    <a:pt x="957" y="251"/>
                  </a:lnTo>
                  <a:lnTo>
                    <a:pt x="957" y="251"/>
                  </a:lnTo>
                  <a:lnTo>
                    <a:pt x="956" y="251"/>
                  </a:lnTo>
                  <a:lnTo>
                    <a:pt x="956" y="251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3"/>
                  </a:lnTo>
                  <a:lnTo>
                    <a:pt x="955" y="254"/>
                  </a:lnTo>
                  <a:lnTo>
                    <a:pt x="954" y="254"/>
                  </a:lnTo>
                  <a:lnTo>
                    <a:pt x="954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7" y="256"/>
                  </a:lnTo>
                  <a:lnTo>
                    <a:pt x="957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4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6" y="252"/>
                  </a:lnTo>
                  <a:lnTo>
                    <a:pt x="957" y="252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9" y="251"/>
                  </a:lnTo>
                  <a:lnTo>
                    <a:pt x="959" y="251"/>
                  </a:lnTo>
                  <a:lnTo>
                    <a:pt x="960" y="252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3" y="251"/>
                  </a:lnTo>
                  <a:lnTo>
                    <a:pt x="963" y="250"/>
                  </a:lnTo>
                  <a:lnTo>
                    <a:pt x="963" y="250"/>
                  </a:lnTo>
                  <a:lnTo>
                    <a:pt x="964" y="250"/>
                  </a:lnTo>
                  <a:lnTo>
                    <a:pt x="965" y="250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2"/>
                  </a:lnTo>
                  <a:lnTo>
                    <a:pt x="966" y="252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6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8" y="255"/>
                  </a:lnTo>
                  <a:lnTo>
                    <a:pt x="968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70" y="257"/>
                  </a:lnTo>
                  <a:lnTo>
                    <a:pt x="970" y="257"/>
                  </a:lnTo>
                  <a:lnTo>
                    <a:pt x="971" y="257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2" y="259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7"/>
                  </a:lnTo>
                  <a:lnTo>
                    <a:pt x="971" y="257"/>
                  </a:lnTo>
                  <a:lnTo>
                    <a:pt x="971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3" y="256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2" y="255"/>
                  </a:lnTo>
                  <a:lnTo>
                    <a:pt x="973" y="254"/>
                  </a:lnTo>
                  <a:lnTo>
                    <a:pt x="972" y="254"/>
                  </a:lnTo>
                  <a:lnTo>
                    <a:pt x="972" y="255"/>
                  </a:lnTo>
                  <a:lnTo>
                    <a:pt x="972" y="254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6"/>
                  </a:lnTo>
                  <a:lnTo>
                    <a:pt x="973" y="256"/>
                  </a:lnTo>
                  <a:lnTo>
                    <a:pt x="974" y="256"/>
                  </a:lnTo>
                  <a:lnTo>
                    <a:pt x="974" y="257"/>
                  </a:lnTo>
                  <a:lnTo>
                    <a:pt x="974" y="258"/>
                  </a:lnTo>
                  <a:lnTo>
                    <a:pt x="974" y="258"/>
                  </a:lnTo>
                  <a:lnTo>
                    <a:pt x="975" y="259"/>
                  </a:lnTo>
                  <a:lnTo>
                    <a:pt x="976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3" y="259"/>
                  </a:lnTo>
                  <a:lnTo>
                    <a:pt x="974" y="259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1" y="260"/>
                  </a:lnTo>
                  <a:lnTo>
                    <a:pt x="971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1" y="261"/>
                  </a:lnTo>
                  <a:lnTo>
                    <a:pt x="971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5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59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1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3"/>
                  </a:lnTo>
                  <a:lnTo>
                    <a:pt x="977" y="263"/>
                  </a:lnTo>
                  <a:lnTo>
                    <a:pt x="977" y="264"/>
                  </a:lnTo>
                  <a:lnTo>
                    <a:pt x="977" y="264"/>
                  </a:lnTo>
                  <a:lnTo>
                    <a:pt x="977" y="265"/>
                  </a:lnTo>
                  <a:lnTo>
                    <a:pt x="977" y="266"/>
                  </a:lnTo>
                  <a:lnTo>
                    <a:pt x="977" y="266"/>
                  </a:lnTo>
                  <a:lnTo>
                    <a:pt x="977" y="267"/>
                  </a:lnTo>
                  <a:lnTo>
                    <a:pt x="977" y="267"/>
                  </a:lnTo>
                  <a:lnTo>
                    <a:pt x="978" y="268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9" y="269"/>
                  </a:lnTo>
                  <a:lnTo>
                    <a:pt x="979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1" y="270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2" y="271"/>
                  </a:lnTo>
                  <a:lnTo>
                    <a:pt x="982" y="272"/>
                  </a:lnTo>
                  <a:lnTo>
                    <a:pt x="982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0" y="273"/>
                  </a:lnTo>
                  <a:lnTo>
                    <a:pt x="981" y="274"/>
                  </a:lnTo>
                  <a:lnTo>
                    <a:pt x="981" y="274"/>
                  </a:lnTo>
                  <a:lnTo>
                    <a:pt x="981" y="275"/>
                  </a:lnTo>
                  <a:lnTo>
                    <a:pt x="981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3" y="275"/>
                  </a:lnTo>
                  <a:lnTo>
                    <a:pt x="983" y="276"/>
                  </a:lnTo>
                  <a:lnTo>
                    <a:pt x="983" y="277"/>
                  </a:lnTo>
                  <a:lnTo>
                    <a:pt x="983" y="277"/>
                  </a:lnTo>
                  <a:lnTo>
                    <a:pt x="983" y="278"/>
                  </a:lnTo>
                  <a:lnTo>
                    <a:pt x="983" y="278"/>
                  </a:lnTo>
                  <a:lnTo>
                    <a:pt x="982" y="278"/>
                  </a:lnTo>
                  <a:lnTo>
                    <a:pt x="982" y="278"/>
                  </a:lnTo>
                  <a:lnTo>
                    <a:pt x="982" y="279"/>
                  </a:lnTo>
                  <a:lnTo>
                    <a:pt x="982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0" y="280"/>
                  </a:lnTo>
                  <a:lnTo>
                    <a:pt x="980" y="280"/>
                  </a:lnTo>
                  <a:lnTo>
                    <a:pt x="980" y="281"/>
                  </a:lnTo>
                  <a:lnTo>
                    <a:pt x="979" y="281"/>
                  </a:lnTo>
                  <a:lnTo>
                    <a:pt x="979" y="281"/>
                  </a:lnTo>
                  <a:lnTo>
                    <a:pt x="980" y="281"/>
                  </a:lnTo>
                  <a:lnTo>
                    <a:pt x="980" y="282"/>
                  </a:lnTo>
                  <a:lnTo>
                    <a:pt x="980" y="282"/>
                  </a:lnTo>
                  <a:lnTo>
                    <a:pt x="979" y="283"/>
                  </a:lnTo>
                  <a:lnTo>
                    <a:pt x="979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7" y="282"/>
                  </a:lnTo>
                  <a:lnTo>
                    <a:pt x="977" y="282"/>
                  </a:lnTo>
                  <a:lnTo>
                    <a:pt x="977" y="281"/>
                  </a:lnTo>
                  <a:lnTo>
                    <a:pt x="976" y="281"/>
                  </a:lnTo>
                  <a:lnTo>
                    <a:pt x="976" y="281"/>
                  </a:lnTo>
                  <a:lnTo>
                    <a:pt x="975" y="281"/>
                  </a:lnTo>
                  <a:lnTo>
                    <a:pt x="975" y="281"/>
                  </a:lnTo>
                  <a:lnTo>
                    <a:pt x="974" y="281"/>
                  </a:lnTo>
                  <a:lnTo>
                    <a:pt x="974" y="281"/>
                  </a:lnTo>
                  <a:lnTo>
                    <a:pt x="973" y="281"/>
                  </a:lnTo>
                  <a:lnTo>
                    <a:pt x="973" y="281"/>
                  </a:lnTo>
                  <a:lnTo>
                    <a:pt x="973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1" y="280"/>
                  </a:lnTo>
                  <a:lnTo>
                    <a:pt x="970" y="280"/>
                  </a:lnTo>
                  <a:lnTo>
                    <a:pt x="969" y="280"/>
                  </a:lnTo>
                  <a:lnTo>
                    <a:pt x="968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6" y="279"/>
                  </a:lnTo>
                  <a:lnTo>
                    <a:pt x="966" y="279"/>
                  </a:lnTo>
                  <a:lnTo>
                    <a:pt x="965" y="279"/>
                  </a:lnTo>
                  <a:lnTo>
                    <a:pt x="965" y="279"/>
                  </a:lnTo>
                  <a:lnTo>
                    <a:pt x="963" y="280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3" y="280"/>
                  </a:lnTo>
                  <a:lnTo>
                    <a:pt x="963" y="279"/>
                  </a:lnTo>
                  <a:lnTo>
                    <a:pt x="964" y="279"/>
                  </a:lnTo>
                  <a:lnTo>
                    <a:pt x="965" y="279"/>
                  </a:lnTo>
                  <a:lnTo>
                    <a:pt x="964" y="279"/>
                  </a:lnTo>
                  <a:lnTo>
                    <a:pt x="963" y="279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1" y="280"/>
                  </a:lnTo>
                  <a:lnTo>
                    <a:pt x="960" y="280"/>
                  </a:lnTo>
                  <a:lnTo>
                    <a:pt x="959" y="281"/>
                  </a:lnTo>
                  <a:lnTo>
                    <a:pt x="959" y="281"/>
                  </a:lnTo>
                  <a:lnTo>
                    <a:pt x="958" y="281"/>
                  </a:lnTo>
                  <a:lnTo>
                    <a:pt x="958" y="281"/>
                  </a:lnTo>
                  <a:lnTo>
                    <a:pt x="958" y="282"/>
                  </a:lnTo>
                  <a:lnTo>
                    <a:pt x="957" y="282"/>
                  </a:lnTo>
                  <a:lnTo>
                    <a:pt x="957" y="282"/>
                  </a:lnTo>
                  <a:lnTo>
                    <a:pt x="956" y="282"/>
                  </a:lnTo>
                  <a:lnTo>
                    <a:pt x="956" y="282"/>
                  </a:lnTo>
                  <a:lnTo>
                    <a:pt x="956" y="283"/>
                  </a:lnTo>
                  <a:lnTo>
                    <a:pt x="955" y="283"/>
                  </a:lnTo>
                  <a:lnTo>
                    <a:pt x="955" y="283"/>
                  </a:lnTo>
                  <a:lnTo>
                    <a:pt x="954" y="283"/>
                  </a:lnTo>
                  <a:lnTo>
                    <a:pt x="954" y="283"/>
                  </a:lnTo>
                  <a:lnTo>
                    <a:pt x="954" y="284"/>
                  </a:lnTo>
                  <a:lnTo>
                    <a:pt x="953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1" y="284"/>
                  </a:lnTo>
                  <a:lnTo>
                    <a:pt x="951" y="284"/>
                  </a:lnTo>
                  <a:lnTo>
                    <a:pt x="951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8" y="286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9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4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7" y="287"/>
                  </a:lnTo>
                  <a:lnTo>
                    <a:pt x="946" y="287"/>
                  </a:lnTo>
                  <a:lnTo>
                    <a:pt x="946" y="287"/>
                  </a:lnTo>
                  <a:lnTo>
                    <a:pt x="945" y="288"/>
                  </a:lnTo>
                  <a:lnTo>
                    <a:pt x="944" y="288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4" y="287"/>
                  </a:lnTo>
                  <a:lnTo>
                    <a:pt x="944" y="287"/>
                  </a:lnTo>
                  <a:lnTo>
                    <a:pt x="943" y="287"/>
                  </a:lnTo>
                  <a:lnTo>
                    <a:pt x="943" y="286"/>
                  </a:lnTo>
                  <a:lnTo>
                    <a:pt x="943" y="287"/>
                  </a:lnTo>
                  <a:lnTo>
                    <a:pt x="944" y="287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2" y="289"/>
                  </a:lnTo>
                  <a:lnTo>
                    <a:pt x="941" y="289"/>
                  </a:lnTo>
                  <a:lnTo>
                    <a:pt x="941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9" y="288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90"/>
                  </a:lnTo>
                  <a:lnTo>
                    <a:pt x="938" y="290"/>
                  </a:lnTo>
                  <a:lnTo>
                    <a:pt x="938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6" y="291"/>
                  </a:lnTo>
                  <a:lnTo>
                    <a:pt x="936" y="291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5" y="290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90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1"/>
                  </a:lnTo>
                  <a:lnTo>
                    <a:pt x="934" y="292"/>
                  </a:lnTo>
                  <a:lnTo>
                    <a:pt x="934" y="292"/>
                  </a:lnTo>
                  <a:lnTo>
                    <a:pt x="934" y="293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2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2" y="294"/>
                  </a:lnTo>
                  <a:lnTo>
                    <a:pt x="932" y="294"/>
                  </a:lnTo>
                  <a:lnTo>
                    <a:pt x="932" y="295"/>
                  </a:lnTo>
                  <a:lnTo>
                    <a:pt x="931" y="295"/>
                  </a:lnTo>
                  <a:lnTo>
                    <a:pt x="930" y="295"/>
                  </a:lnTo>
                  <a:lnTo>
                    <a:pt x="930" y="295"/>
                  </a:lnTo>
                  <a:lnTo>
                    <a:pt x="930" y="294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5"/>
                  </a:lnTo>
                  <a:lnTo>
                    <a:pt x="930" y="295"/>
                  </a:lnTo>
                  <a:lnTo>
                    <a:pt x="929" y="295"/>
                  </a:lnTo>
                  <a:lnTo>
                    <a:pt x="929" y="296"/>
                  </a:lnTo>
                  <a:lnTo>
                    <a:pt x="930" y="296"/>
                  </a:lnTo>
                  <a:lnTo>
                    <a:pt x="929" y="296"/>
                  </a:lnTo>
                  <a:lnTo>
                    <a:pt x="929" y="296"/>
                  </a:lnTo>
                  <a:lnTo>
                    <a:pt x="928" y="296"/>
                  </a:lnTo>
                  <a:lnTo>
                    <a:pt x="928" y="296"/>
                  </a:lnTo>
                  <a:lnTo>
                    <a:pt x="928" y="297"/>
                  </a:lnTo>
                  <a:lnTo>
                    <a:pt x="928" y="297"/>
                  </a:lnTo>
                  <a:lnTo>
                    <a:pt x="927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6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4" y="298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6" y="299"/>
                  </a:lnTo>
                  <a:lnTo>
                    <a:pt x="926" y="299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4" y="300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3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3" y="299"/>
                  </a:lnTo>
                  <a:lnTo>
                    <a:pt x="923" y="299"/>
                  </a:lnTo>
                  <a:lnTo>
                    <a:pt x="924" y="299"/>
                  </a:lnTo>
                  <a:lnTo>
                    <a:pt x="924" y="300"/>
                  </a:lnTo>
                  <a:lnTo>
                    <a:pt x="924" y="300"/>
                  </a:lnTo>
                  <a:lnTo>
                    <a:pt x="923" y="300"/>
                  </a:lnTo>
                  <a:lnTo>
                    <a:pt x="923" y="301"/>
                  </a:lnTo>
                  <a:lnTo>
                    <a:pt x="923" y="302"/>
                  </a:lnTo>
                  <a:lnTo>
                    <a:pt x="922" y="302"/>
                  </a:lnTo>
                  <a:lnTo>
                    <a:pt x="922" y="301"/>
                  </a:lnTo>
                  <a:lnTo>
                    <a:pt x="922" y="301"/>
                  </a:lnTo>
                  <a:lnTo>
                    <a:pt x="922" y="302"/>
                  </a:lnTo>
                  <a:lnTo>
                    <a:pt x="922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1" y="302"/>
                  </a:lnTo>
                  <a:lnTo>
                    <a:pt x="921" y="301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1"/>
                  </a:lnTo>
                  <a:lnTo>
                    <a:pt x="920" y="301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19" y="303"/>
                  </a:lnTo>
                  <a:lnTo>
                    <a:pt x="920" y="303"/>
                  </a:lnTo>
                  <a:lnTo>
                    <a:pt x="919" y="303"/>
                  </a:lnTo>
                  <a:lnTo>
                    <a:pt x="918" y="303"/>
                  </a:lnTo>
                  <a:lnTo>
                    <a:pt x="918" y="303"/>
                  </a:lnTo>
                  <a:lnTo>
                    <a:pt x="918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5"/>
                  </a:lnTo>
                  <a:lnTo>
                    <a:pt x="916" y="305"/>
                  </a:lnTo>
                  <a:lnTo>
                    <a:pt x="915" y="306"/>
                  </a:lnTo>
                  <a:lnTo>
                    <a:pt x="915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3" y="306"/>
                  </a:lnTo>
                  <a:lnTo>
                    <a:pt x="913" y="307"/>
                  </a:lnTo>
                  <a:lnTo>
                    <a:pt x="913" y="307"/>
                  </a:lnTo>
                  <a:lnTo>
                    <a:pt x="912" y="307"/>
                  </a:lnTo>
                  <a:lnTo>
                    <a:pt x="911" y="307"/>
                  </a:lnTo>
                  <a:lnTo>
                    <a:pt x="911" y="307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9"/>
                  </a:lnTo>
                  <a:lnTo>
                    <a:pt x="911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08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10" y="311"/>
                  </a:lnTo>
                  <a:lnTo>
                    <a:pt x="910" y="311"/>
                  </a:lnTo>
                  <a:lnTo>
                    <a:pt x="910" y="312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09" y="313"/>
                  </a:lnTo>
                  <a:lnTo>
                    <a:pt x="909" y="314"/>
                  </a:lnTo>
                  <a:lnTo>
                    <a:pt x="908" y="314"/>
                  </a:lnTo>
                  <a:lnTo>
                    <a:pt x="908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2"/>
                  </a:lnTo>
                  <a:lnTo>
                    <a:pt x="906" y="312"/>
                  </a:lnTo>
                  <a:lnTo>
                    <a:pt x="906" y="312"/>
                  </a:lnTo>
                  <a:lnTo>
                    <a:pt x="906" y="311"/>
                  </a:lnTo>
                  <a:lnTo>
                    <a:pt x="906" y="311"/>
                  </a:lnTo>
                  <a:lnTo>
                    <a:pt x="905" y="311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4" y="310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5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2" y="307"/>
                  </a:lnTo>
                  <a:lnTo>
                    <a:pt x="902" y="307"/>
                  </a:lnTo>
                  <a:lnTo>
                    <a:pt x="902" y="306"/>
                  </a:lnTo>
                  <a:lnTo>
                    <a:pt x="901" y="306"/>
                  </a:lnTo>
                  <a:lnTo>
                    <a:pt x="901" y="306"/>
                  </a:lnTo>
                  <a:lnTo>
                    <a:pt x="900" y="306"/>
                  </a:lnTo>
                  <a:lnTo>
                    <a:pt x="900" y="306"/>
                  </a:lnTo>
                  <a:lnTo>
                    <a:pt x="901" y="306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0" y="305"/>
                  </a:lnTo>
                  <a:lnTo>
                    <a:pt x="900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900" y="304"/>
                  </a:lnTo>
                  <a:lnTo>
                    <a:pt x="900" y="305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7" y="305"/>
                  </a:lnTo>
                  <a:lnTo>
                    <a:pt x="896" y="305"/>
                  </a:lnTo>
                  <a:lnTo>
                    <a:pt x="897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6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8" y="306"/>
                  </a:lnTo>
                  <a:lnTo>
                    <a:pt x="897" y="306"/>
                  </a:lnTo>
                  <a:lnTo>
                    <a:pt x="896" y="306"/>
                  </a:lnTo>
                  <a:lnTo>
                    <a:pt x="895" y="306"/>
                  </a:lnTo>
                  <a:lnTo>
                    <a:pt x="895" y="306"/>
                  </a:lnTo>
                  <a:lnTo>
                    <a:pt x="895" y="305"/>
                  </a:lnTo>
                  <a:lnTo>
                    <a:pt x="894" y="305"/>
                  </a:lnTo>
                  <a:lnTo>
                    <a:pt x="894" y="305"/>
                  </a:lnTo>
                  <a:lnTo>
                    <a:pt x="893" y="305"/>
                  </a:lnTo>
                  <a:lnTo>
                    <a:pt x="892" y="305"/>
                  </a:lnTo>
                  <a:lnTo>
                    <a:pt x="892" y="305"/>
                  </a:lnTo>
                  <a:lnTo>
                    <a:pt x="891" y="305"/>
                  </a:lnTo>
                  <a:lnTo>
                    <a:pt x="891" y="306"/>
                  </a:lnTo>
                  <a:lnTo>
                    <a:pt x="890" y="306"/>
                  </a:lnTo>
                  <a:lnTo>
                    <a:pt x="889" y="306"/>
                  </a:lnTo>
                  <a:lnTo>
                    <a:pt x="889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8" y="307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6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2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2" y="308"/>
                  </a:lnTo>
                  <a:lnTo>
                    <a:pt x="882" y="309"/>
                  </a:lnTo>
                  <a:lnTo>
                    <a:pt x="881" y="309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0" y="311"/>
                  </a:lnTo>
                  <a:lnTo>
                    <a:pt x="880" y="311"/>
                  </a:lnTo>
                  <a:lnTo>
                    <a:pt x="879" y="312"/>
                  </a:lnTo>
                  <a:lnTo>
                    <a:pt x="879" y="313"/>
                  </a:lnTo>
                  <a:lnTo>
                    <a:pt x="878" y="313"/>
                  </a:lnTo>
                  <a:lnTo>
                    <a:pt x="877" y="313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5" y="315"/>
                  </a:lnTo>
                  <a:lnTo>
                    <a:pt x="874" y="315"/>
                  </a:lnTo>
                  <a:lnTo>
                    <a:pt x="874" y="315"/>
                  </a:lnTo>
                  <a:lnTo>
                    <a:pt x="874" y="314"/>
                  </a:lnTo>
                  <a:lnTo>
                    <a:pt x="875" y="314"/>
                  </a:lnTo>
                  <a:lnTo>
                    <a:pt x="875" y="313"/>
                  </a:lnTo>
                  <a:lnTo>
                    <a:pt x="875" y="313"/>
                  </a:lnTo>
                  <a:lnTo>
                    <a:pt x="875" y="312"/>
                  </a:lnTo>
                  <a:lnTo>
                    <a:pt x="875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0"/>
                  </a:lnTo>
                  <a:lnTo>
                    <a:pt x="876" y="310"/>
                  </a:lnTo>
                  <a:lnTo>
                    <a:pt x="876" y="309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7" y="308"/>
                  </a:lnTo>
                  <a:lnTo>
                    <a:pt x="877" y="307"/>
                  </a:lnTo>
                  <a:lnTo>
                    <a:pt x="877" y="307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3" y="307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4" y="308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2" y="308"/>
                  </a:lnTo>
                  <a:lnTo>
                    <a:pt x="872" y="309"/>
                  </a:lnTo>
                  <a:lnTo>
                    <a:pt x="872" y="310"/>
                  </a:lnTo>
                  <a:lnTo>
                    <a:pt x="871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69" y="309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1" y="308"/>
                  </a:lnTo>
                  <a:lnTo>
                    <a:pt x="871" y="307"/>
                  </a:lnTo>
                  <a:lnTo>
                    <a:pt x="871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69" y="309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6" y="311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6" y="312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7" y="311"/>
                  </a:lnTo>
                  <a:lnTo>
                    <a:pt x="867" y="312"/>
                  </a:lnTo>
                  <a:lnTo>
                    <a:pt x="867" y="313"/>
                  </a:lnTo>
                  <a:lnTo>
                    <a:pt x="868" y="313"/>
                  </a:lnTo>
                  <a:lnTo>
                    <a:pt x="868" y="313"/>
                  </a:lnTo>
                  <a:lnTo>
                    <a:pt x="867" y="313"/>
                  </a:lnTo>
                  <a:lnTo>
                    <a:pt x="867" y="314"/>
                  </a:lnTo>
                  <a:lnTo>
                    <a:pt x="867" y="314"/>
                  </a:lnTo>
                  <a:lnTo>
                    <a:pt x="866" y="314"/>
                  </a:lnTo>
                  <a:lnTo>
                    <a:pt x="866" y="315"/>
                  </a:lnTo>
                  <a:lnTo>
                    <a:pt x="866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4" y="315"/>
                  </a:lnTo>
                  <a:lnTo>
                    <a:pt x="864" y="314"/>
                  </a:lnTo>
                  <a:lnTo>
                    <a:pt x="864" y="314"/>
                  </a:lnTo>
                  <a:lnTo>
                    <a:pt x="864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2"/>
                  </a:lnTo>
                  <a:lnTo>
                    <a:pt x="862" y="312"/>
                  </a:lnTo>
                  <a:lnTo>
                    <a:pt x="862" y="311"/>
                  </a:lnTo>
                  <a:lnTo>
                    <a:pt x="861" y="311"/>
                  </a:lnTo>
                  <a:lnTo>
                    <a:pt x="861" y="311"/>
                  </a:lnTo>
                  <a:lnTo>
                    <a:pt x="861" y="312"/>
                  </a:lnTo>
                  <a:lnTo>
                    <a:pt x="861" y="311"/>
                  </a:lnTo>
                  <a:lnTo>
                    <a:pt x="860" y="312"/>
                  </a:lnTo>
                  <a:lnTo>
                    <a:pt x="860" y="313"/>
                  </a:lnTo>
                  <a:lnTo>
                    <a:pt x="861" y="313"/>
                  </a:lnTo>
                  <a:lnTo>
                    <a:pt x="861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8" y="313"/>
                  </a:lnTo>
                  <a:lnTo>
                    <a:pt x="858" y="313"/>
                  </a:lnTo>
                  <a:lnTo>
                    <a:pt x="858" y="312"/>
                  </a:lnTo>
                  <a:lnTo>
                    <a:pt x="858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2"/>
                  </a:lnTo>
                  <a:lnTo>
                    <a:pt x="856" y="313"/>
                  </a:lnTo>
                  <a:lnTo>
                    <a:pt x="856" y="312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6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6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2" y="318"/>
                  </a:lnTo>
                  <a:lnTo>
                    <a:pt x="851" y="318"/>
                  </a:lnTo>
                  <a:lnTo>
                    <a:pt x="851" y="319"/>
                  </a:lnTo>
                  <a:lnTo>
                    <a:pt x="852" y="318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2" y="319"/>
                  </a:lnTo>
                  <a:lnTo>
                    <a:pt x="852" y="320"/>
                  </a:lnTo>
                  <a:lnTo>
                    <a:pt x="853" y="320"/>
                  </a:lnTo>
                  <a:lnTo>
                    <a:pt x="853" y="321"/>
                  </a:lnTo>
                  <a:lnTo>
                    <a:pt x="853" y="321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2" y="323"/>
                  </a:lnTo>
                  <a:lnTo>
                    <a:pt x="852" y="322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0" y="322"/>
                  </a:lnTo>
                  <a:lnTo>
                    <a:pt x="850" y="323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2" y="324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49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49" y="324"/>
                  </a:lnTo>
                  <a:lnTo>
                    <a:pt x="849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7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7" y="328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30"/>
                  </a:lnTo>
                  <a:lnTo>
                    <a:pt x="845" y="330"/>
                  </a:lnTo>
                  <a:lnTo>
                    <a:pt x="844" y="330"/>
                  </a:lnTo>
                  <a:lnTo>
                    <a:pt x="844" y="331"/>
                  </a:lnTo>
                  <a:lnTo>
                    <a:pt x="844" y="331"/>
                  </a:lnTo>
                  <a:lnTo>
                    <a:pt x="844" y="332"/>
                  </a:lnTo>
                  <a:lnTo>
                    <a:pt x="843" y="332"/>
                  </a:lnTo>
                  <a:lnTo>
                    <a:pt x="843" y="333"/>
                  </a:lnTo>
                  <a:lnTo>
                    <a:pt x="843" y="333"/>
                  </a:lnTo>
                  <a:lnTo>
                    <a:pt x="843" y="334"/>
                  </a:lnTo>
                  <a:lnTo>
                    <a:pt x="843" y="334"/>
                  </a:lnTo>
                  <a:lnTo>
                    <a:pt x="842" y="334"/>
                  </a:lnTo>
                  <a:lnTo>
                    <a:pt x="842" y="335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0" y="336"/>
                  </a:lnTo>
                  <a:lnTo>
                    <a:pt x="840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1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40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4" y="341"/>
                  </a:lnTo>
                  <a:lnTo>
                    <a:pt x="844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5" y="343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39"/>
                  </a:lnTo>
                  <a:lnTo>
                    <a:pt x="847" y="339"/>
                  </a:lnTo>
                  <a:lnTo>
                    <a:pt x="847" y="339"/>
                  </a:lnTo>
                  <a:lnTo>
                    <a:pt x="848" y="339"/>
                  </a:lnTo>
                  <a:lnTo>
                    <a:pt x="848" y="340"/>
                  </a:lnTo>
                  <a:lnTo>
                    <a:pt x="849" y="340"/>
                  </a:lnTo>
                  <a:lnTo>
                    <a:pt x="849" y="340"/>
                  </a:lnTo>
                  <a:lnTo>
                    <a:pt x="850" y="340"/>
                  </a:lnTo>
                  <a:lnTo>
                    <a:pt x="850" y="340"/>
                  </a:lnTo>
                  <a:lnTo>
                    <a:pt x="851" y="341"/>
                  </a:lnTo>
                  <a:lnTo>
                    <a:pt x="851" y="340"/>
                  </a:lnTo>
                  <a:lnTo>
                    <a:pt x="851" y="340"/>
                  </a:lnTo>
                  <a:lnTo>
                    <a:pt x="851" y="341"/>
                  </a:lnTo>
                  <a:lnTo>
                    <a:pt x="852" y="341"/>
                  </a:lnTo>
                  <a:lnTo>
                    <a:pt x="852" y="341"/>
                  </a:lnTo>
                  <a:lnTo>
                    <a:pt x="853" y="341"/>
                  </a:lnTo>
                  <a:lnTo>
                    <a:pt x="853" y="342"/>
                  </a:lnTo>
                  <a:lnTo>
                    <a:pt x="852" y="342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49" y="345"/>
                  </a:lnTo>
                  <a:lnTo>
                    <a:pt x="848" y="345"/>
                  </a:lnTo>
                  <a:lnTo>
                    <a:pt x="848" y="346"/>
                  </a:lnTo>
                  <a:lnTo>
                    <a:pt x="848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5" y="347"/>
                  </a:lnTo>
                  <a:lnTo>
                    <a:pt x="845" y="346"/>
                  </a:lnTo>
                  <a:lnTo>
                    <a:pt x="844" y="346"/>
                  </a:lnTo>
                  <a:lnTo>
                    <a:pt x="845" y="346"/>
                  </a:lnTo>
                  <a:lnTo>
                    <a:pt x="845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8" y="347"/>
                  </a:lnTo>
                  <a:lnTo>
                    <a:pt x="848" y="347"/>
                  </a:lnTo>
                  <a:lnTo>
                    <a:pt x="848" y="348"/>
                  </a:lnTo>
                  <a:lnTo>
                    <a:pt x="847" y="348"/>
                  </a:lnTo>
                  <a:lnTo>
                    <a:pt x="848" y="348"/>
                  </a:lnTo>
                  <a:lnTo>
                    <a:pt x="848" y="348"/>
                  </a:lnTo>
                  <a:lnTo>
                    <a:pt x="848" y="349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1"/>
                  </a:lnTo>
                  <a:lnTo>
                    <a:pt x="848" y="351"/>
                  </a:lnTo>
                  <a:lnTo>
                    <a:pt x="848" y="352"/>
                  </a:lnTo>
                  <a:lnTo>
                    <a:pt x="848" y="352"/>
                  </a:lnTo>
                  <a:lnTo>
                    <a:pt x="848" y="353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9" y="355"/>
                  </a:lnTo>
                  <a:lnTo>
                    <a:pt x="848" y="355"/>
                  </a:lnTo>
                  <a:lnTo>
                    <a:pt x="848" y="354"/>
                  </a:lnTo>
                  <a:lnTo>
                    <a:pt x="848" y="355"/>
                  </a:lnTo>
                  <a:lnTo>
                    <a:pt x="849" y="355"/>
                  </a:lnTo>
                  <a:lnTo>
                    <a:pt x="850" y="355"/>
                  </a:lnTo>
                  <a:lnTo>
                    <a:pt x="850" y="354"/>
                  </a:lnTo>
                  <a:lnTo>
                    <a:pt x="850" y="354"/>
                  </a:lnTo>
                  <a:lnTo>
                    <a:pt x="851" y="354"/>
                  </a:lnTo>
                  <a:lnTo>
                    <a:pt x="851" y="354"/>
                  </a:lnTo>
                  <a:lnTo>
                    <a:pt x="851" y="355"/>
                  </a:lnTo>
                  <a:lnTo>
                    <a:pt x="852" y="355"/>
                  </a:lnTo>
                  <a:lnTo>
                    <a:pt x="852" y="355"/>
                  </a:lnTo>
                  <a:lnTo>
                    <a:pt x="851" y="355"/>
                  </a:lnTo>
                  <a:lnTo>
                    <a:pt x="852" y="356"/>
                  </a:lnTo>
                  <a:lnTo>
                    <a:pt x="851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7"/>
                  </a:lnTo>
                  <a:lnTo>
                    <a:pt x="852" y="358"/>
                  </a:lnTo>
                  <a:lnTo>
                    <a:pt x="852" y="358"/>
                  </a:lnTo>
                  <a:lnTo>
                    <a:pt x="853" y="358"/>
                  </a:lnTo>
                  <a:lnTo>
                    <a:pt x="853" y="359"/>
                  </a:lnTo>
                  <a:lnTo>
                    <a:pt x="853" y="359"/>
                  </a:lnTo>
                  <a:lnTo>
                    <a:pt x="853" y="360"/>
                  </a:lnTo>
                  <a:lnTo>
                    <a:pt x="853" y="361"/>
                  </a:lnTo>
                  <a:lnTo>
                    <a:pt x="853" y="361"/>
                  </a:lnTo>
                  <a:lnTo>
                    <a:pt x="852" y="361"/>
                  </a:lnTo>
                  <a:lnTo>
                    <a:pt x="852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49" y="363"/>
                  </a:lnTo>
                  <a:lnTo>
                    <a:pt x="848" y="363"/>
                  </a:lnTo>
                  <a:lnTo>
                    <a:pt x="848" y="362"/>
                  </a:lnTo>
                  <a:lnTo>
                    <a:pt x="848" y="362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7" y="360"/>
                  </a:lnTo>
                  <a:lnTo>
                    <a:pt x="847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9" y="359"/>
                  </a:lnTo>
                  <a:lnTo>
                    <a:pt x="849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1" y="358"/>
                  </a:lnTo>
                  <a:lnTo>
                    <a:pt x="851" y="357"/>
                  </a:lnTo>
                  <a:lnTo>
                    <a:pt x="850" y="357"/>
                  </a:lnTo>
                  <a:lnTo>
                    <a:pt x="850" y="356"/>
                  </a:lnTo>
                  <a:lnTo>
                    <a:pt x="850" y="356"/>
                  </a:lnTo>
                  <a:lnTo>
                    <a:pt x="850" y="357"/>
                  </a:lnTo>
                  <a:lnTo>
                    <a:pt x="850" y="358"/>
                  </a:lnTo>
                  <a:lnTo>
                    <a:pt x="849" y="358"/>
                  </a:lnTo>
                  <a:lnTo>
                    <a:pt x="849" y="358"/>
                  </a:lnTo>
                  <a:lnTo>
                    <a:pt x="848" y="358"/>
                  </a:lnTo>
                  <a:lnTo>
                    <a:pt x="848" y="358"/>
                  </a:lnTo>
                  <a:lnTo>
                    <a:pt x="847" y="357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6" y="358"/>
                  </a:lnTo>
                  <a:lnTo>
                    <a:pt x="846" y="358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5" y="358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7" y="360"/>
                  </a:lnTo>
                  <a:lnTo>
                    <a:pt x="846" y="360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0"/>
                  </a:lnTo>
                  <a:lnTo>
                    <a:pt x="844" y="360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0"/>
                  </a:lnTo>
                  <a:lnTo>
                    <a:pt x="843" y="360"/>
                  </a:lnTo>
                  <a:lnTo>
                    <a:pt x="843" y="360"/>
                  </a:lnTo>
                  <a:lnTo>
                    <a:pt x="843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1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7" y="360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8" y="360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9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41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3" y="361"/>
                  </a:lnTo>
                  <a:lnTo>
                    <a:pt x="843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3" y="362"/>
                  </a:lnTo>
                  <a:lnTo>
                    <a:pt x="843" y="362"/>
                  </a:lnTo>
                  <a:lnTo>
                    <a:pt x="842" y="362"/>
                  </a:lnTo>
                  <a:lnTo>
                    <a:pt x="842" y="363"/>
                  </a:lnTo>
                  <a:lnTo>
                    <a:pt x="842" y="363"/>
                  </a:lnTo>
                  <a:lnTo>
                    <a:pt x="842" y="364"/>
                  </a:lnTo>
                  <a:lnTo>
                    <a:pt x="842" y="364"/>
                  </a:lnTo>
                  <a:lnTo>
                    <a:pt x="842" y="365"/>
                  </a:lnTo>
                  <a:lnTo>
                    <a:pt x="842" y="365"/>
                  </a:lnTo>
                  <a:lnTo>
                    <a:pt x="841" y="365"/>
                  </a:lnTo>
                  <a:lnTo>
                    <a:pt x="841" y="366"/>
                  </a:lnTo>
                  <a:lnTo>
                    <a:pt x="841" y="366"/>
                  </a:lnTo>
                  <a:lnTo>
                    <a:pt x="841" y="367"/>
                  </a:lnTo>
                  <a:lnTo>
                    <a:pt x="840" y="367"/>
                  </a:lnTo>
                  <a:lnTo>
                    <a:pt x="840" y="367"/>
                  </a:lnTo>
                  <a:lnTo>
                    <a:pt x="840" y="368"/>
                  </a:lnTo>
                  <a:lnTo>
                    <a:pt x="840" y="369"/>
                  </a:lnTo>
                  <a:lnTo>
                    <a:pt x="840" y="369"/>
                  </a:lnTo>
                  <a:lnTo>
                    <a:pt x="840" y="370"/>
                  </a:lnTo>
                  <a:lnTo>
                    <a:pt x="840" y="370"/>
                  </a:lnTo>
                  <a:lnTo>
                    <a:pt x="840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38" y="371"/>
                  </a:lnTo>
                  <a:lnTo>
                    <a:pt x="838" y="370"/>
                  </a:lnTo>
                  <a:lnTo>
                    <a:pt x="838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40" y="371"/>
                  </a:lnTo>
                  <a:lnTo>
                    <a:pt x="840" y="372"/>
                  </a:lnTo>
                  <a:lnTo>
                    <a:pt x="840" y="372"/>
                  </a:lnTo>
                  <a:lnTo>
                    <a:pt x="840" y="373"/>
                  </a:lnTo>
                  <a:lnTo>
                    <a:pt x="840" y="373"/>
                  </a:lnTo>
                  <a:lnTo>
                    <a:pt x="840" y="374"/>
                  </a:lnTo>
                  <a:lnTo>
                    <a:pt x="840" y="374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2" y="375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7"/>
                  </a:lnTo>
                  <a:lnTo>
                    <a:pt x="842" y="377"/>
                  </a:lnTo>
                  <a:lnTo>
                    <a:pt x="843" y="377"/>
                  </a:lnTo>
                  <a:lnTo>
                    <a:pt x="843" y="378"/>
                  </a:lnTo>
                  <a:lnTo>
                    <a:pt x="843" y="378"/>
                  </a:lnTo>
                  <a:lnTo>
                    <a:pt x="843" y="379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1" y="380"/>
                  </a:lnTo>
                  <a:lnTo>
                    <a:pt x="841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2"/>
                  </a:lnTo>
                  <a:lnTo>
                    <a:pt x="839" y="382"/>
                  </a:lnTo>
                  <a:lnTo>
                    <a:pt x="839" y="382"/>
                  </a:lnTo>
                  <a:lnTo>
                    <a:pt x="838" y="382"/>
                  </a:lnTo>
                  <a:lnTo>
                    <a:pt x="837" y="382"/>
                  </a:lnTo>
                  <a:lnTo>
                    <a:pt x="837" y="382"/>
                  </a:lnTo>
                  <a:lnTo>
                    <a:pt x="836" y="382"/>
                  </a:lnTo>
                  <a:lnTo>
                    <a:pt x="836" y="382"/>
                  </a:lnTo>
                  <a:lnTo>
                    <a:pt x="835" y="382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4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2" y="381"/>
                  </a:lnTo>
                  <a:lnTo>
                    <a:pt x="832" y="382"/>
                  </a:lnTo>
                  <a:lnTo>
                    <a:pt x="831" y="382"/>
                  </a:lnTo>
                  <a:lnTo>
                    <a:pt x="831" y="382"/>
                  </a:lnTo>
                  <a:lnTo>
                    <a:pt x="830" y="383"/>
                  </a:lnTo>
                  <a:lnTo>
                    <a:pt x="829" y="383"/>
                  </a:lnTo>
                  <a:lnTo>
                    <a:pt x="829" y="383"/>
                  </a:lnTo>
                  <a:lnTo>
                    <a:pt x="829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6" y="387"/>
                  </a:lnTo>
                  <a:lnTo>
                    <a:pt x="826" y="386"/>
                  </a:lnTo>
                  <a:lnTo>
                    <a:pt x="825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5" y="387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9"/>
                  </a:lnTo>
                  <a:lnTo>
                    <a:pt x="825" y="389"/>
                  </a:lnTo>
                  <a:lnTo>
                    <a:pt x="824" y="390"/>
                  </a:lnTo>
                  <a:lnTo>
                    <a:pt x="824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1" y="391"/>
                  </a:lnTo>
                  <a:lnTo>
                    <a:pt x="821" y="391"/>
                  </a:lnTo>
                  <a:lnTo>
                    <a:pt x="820" y="391"/>
                  </a:lnTo>
                  <a:lnTo>
                    <a:pt x="820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3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4" y="395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7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6" y="397"/>
                  </a:lnTo>
                  <a:lnTo>
                    <a:pt x="826" y="398"/>
                  </a:lnTo>
                  <a:lnTo>
                    <a:pt x="825" y="398"/>
                  </a:lnTo>
                  <a:lnTo>
                    <a:pt x="826" y="398"/>
                  </a:lnTo>
                  <a:lnTo>
                    <a:pt x="826" y="398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5" y="399"/>
                  </a:lnTo>
                  <a:lnTo>
                    <a:pt x="825" y="399"/>
                  </a:lnTo>
                  <a:lnTo>
                    <a:pt x="825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7"/>
                  </a:lnTo>
                  <a:lnTo>
                    <a:pt x="824" y="397"/>
                  </a:lnTo>
                  <a:lnTo>
                    <a:pt x="824" y="398"/>
                  </a:lnTo>
                  <a:lnTo>
                    <a:pt x="823" y="398"/>
                  </a:lnTo>
                  <a:lnTo>
                    <a:pt x="823" y="397"/>
                  </a:lnTo>
                  <a:lnTo>
                    <a:pt x="822" y="397"/>
                  </a:lnTo>
                  <a:lnTo>
                    <a:pt x="822" y="397"/>
                  </a:lnTo>
                  <a:lnTo>
                    <a:pt x="822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0" y="398"/>
                  </a:lnTo>
                  <a:lnTo>
                    <a:pt x="820" y="398"/>
                  </a:lnTo>
                  <a:lnTo>
                    <a:pt x="820" y="399"/>
                  </a:lnTo>
                  <a:lnTo>
                    <a:pt x="819" y="399"/>
                  </a:lnTo>
                  <a:lnTo>
                    <a:pt x="818" y="399"/>
                  </a:lnTo>
                  <a:lnTo>
                    <a:pt x="818" y="399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6" y="400"/>
                  </a:lnTo>
                  <a:lnTo>
                    <a:pt x="816" y="401"/>
                  </a:lnTo>
                  <a:lnTo>
                    <a:pt x="816" y="401"/>
                  </a:lnTo>
                  <a:lnTo>
                    <a:pt x="816" y="402"/>
                  </a:lnTo>
                  <a:lnTo>
                    <a:pt x="815" y="402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6" y="401"/>
                  </a:lnTo>
                  <a:lnTo>
                    <a:pt x="816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4" y="400"/>
                  </a:lnTo>
                  <a:lnTo>
                    <a:pt x="814" y="399"/>
                  </a:lnTo>
                  <a:lnTo>
                    <a:pt x="814" y="399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8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2"/>
                  </a:lnTo>
                  <a:lnTo>
                    <a:pt x="814" y="402"/>
                  </a:lnTo>
                  <a:lnTo>
                    <a:pt x="814" y="401"/>
                  </a:lnTo>
                  <a:lnTo>
                    <a:pt x="813" y="401"/>
                  </a:lnTo>
                  <a:lnTo>
                    <a:pt x="814" y="401"/>
                  </a:lnTo>
                  <a:lnTo>
                    <a:pt x="814" y="401"/>
                  </a:lnTo>
                  <a:lnTo>
                    <a:pt x="815" y="401"/>
                  </a:lnTo>
                  <a:lnTo>
                    <a:pt x="814" y="401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6"/>
                  </a:lnTo>
                  <a:lnTo>
                    <a:pt x="814" y="406"/>
                  </a:lnTo>
                  <a:lnTo>
                    <a:pt x="814" y="406"/>
                  </a:lnTo>
                  <a:lnTo>
                    <a:pt x="814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8"/>
                  </a:lnTo>
                  <a:lnTo>
                    <a:pt x="814" y="408"/>
                  </a:lnTo>
                  <a:lnTo>
                    <a:pt x="813" y="408"/>
                  </a:lnTo>
                  <a:lnTo>
                    <a:pt x="814" y="409"/>
                  </a:lnTo>
                  <a:lnTo>
                    <a:pt x="814" y="408"/>
                  </a:lnTo>
                  <a:lnTo>
                    <a:pt x="814" y="409"/>
                  </a:lnTo>
                  <a:lnTo>
                    <a:pt x="814" y="409"/>
                  </a:lnTo>
                  <a:lnTo>
                    <a:pt x="813" y="409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1"/>
                  </a:lnTo>
                  <a:lnTo>
                    <a:pt x="812" y="411"/>
                  </a:lnTo>
                  <a:lnTo>
                    <a:pt x="812" y="410"/>
                  </a:lnTo>
                  <a:lnTo>
                    <a:pt x="812" y="411"/>
                  </a:lnTo>
                  <a:lnTo>
                    <a:pt x="812" y="411"/>
                  </a:lnTo>
                  <a:lnTo>
                    <a:pt x="812" y="412"/>
                  </a:lnTo>
                  <a:lnTo>
                    <a:pt x="811" y="412"/>
                  </a:lnTo>
                  <a:lnTo>
                    <a:pt x="812" y="412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1" y="413"/>
                  </a:lnTo>
                  <a:lnTo>
                    <a:pt x="811" y="414"/>
                  </a:lnTo>
                  <a:lnTo>
                    <a:pt x="811" y="414"/>
                  </a:lnTo>
                  <a:lnTo>
                    <a:pt x="810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5"/>
                  </a:lnTo>
                  <a:lnTo>
                    <a:pt x="809" y="416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8" y="417"/>
                  </a:lnTo>
                  <a:lnTo>
                    <a:pt x="807" y="417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7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9"/>
                  </a:lnTo>
                  <a:lnTo>
                    <a:pt x="805" y="420"/>
                  </a:lnTo>
                  <a:lnTo>
                    <a:pt x="806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2" y="422"/>
                  </a:lnTo>
                  <a:lnTo>
                    <a:pt x="802" y="423"/>
                  </a:lnTo>
                  <a:lnTo>
                    <a:pt x="802" y="423"/>
                  </a:lnTo>
                  <a:lnTo>
                    <a:pt x="801" y="424"/>
                  </a:lnTo>
                  <a:lnTo>
                    <a:pt x="801" y="424"/>
                  </a:lnTo>
                  <a:lnTo>
                    <a:pt x="801" y="425"/>
                  </a:lnTo>
                  <a:lnTo>
                    <a:pt x="800" y="425"/>
                  </a:lnTo>
                  <a:lnTo>
                    <a:pt x="800" y="425"/>
                  </a:lnTo>
                  <a:lnTo>
                    <a:pt x="799" y="425"/>
                  </a:lnTo>
                  <a:lnTo>
                    <a:pt x="799" y="426"/>
                  </a:lnTo>
                  <a:lnTo>
                    <a:pt x="799" y="426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800" y="424"/>
                  </a:lnTo>
                  <a:lnTo>
                    <a:pt x="799" y="424"/>
                  </a:lnTo>
                  <a:lnTo>
                    <a:pt x="799" y="424"/>
                  </a:lnTo>
                  <a:lnTo>
                    <a:pt x="799" y="423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0"/>
                  </a:lnTo>
                  <a:lnTo>
                    <a:pt x="798" y="420"/>
                  </a:lnTo>
                  <a:lnTo>
                    <a:pt x="798" y="419"/>
                  </a:lnTo>
                  <a:lnTo>
                    <a:pt x="798" y="418"/>
                  </a:lnTo>
                  <a:lnTo>
                    <a:pt x="798" y="418"/>
                  </a:lnTo>
                  <a:lnTo>
                    <a:pt x="798" y="417"/>
                  </a:lnTo>
                  <a:lnTo>
                    <a:pt x="798" y="417"/>
                  </a:lnTo>
                  <a:lnTo>
                    <a:pt x="798" y="416"/>
                  </a:lnTo>
                  <a:lnTo>
                    <a:pt x="798" y="415"/>
                  </a:lnTo>
                  <a:lnTo>
                    <a:pt x="798" y="415"/>
                  </a:lnTo>
                  <a:lnTo>
                    <a:pt x="798" y="414"/>
                  </a:lnTo>
                  <a:lnTo>
                    <a:pt x="798" y="414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9" y="410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7" y="411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2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7" y="411"/>
                  </a:lnTo>
                  <a:lnTo>
                    <a:pt x="797" y="410"/>
                  </a:lnTo>
                  <a:lnTo>
                    <a:pt x="797" y="410"/>
                  </a:lnTo>
                  <a:lnTo>
                    <a:pt x="797" y="409"/>
                  </a:lnTo>
                  <a:lnTo>
                    <a:pt x="797" y="409"/>
                  </a:lnTo>
                  <a:lnTo>
                    <a:pt x="797" y="408"/>
                  </a:lnTo>
                  <a:lnTo>
                    <a:pt x="796" y="408"/>
                  </a:lnTo>
                  <a:lnTo>
                    <a:pt x="796" y="407"/>
                  </a:lnTo>
                  <a:lnTo>
                    <a:pt x="796" y="407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7"/>
                  </a:lnTo>
                  <a:lnTo>
                    <a:pt x="797" y="407"/>
                  </a:lnTo>
                  <a:lnTo>
                    <a:pt x="797" y="406"/>
                  </a:lnTo>
                  <a:lnTo>
                    <a:pt x="798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6" y="404"/>
                  </a:lnTo>
                  <a:lnTo>
                    <a:pt x="796" y="405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2"/>
                  </a:lnTo>
                  <a:lnTo>
                    <a:pt x="795" y="402"/>
                  </a:lnTo>
                  <a:lnTo>
                    <a:pt x="795" y="401"/>
                  </a:lnTo>
                  <a:lnTo>
                    <a:pt x="795" y="400"/>
                  </a:lnTo>
                  <a:lnTo>
                    <a:pt x="795" y="400"/>
                  </a:lnTo>
                  <a:lnTo>
                    <a:pt x="794" y="400"/>
                  </a:lnTo>
                  <a:lnTo>
                    <a:pt x="794" y="399"/>
                  </a:lnTo>
                  <a:lnTo>
                    <a:pt x="794" y="399"/>
                  </a:lnTo>
                  <a:lnTo>
                    <a:pt x="794" y="398"/>
                  </a:lnTo>
                  <a:lnTo>
                    <a:pt x="794" y="398"/>
                  </a:lnTo>
                  <a:lnTo>
                    <a:pt x="794" y="397"/>
                  </a:lnTo>
                  <a:lnTo>
                    <a:pt x="794" y="396"/>
                  </a:lnTo>
                  <a:lnTo>
                    <a:pt x="794" y="395"/>
                  </a:lnTo>
                  <a:lnTo>
                    <a:pt x="794" y="395"/>
                  </a:lnTo>
                  <a:lnTo>
                    <a:pt x="794" y="394"/>
                  </a:lnTo>
                  <a:lnTo>
                    <a:pt x="794" y="394"/>
                  </a:lnTo>
                  <a:lnTo>
                    <a:pt x="794" y="393"/>
                  </a:lnTo>
                  <a:lnTo>
                    <a:pt x="794" y="392"/>
                  </a:lnTo>
                  <a:lnTo>
                    <a:pt x="794" y="392"/>
                  </a:lnTo>
                  <a:lnTo>
                    <a:pt x="794" y="391"/>
                  </a:lnTo>
                  <a:lnTo>
                    <a:pt x="793" y="391"/>
                  </a:lnTo>
                  <a:lnTo>
                    <a:pt x="793" y="391"/>
                  </a:lnTo>
                  <a:lnTo>
                    <a:pt x="793" y="390"/>
                  </a:lnTo>
                  <a:lnTo>
                    <a:pt x="793" y="389"/>
                  </a:lnTo>
                  <a:lnTo>
                    <a:pt x="793" y="389"/>
                  </a:lnTo>
                  <a:lnTo>
                    <a:pt x="793" y="388"/>
                  </a:lnTo>
                  <a:lnTo>
                    <a:pt x="792" y="388"/>
                  </a:lnTo>
                  <a:lnTo>
                    <a:pt x="792" y="387"/>
                  </a:lnTo>
                  <a:lnTo>
                    <a:pt x="792" y="387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5"/>
                  </a:lnTo>
                  <a:lnTo>
                    <a:pt x="792" y="385"/>
                  </a:lnTo>
                  <a:lnTo>
                    <a:pt x="792" y="384"/>
                  </a:lnTo>
                  <a:lnTo>
                    <a:pt x="792" y="384"/>
                  </a:lnTo>
                  <a:lnTo>
                    <a:pt x="791" y="384"/>
                  </a:lnTo>
                  <a:lnTo>
                    <a:pt x="791" y="383"/>
                  </a:lnTo>
                  <a:lnTo>
                    <a:pt x="791" y="383"/>
                  </a:lnTo>
                  <a:lnTo>
                    <a:pt x="791" y="382"/>
                  </a:lnTo>
                  <a:lnTo>
                    <a:pt x="791" y="381"/>
                  </a:lnTo>
                  <a:lnTo>
                    <a:pt x="791" y="381"/>
                  </a:lnTo>
                  <a:lnTo>
                    <a:pt x="791" y="380"/>
                  </a:lnTo>
                  <a:lnTo>
                    <a:pt x="791" y="380"/>
                  </a:lnTo>
                  <a:lnTo>
                    <a:pt x="791" y="379"/>
                  </a:lnTo>
                  <a:lnTo>
                    <a:pt x="791" y="378"/>
                  </a:lnTo>
                  <a:lnTo>
                    <a:pt x="791" y="378"/>
                  </a:lnTo>
                  <a:lnTo>
                    <a:pt x="791" y="377"/>
                  </a:lnTo>
                  <a:lnTo>
                    <a:pt x="791" y="377"/>
                  </a:lnTo>
                  <a:lnTo>
                    <a:pt x="790" y="377"/>
                  </a:lnTo>
                  <a:lnTo>
                    <a:pt x="790" y="376"/>
                  </a:lnTo>
                  <a:lnTo>
                    <a:pt x="790" y="376"/>
                  </a:lnTo>
                  <a:lnTo>
                    <a:pt x="790" y="375"/>
                  </a:lnTo>
                  <a:lnTo>
                    <a:pt x="790" y="374"/>
                  </a:lnTo>
                  <a:lnTo>
                    <a:pt x="790" y="374"/>
                  </a:lnTo>
                  <a:lnTo>
                    <a:pt x="790" y="373"/>
                  </a:lnTo>
                  <a:lnTo>
                    <a:pt x="790" y="373"/>
                  </a:lnTo>
                  <a:lnTo>
                    <a:pt x="790" y="372"/>
                  </a:lnTo>
                  <a:lnTo>
                    <a:pt x="790" y="372"/>
                  </a:lnTo>
                  <a:lnTo>
                    <a:pt x="790" y="371"/>
                  </a:lnTo>
                  <a:lnTo>
                    <a:pt x="790" y="370"/>
                  </a:lnTo>
                  <a:lnTo>
                    <a:pt x="790" y="370"/>
                  </a:lnTo>
                  <a:lnTo>
                    <a:pt x="790" y="369"/>
                  </a:lnTo>
                  <a:lnTo>
                    <a:pt x="790" y="369"/>
                  </a:lnTo>
                  <a:lnTo>
                    <a:pt x="790" y="368"/>
                  </a:lnTo>
                  <a:lnTo>
                    <a:pt x="791" y="368"/>
                  </a:lnTo>
                  <a:lnTo>
                    <a:pt x="791" y="367"/>
                  </a:lnTo>
                  <a:lnTo>
                    <a:pt x="791" y="367"/>
                  </a:lnTo>
                  <a:lnTo>
                    <a:pt x="791" y="366"/>
                  </a:lnTo>
                  <a:lnTo>
                    <a:pt x="791" y="366"/>
                  </a:lnTo>
                  <a:lnTo>
                    <a:pt x="791" y="365"/>
                  </a:lnTo>
                  <a:lnTo>
                    <a:pt x="791" y="365"/>
                  </a:lnTo>
                  <a:lnTo>
                    <a:pt x="791" y="364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1" y="362"/>
                  </a:lnTo>
                  <a:lnTo>
                    <a:pt x="791" y="362"/>
                  </a:lnTo>
                  <a:lnTo>
                    <a:pt x="791" y="361"/>
                  </a:lnTo>
                  <a:lnTo>
                    <a:pt x="792" y="361"/>
                  </a:lnTo>
                  <a:lnTo>
                    <a:pt x="792" y="361"/>
                  </a:lnTo>
                  <a:lnTo>
                    <a:pt x="792" y="360"/>
                  </a:lnTo>
                  <a:lnTo>
                    <a:pt x="792" y="359"/>
                  </a:lnTo>
                  <a:lnTo>
                    <a:pt x="792" y="359"/>
                  </a:lnTo>
                  <a:lnTo>
                    <a:pt x="792" y="358"/>
                  </a:lnTo>
                  <a:lnTo>
                    <a:pt x="792" y="358"/>
                  </a:lnTo>
                  <a:lnTo>
                    <a:pt x="793" y="357"/>
                  </a:lnTo>
                  <a:lnTo>
                    <a:pt x="793" y="356"/>
                  </a:lnTo>
                  <a:lnTo>
                    <a:pt x="793" y="356"/>
                  </a:lnTo>
                  <a:lnTo>
                    <a:pt x="793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3"/>
                  </a:lnTo>
                  <a:lnTo>
                    <a:pt x="795" y="354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5" y="357"/>
                  </a:lnTo>
                  <a:lnTo>
                    <a:pt x="794" y="357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4"/>
                  </a:lnTo>
                  <a:lnTo>
                    <a:pt x="795" y="354"/>
                  </a:lnTo>
                  <a:lnTo>
                    <a:pt x="795" y="353"/>
                  </a:lnTo>
                  <a:lnTo>
                    <a:pt x="795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7" y="352"/>
                  </a:lnTo>
                  <a:lnTo>
                    <a:pt x="797" y="351"/>
                  </a:lnTo>
                  <a:lnTo>
                    <a:pt x="798" y="351"/>
                  </a:lnTo>
                  <a:lnTo>
                    <a:pt x="798" y="351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2" y="352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3" y="353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49"/>
                  </a:lnTo>
                  <a:lnTo>
                    <a:pt x="800" y="348"/>
                  </a:lnTo>
                  <a:lnTo>
                    <a:pt x="801" y="348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6"/>
                  </a:lnTo>
                  <a:lnTo>
                    <a:pt x="802" y="346"/>
                  </a:lnTo>
                  <a:lnTo>
                    <a:pt x="802" y="345"/>
                  </a:lnTo>
                  <a:lnTo>
                    <a:pt x="802" y="345"/>
                  </a:lnTo>
                  <a:lnTo>
                    <a:pt x="802" y="344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2" y="342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0"/>
                  </a:lnTo>
                  <a:lnTo>
                    <a:pt x="802" y="340"/>
                  </a:lnTo>
                  <a:lnTo>
                    <a:pt x="802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2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4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6" y="341"/>
                  </a:lnTo>
                  <a:lnTo>
                    <a:pt x="806" y="340"/>
                  </a:lnTo>
                  <a:lnTo>
                    <a:pt x="806" y="340"/>
                  </a:lnTo>
                  <a:lnTo>
                    <a:pt x="806" y="339"/>
                  </a:lnTo>
                  <a:lnTo>
                    <a:pt x="807" y="339"/>
                  </a:lnTo>
                  <a:lnTo>
                    <a:pt x="807" y="338"/>
                  </a:lnTo>
                  <a:lnTo>
                    <a:pt x="807" y="338"/>
                  </a:lnTo>
                  <a:lnTo>
                    <a:pt x="807" y="339"/>
                  </a:lnTo>
                  <a:lnTo>
                    <a:pt x="808" y="339"/>
                  </a:lnTo>
                  <a:lnTo>
                    <a:pt x="809" y="339"/>
                  </a:lnTo>
                  <a:lnTo>
                    <a:pt x="809" y="339"/>
                  </a:lnTo>
                  <a:lnTo>
                    <a:pt x="810" y="339"/>
                  </a:lnTo>
                  <a:lnTo>
                    <a:pt x="810" y="339"/>
                  </a:lnTo>
                  <a:lnTo>
                    <a:pt x="810" y="338"/>
                  </a:lnTo>
                  <a:lnTo>
                    <a:pt x="811" y="338"/>
                  </a:lnTo>
                  <a:lnTo>
                    <a:pt x="811" y="338"/>
                  </a:lnTo>
                  <a:lnTo>
                    <a:pt x="812" y="338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4" y="340"/>
                  </a:lnTo>
                  <a:lnTo>
                    <a:pt x="813" y="340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2" y="338"/>
                  </a:lnTo>
                  <a:lnTo>
                    <a:pt x="811" y="338"/>
                  </a:lnTo>
                  <a:lnTo>
                    <a:pt x="812" y="337"/>
                  </a:lnTo>
                  <a:lnTo>
                    <a:pt x="813" y="337"/>
                  </a:lnTo>
                  <a:lnTo>
                    <a:pt x="813" y="336"/>
                  </a:lnTo>
                  <a:lnTo>
                    <a:pt x="814" y="336"/>
                  </a:lnTo>
                  <a:lnTo>
                    <a:pt x="814" y="336"/>
                  </a:lnTo>
                  <a:lnTo>
                    <a:pt x="814" y="335"/>
                  </a:lnTo>
                  <a:lnTo>
                    <a:pt x="815" y="335"/>
                  </a:lnTo>
                  <a:lnTo>
                    <a:pt x="816" y="334"/>
                  </a:lnTo>
                  <a:lnTo>
                    <a:pt x="816" y="334"/>
                  </a:lnTo>
                  <a:lnTo>
                    <a:pt x="817" y="334"/>
                  </a:lnTo>
                  <a:lnTo>
                    <a:pt x="817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1"/>
                  </a:lnTo>
                  <a:lnTo>
                    <a:pt x="820" y="330"/>
                  </a:lnTo>
                  <a:lnTo>
                    <a:pt x="821" y="330"/>
                  </a:lnTo>
                  <a:lnTo>
                    <a:pt x="821" y="330"/>
                  </a:lnTo>
                  <a:lnTo>
                    <a:pt x="821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8"/>
                  </a:lnTo>
                  <a:lnTo>
                    <a:pt x="822" y="328"/>
                  </a:lnTo>
                  <a:lnTo>
                    <a:pt x="823" y="328"/>
                  </a:lnTo>
                  <a:lnTo>
                    <a:pt x="824" y="328"/>
                  </a:lnTo>
                  <a:lnTo>
                    <a:pt x="824" y="327"/>
                  </a:lnTo>
                  <a:lnTo>
                    <a:pt x="824" y="326"/>
                  </a:lnTo>
                  <a:lnTo>
                    <a:pt x="824" y="326"/>
                  </a:lnTo>
                  <a:lnTo>
                    <a:pt x="824" y="325"/>
                  </a:lnTo>
                  <a:lnTo>
                    <a:pt x="824" y="325"/>
                  </a:lnTo>
                  <a:lnTo>
                    <a:pt x="824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3"/>
                  </a:lnTo>
                  <a:lnTo>
                    <a:pt x="826" y="323"/>
                  </a:lnTo>
                  <a:lnTo>
                    <a:pt x="826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9" y="321"/>
                  </a:lnTo>
                  <a:lnTo>
                    <a:pt x="829" y="320"/>
                  </a:lnTo>
                  <a:lnTo>
                    <a:pt x="829" y="320"/>
                  </a:lnTo>
                  <a:lnTo>
                    <a:pt x="829" y="319"/>
                  </a:lnTo>
                  <a:lnTo>
                    <a:pt x="830" y="319"/>
                  </a:lnTo>
                  <a:lnTo>
                    <a:pt x="829" y="319"/>
                  </a:lnTo>
                  <a:lnTo>
                    <a:pt x="829" y="319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2" y="318"/>
                  </a:lnTo>
                  <a:lnTo>
                    <a:pt x="832" y="318"/>
                  </a:lnTo>
                  <a:lnTo>
                    <a:pt x="833" y="318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6"/>
                  </a:lnTo>
                  <a:lnTo>
                    <a:pt x="834" y="316"/>
                  </a:lnTo>
                  <a:lnTo>
                    <a:pt x="835" y="316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6" y="315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3"/>
                  </a:lnTo>
                  <a:lnTo>
                    <a:pt x="837" y="313"/>
                  </a:lnTo>
                  <a:lnTo>
                    <a:pt x="837" y="313"/>
                  </a:lnTo>
                  <a:lnTo>
                    <a:pt x="837" y="312"/>
                  </a:lnTo>
                  <a:lnTo>
                    <a:pt x="838" y="312"/>
                  </a:lnTo>
                  <a:lnTo>
                    <a:pt x="838" y="313"/>
                  </a:lnTo>
                  <a:lnTo>
                    <a:pt x="838" y="312"/>
                  </a:lnTo>
                  <a:lnTo>
                    <a:pt x="839" y="312"/>
                  </a:lnTo>
                  <a:lnTo>
                    <a:pt x="839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1" y="310"/>
                  </a:lnTo>
                  <a:lnTo>
                    <a:pt x="842" y="310"/>
                  </a:lnTo>
                  <a:lnTo>
                    <a:pt x="842" y="309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2" y="308"/>
                  </a:lnTo>
                  <a:lnTo>
                    <a:pt x="841" y="308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1" y="308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3" y="307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4" y="306"/>
                  </a:lnTo>
                  <a:lnTo>
                    <a:pt x="844" y="306"/>
                  </a:lnTo>
                  <a:lnTo>
                    <a:pt x="845" y="306"/>
                  </a:lnTo>
                  <a:lnTo>
                    <a:pt x="845" y="305"/>
                  </a:lnTo>
                  <a:lnTo>
                    <a:pt x="846" y="305"/>
                  </a:lnTo>
                  <a:lnTo>
                    <a:pt x="846" y="305"/>
                  </a:lnTo>
                  <a:lnTo>
                    <a:pt x="846" y="304"/>
                  </a:lnTo>
                  <a:lnTo>
                    <a:pt x="846" y="305"/>
                  </a:lnTo>
                  <a:lnTo>
                    <a:pt x="847" y="305"/>
                  </a:lnTo>
                  <a:lnTo>
                    <a:pt x="847" y="305"/>
                  </a:lnTo>
                  <a:lnTo>
                    <a:pt x="847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3"/>
                  </a:lnTo>
                  <a:lnTo>
                    <a:pt x="849" y="303"/>
                  </a:lnTo>
                  <a:lnTo>
                    <a:pt x="849" y="303"/>
                  </a:lnTo>
                  <a:lnTo>
                    <a:pt x="850" y="303"/>
                  </a:lnTo>
                  <a:lnTo>
                    <a:pt x="850" y="303"/>
                  </a:lnTo>
                  <a:lnTo>
                    <a:pt x="851" y="303"/>
                  </a:lnTo>
                  <a:lnTo>
                    <a:pt x="851" y="302"/>
                  </a:lnTo>
                  <a:lnTo>
                    <a:pt x="852" y="302"/>
                  </a:lnTo>
                  <a:lnTo>
                    <a:pt x="853" y="302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4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3"/>
                  </a:lnTo>
                  <a:lnTo>
                    <a:pt x="853" y="302"/>
                  </a:lnTo>
                  <a:lnTo>
                    <a:pt x="854" y="302"/>
                  </a:lnTo>
                  <a:lnTo>
                    <a:pt x="854" y="302"/>
                  </a:lnTo>
                  <a:lnTo>
                    <a:pt x="855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5" y="301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4" y="300"/>
                  </a:lnTo>
                  <a:lnTo>
                    <a:pt x="854" y="300"/>
                  </a:lnTo>
                  <a:lnTo>
                    <a:pt x="854" y="299"/>
                  </a:lnTo>
                  <a:lnTo>
                    <a:pt x="854" y="299"/>
                  </a:lnTo>
                  <a:lnTo>
                    <a:pt x="855" y="299"/>
                  </a:lnTo>
                  <a:lnTo>
                    <a:pt x="855" y="299"/>
                  </a:lnTo>
                  <a:lnTo>
                    <a:pt x="855" y="298"/>
                  </a:lnTo>
                  <a:lnTo>
                    <a:pt x="855" y="298"/>
                  </a:lnTo>
                  <a:lnTo>
                    <a:pt x="855" y="297"/>
                  </a:lnTo>
                  <a:lnTo>
                    <a:pt x="856" y="297"/>
                  </a:lnTo>
                  <a:lnTo>
                    <a:pt x="857" y="297"/>
                  </a:lnTo>
                  <a:lnTo>
                    <a:pt x="857" y="297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4"/>
                  </a:lnTo>
                  <a:lnTo>
                    <a:pt x="857" y="294"/>
                  </a:lnTo>
                  <a:lnTo>
                    <a:pt x="857" y="294"/>
                  </a:lnTo>
                  <a:lnTo>
                    <a:pt x="856" y="294"/>
                  </a:lnTo>
                  <a:lnTo>
                    <a:pt x="856" y="293"/>
                  </a:lnTo>
                  <a:lnTo>
                    <a:pt x="856" y="293"/>
                  </a:lnTo>
                  <a:lnTo>
                    <a:pt x="857" y="293"/>
                  </a:lnTo>
                  <a:lnTo>
                    <a:pt x="857" y="292"/>
                  </a:lnTo>
                  <a:lnTo>
                    <a:pt x="857" y="292"/>
                  </a:lnTo>
                  <a:lnTo>
                    <a:pt x="857" y="291"/>
                  </a:lnTo>
                  <a:lnTo>
                    <a:pt x="857" y="291"/>
                  </a:lnTo>
                  <a:lnTo>
                    <a:pt x="858" y="291"/>
                  </a:lnTo>
                  <a:lnTo>
                    <a:pt x="858" y="291"/>
                  </a:lnTo>
                  <a:lnTo>
                    <a:pt x="858" y="290"/>
                  </a:lnTo>
                  <a:lnTo>
                    <a:pt x="858" y="289"/>
                  </a:lnTo>
                  <a:lnTo>
                    <a:pt x="858" y="289"/>
                  </a:lnTo>
                  <a:lnTo>
                    <a:pt x="858" y="288"/>
                  </a:lnTo>
                  <a:lnTo>
                    <a:pt x="858" y="288"/>
                  </a:lnTo>
                  <a:lnTo>
                    <a:pt x="858" y="287"/>
                  </a:lnTo>
                  <a:lnTo>
                    <a:pt x="858" y="286"/>
                  </a:lnTo>
                  <a:lnTo>
                    <a:pt x="859" y="286"/>
                  </a:lnTo>
                  <a:lnTo>
                    <a:pt x="859" y="286"/>
                  </a:lnTo>
                  <a:lnTo>
                    <a:pt x="858" y="286"/>
                  </a:lnTo>
                  <a:lnTo>
                    <a:pt x="858" y="285"/>
                  </a:lnTo>
                  <a:lnTo>
                    <a:pt x="859" y="285"/>
                  </a:lnTo>
                  <a:lnTo>
                    <a:pt x="859" y="285"/>
                  </a:lnTo>
                  <a:lnTo>
                    <a:pt x="859" y="284"/>
                  </a:lnTo>
                  <a:lnTo>
                    <a:pt x="859" y="284"/>
                  </a:lnTo>
                  <a:lnTo>
                    <a:pt x="859" y="283"/>
                  </a:lnTo>
                  <a:lnTo>
                    <a:pt x="859" y="283"/>
                  </a:lnTo>
                  <a:lnTo>
                    <a:pt x="859" y="282"/>
                  </a:lnTo>
                  <a:lnTo>
                    <a:pt x="860" y="282"/>
                  </a:lnTo>
                  <a:lnTo>
                    <a:pt x="860" y="282"/>
                  </a:lnTo>
                  <a:lnTo>
                    <a:pt x="861" y="282"/>
                  </a:lnTo>
                  <a:lnTo>
                    <a:pt x="861" y="282"/>
                  </a:lnTo>
                  <a:lnTo>
                    <a:pt x="861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4" y="281"/>
                  </a:lnTo>
                  <a:lnTo>
                    <a:pt x="865" y="281"/>
                  </a:lnTo>
                  <a:lnTo>
                    <a:pt x="865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3"/>
                  </a:lnTo>
                  <a:lnTo>
                    <a:pt x="869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6" y="284"/>
                  </a:lnTo>
                  <a:lnTo>
                    <a:pt x="866" y="285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7" y="286"/>
                  </a:lnTo>
                  <a:lnTo>
                    <a:pt x="868" y="286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70" y="287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5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8" y="286"/>
                  </a:lnTo>
                  <a:lnTo>
                    <a:pt x="867" y="286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6" y="285"/>
                  </a:lnTo>
                  <a:lnTo>
                    <a:pt x="866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9" y="284"/>
                  </a:lnTo>
                  <a:lnTo>
                    <a:pt x="869" y="283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7" y="281"/>
                  </a:lnTo>
                  <a:lnTo>
                    <a:pt x="867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7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8" y="281"/>
                  </a:lnTo>
                  <a:lnTo>
                    <a:pt x="868" y="280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9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71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6" y="281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8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80" y="279"/>
                  </a:lnTo>
                  <a:lnTo>
                    <a:pt x="880" y="280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81" y="279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9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78" y="279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1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7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5" y="280"/>
                  </a:lnTo>
                  <a:lnTo>
                    <a:pt x="865" y="279"/>
                  </a:lnTo>
                  <a:lnTo>
                    <a:pt x="864" y="279"/>
                  </a:lnTo>
                  <a:lnTo>
                    <a:pt x="863" y="279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7"/>
                  </a:lnTo>
                  <a:lnTo>
                    <a:pt x="862" y="277"/>
                  </a:lnTo>
                  <a:lnTo>
                    <a:pt x="862" y="278"/>
                  </a:lnTo>
                  <a:lnTo>
                    <a:pt x="862" y="277"/>
                  </a:lnTo>
                  <a:lnTo>
                    <a:pt x="862" y="277"/>
                  </a:lnTo>
                  <a:lnTo>
                    <a:pt x="861" y="277"/>
                  </a:lnTo>
                  <a:lnTo>
                    <a:pt x="861" y="277"/>
                  </a:lnTo>
                  <a:lnTo>
                    <a:pt x="861" y="278"/>
                  </a:lnTo>
                  <a:lnTo>
                    <a:pt x="860" y="278"/>
                  </a:lnTo>
                  <a:lnTo>
                    <a:pt x="859" y="278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7" y="278"/>
                  </a:lnTo>
                  <a:lnTo>
                    <a:pt x="857" y="279"/>
                  </a:lnTo>
                  <a:lnTo>
                    <a:pt x="857" y="278"/>
                  </a:lnTo>
                  <a:lnTo>
                    <a:pt x="857" y="278"/>
                  </a:lnTo>
                  <a:lnTo>
                    <a:pt x="856" y="278"/>
                  </a:lnTo>
                  <a:lnTo>
                    <a:pt x="855" y="279"/>
                  </a:lnTo>
                  <a:lnTo>
                    <a:pt x="855" y="279"/>
                  </a:lnTo>
                  <a:lnTo>
                    <a:pt x="854" y="279"/>
                  </a:lnTo>
                  <a:lnTo>
                    <a:pt x="854" y="279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2" y="278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80"/>
                  </a:lnTo>
                  <a:lnTo>
                    <a:pt x="852" y="280"/>
                  </a:lnTo>
                  <a:lnTo>
                    <a:pt x="851" y="280"/>
                  </a:lnTo>
                  <a:lnTo>
                    <a:pt x="852" y="280"/>
                  </a:lnTo>
                  <a:lnTo>
                    <a:pt x="852" y="280"/>
                  </a:lnTo>
                  <a:lnTo>
                    <a:pt x="852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2" y="281"/>
                  </a:lnTo>
                  <a:lnTo>
                    <a:pt x="853" y="281"/>
                  </a:lnTo>
                  <a:lnTo>
                    <a:pt x="853" y="282"/>
                  </a:lnTo>
                  <a:lnTo>
                    <a:pt x="853" y="282"/>
                  </a:lnTo>
                  <a:lnTo>
                    <a:pt x="852" y="282"/>
                  </a:lnTo>
                  <a:lnTo>
                    <a:pt x="851" y="282"/>
                  </a:lnTo>
                  <a:lnTo>
                    <a:pt x="852" y="282"/>
                  </a:lnTo>
                  <a:lnTo>
                    <a:pt x="851" y="283"/>
                  </a:lnTo>
                  <a:lnTo>
                    <a:pt x="851" y="283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7"/>
                  </a:lnTo>
                  <a:lnTo>
                    <a:pt x="850" y="287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1" y="290"/>
                  </a:lnTo>
                  <a:lnTo>
                    <a:pt x="851" y="289"/>
                  </a:lnTo>
                  <a:lnTo>
                    <a:pt x="851" y="290"/>
                  </a:lnTo>
                  <a:lnTo>
                    <a:pt x="851" y="290"/>
                  </a:lnTo>
                  <a:lnTo>
                    <a:pt x="852" y="290"/>
                  </a:lnTo>
                  <a:lnTo>
                    <a:pt x="852" y="291"/>
                  </a:lnTo>
                  <a:lnTo>
                    <a:pt x="853" y="291"/>
                  </a:lnTo>
                  <a:lnTo>
                    <a:pt x="853" y="291"/>
                  </a:lnTo>
                  <a:lnTo>
                    <a:pt x="852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1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0" y="292"/>
                  </a:lnTo>
                  <a:lnTo>
                    <a:pt x="850" y="292"/>
                  </a:lnTo>
                  <a:lnTo>
                    <a:pt x="851" y="292"/>
                  </a:lnTo>
                  <a:lnTo>
                    <a:pt x="850" y="293"/>
                  </a:lnTo>
                  <a:lnTo>
                    <a:pt x="850" y="293"/>
                  </a:lnTo>
                  <a:lnTo>
                    <a:pt x="850" y="292"/>
                  </a:lnTo>
                  <a:lnTo>
                    <a:pt x="849" y="292"/>
                  </a:lnTo>
                  <a:lnTo>
                    <a:pt x="849" y="292"/>
                  </a:lnTo>
                  <a:lnTo>
                    <a:pt x="848" y="292"/>
                  </a:lnTo>
                  <a:lnTo>
                    <a:pt x="848" y="291"/>
                  </a:lnTo>
                  <a:lnTo>
                    <a:pt x="849" y="291"/>
                  </a:lnTo>
                  <a:lnTo>
                    <a:pt x="849" y="291"/>
                  </a:lnTo>
                  <a:lnTo>
                    <a:pt x="848" y="291"/>
                  </a:lnTo>
                  <a:lnTo>
                    <a:pt x="848" y="291"/>
                  </a:lnTo>
                  <a:lnTo>
                    <a:pt x="847" y="291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8" y="291"/>
                  </a:lnTo>
                  <a:lnTo>
                    <a:pt x="848" y="292"/>
                  </a:lnTo>
                  <a:lnTo>
                    <a:pt x="847" y="292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6" y="291"/>
                  </a:lnTo>
                  <a:lnTo>
                    <a:pt x="846" y="291"/>
                  </a:lnTo>
                  <a:lnTo>
                    <a:pt x="845" y="291"/>
                  </a:lnTo>
                  <a:lnTo>
                    <a:pt x="845" y="291"/>
                  </a:lnTo>
                  <a:lnTo>
                    <a:pt x="844" y="291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3" y="292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4"/>
                  </a:lnTo>
                  <a:lnTo>
                    <a:pt x="842" y="294"/>
                  </a:lnTo>
                  <a:lnTo>
                    <a:pt x="842" y="295"/>
                  </a:lnTo>
                  <a:lnTo>
                    <a:pt x="842" y="295"/>
                  </a:lnTo>
                  <a:lnTo>
                    <a:pt x="841" y="295"/>
                  </a:lnTo>
                  <a:lnTo>
                    <a:pt x="841" y="294"/>
                  </a:lnTo>
                  <a:lnTo>
                    <a:pt x="841" y="295"/>
                  </a:lnTo>
                  <a:lnTo>
                    <a:pt x="841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6"/>
                  </a:lnTo>
                  <a:lnTo>
                    <a:pt x="840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8" y="296"/>
                  </a:lnTo>
                  <a:lnTo>
                    <a:pt x="839" y="296"/>
                  </a:lnTo>
                  <a:lnTo>
                    <a:pt x="839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5" y="299"/>
                  </a:lnTo>
                  <a:lnTo>
                    <a:pt x="835" y="299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4" y="300"/>
                  </a:lnTo>
                  <a:lnTo>
                    <a:pt x="833" y="300"/>
                  </a:lnTo>
                  <a:lnTo>
                    <a:pt x="833" y="301"/>
                  </a:lnTo>
                  <a:lnTo>
                    <a:pt x="833" y="301"/>
                  </a:lnTo>
                  <a:lnTo>
                    <a:pt x="833" y="302"/>
                  </a:lnTo>
                  <a:lnTo>
                    <a:pt x="832" y="302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8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4"/>
                  </a:lnTo>
                  <a:lnTo>
                    <a:pt x="827" y="304"/>
                  </a:lnTo>
                  <a:lnTo>
                    <a:pt x="828" y="304"/>
                  </a:lnTo>
                  <a:lnTo>
                    <a:pt x="827" y="304"/>
                  </a:lnTo>
                  <a:lnTo>
                    <a:pt x="827" y="303"/>
                  </a:lnTo>
                  <a:lnTo>
                    <a:pt x="828" y="303"/>
                  </a:lnTo>
                  <a:lnTo>
                    <a:pt x="828" y="303"/>
                  </a:lnTo>
                  <a:lnTo>
                    <a:pt x="828" y="302"/>
                  </a:lnTo>
                  <a:lnTo>
                    <a:pt x="827" y="302"/>
                  </a:lnTo>
                  <a:lnTo>
                    <a:pt x="827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8" y="300"/>
                  </a:lnTo>
                  <a:lnTo>
                    <a:pt x="829" y="300"/>
                  </a:lnTo>
                  <a:lnTo>
                    <a:pt x="829" y="300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8" y="299"/>
                  </a:lnTo>
                  <a:lnTo>
                    <a:pt x="828" y="299"/>
                  </a:lnTo>
                  <a:lnTo>
                    <a:pt x="827" y="299"/>
                  </a:lnTo>
                  <a:lnTo>
                    <a:pt x="827" y="299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1"/>
                  </a:lnTo>
                  <a:lnTo>
                    <a:pt x="825" y="300"/>
                  </a:lnTo>
                  <a:lnTo>
                    <a:pt x="824" y="300"/>
                  </a:lnTo>
                  <a:lnTo>
                    <a:pt x="824" y="300"/>
                  </a:lnTo>
                  <a:lnTo>
                    <a:pt x="825" y="300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8"/>
                  </a:lnTo>
                  <a:lnTo>
                    <a:pt x="826" y="298"/>
                  </a:lnTo>
                  <a:lnTo>
                    <a:pt x="825" y="298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6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7" y="294"/>
                  </a:lnTo>
                  <a:lnTo>
                    <a:pt x="827" y="293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8" y="293"/>
                  </a:lnTo>
                  <a:lnTo>
                    <a:pt x="828" y="292"/>
                  </a:lnTo>
                  <a:lnTo>
                    <a:pt x="828" y="292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0"/>
                  </a:lnTo>
                  <a:lnTo>
                    <a:pt x="829" y="290"/>
                  </a:lnTo>
                  <a:lnTo>
                    <a:pt x="829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9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9" y="287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7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5" y="289"/>
                  </a:lnTo>
                  <a:lnTo>
                    <a:pt x="825" y="290"/>
                  </a:lnTo>
                  <a:lnTo>
                    <a:pt x="825" y="290"/>
                  </a:lnTo>
                  <a:lnTo>
                    <a:pt x="825" y="291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1"/>
                  </a:lnTo>
                  <a:lnTo>
                    <a:pt x="823" y="290"/>
                  </a:lnTo>
                  <a:lnTo>
                    <a:pt x="823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0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1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19" y="288"/>
                  </a:lnTo>
                  <a:lnTo>
                    <a:pt x="818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6" y="288"/>
                  </a:lnTo>
                  <a:lnTo>
                    <a:pt x="817" y="288"/>
                  </a:lnTo>
                  <a:lnTo>
                    <a:pt x="816" y="289"/>
                  </a:lnTo>
                  <a:lnTo>
                    <a:pt x="816" y="289"/>
                  </a:lnTo>
                  <a:lnTo>
                    <a:pt x="815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2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0" y="289"/>
                  </a:lnTo>
                  <a:lnTo>
                    <a:pt x="810" y="290"/>
                  </a:lnTo>
                  <a:lnTo>
                    <a:pt x="810" y="290"/>
                  </a:lnTo>
                  <a:lnTo>
                    <a:pt x="809" y="290"/>
                  </a:lnTo>
                  <a:lnTo>
                    <a:pt x="809" y="289"/>
                  </a:lnTo>
                  <a:lnTo>
                    <a:pt x="809" y="289"/>
                  </a:lnTo>
                  <a:lnTo>
                    <a:pt x="808" y="289"/>
                  </a:lnTo>
                  <a:lnTo>
                    <a:pt x="807" y="289"/>
                  </a:lnTo>
                  <a:lnTo>
                    <a:pt x="807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5" y="289"/>
                  </a:lnTo>
                  <a:lnTo>
                    <a:pt x="805" y="290"/>
                  </a:lnTo>
                  <a:lnTo>
                    <a:pt x="805" y="290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3" y="291"/>
                  </a:lnTo>
                  <a:lnTo>
                    <a:pt x="803" y="291"/>
                  </a:lnTo>
                  <a:lnTo>
                    <a:pt x="802" y="291"/>
                  </a:lnTo>
                  <a:lnTo>
                    <a:pt x="802" y="291"/>
                  </a:lnTo>
                  <a:lnTo>
                    <a:pt x="802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3"/>
                  </a:lnTo>
                  <a:lnTo>
                    <a:pt x="800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4"/>
                  </a:lnTo>
                  <a:lnTo>
                    <a:pt x="799" y="295"/>
                  </a:lnTo>
                  <a:lnTo>
                    <a:pt x="799" y="295"/>
                  </a:lnTo>
                  <a:lnTo>
                    <a:pt x="799" y="296"/>
                  </a:lnTo>
                  <a:lnTo>
                    <a:pt x="799" y="296"/>
                  </a:lnTo>
                  <a:lnTo>
                    <a:pt x="799" y="297"/>
                  </a:lnTo>
                  <a:lnTo>
                    <a:pt x="798" y="297"/>
                  </a:lnTo>
                  <a:lnTo>
                    <a:pt x="798" y="297"/>
                  </a:lnTo>
                  <a:lnTo>
                    <a:pt x="797" y="297"/>
                  </a:lnTo>
                  <a:lnTo>
                    <a:pt x="796" y="297"/>
                  </a:lnTo>
                  <a:lnTo>
                    <a:pt x="796" y="298"/>
                  </a:lnTo>
                  <a:lnTo>
                    <a:pt x="796" y="299"/>
                  </a:lnTo>
                  <a:lnTo>
                    <a:pt x="795" y="299"/>
                  </a:lnTo>
                  <a:lnTo>
                    <a:pt x="795" y="299"/>
                  </a:lnTo>
                  <a:lnTo>
                    <a:pt x="794" y="299"/>
                  </a:lnTo>
                  <a:lnTo>
                    <a:pt x="794" y="300"/>
                  </a:lnTo>
                  <a:lnTo>
                    <a:pt x="794" y="300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3" y="302"/>
                  </a:lnTo>
                  <a:lnTo>
                    <a:pt x="793" y="302"/>
                  </a:lnTo>
                  <a:lnTo>
                    <a:pt x="793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2" y="303"/>
                  </a:lnTo>
                  <a:lnTo>
                    <a:pt x="792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0" y="304"/>
                  </a:lnTo>
                  <a:lnTo>
                    <a:pt x="790" y="305"/>
                  </a:lnTo>
                  <a:lnTo>
                    <a:pt x="790" y="305"/>
                  </a:lnTo>
                  <a:lnTo>
                    <a:pt x="790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7" y="306"/>
                  </a:lnTo>
                  <a:lnTo>
                    <a:pt x="787" y="307"/>
                  </a:lnTo>
                  <a:lnTo>
                    <a:pt x="787" y="307"/>
                  </a:lnTo>
                  <a:lnTo>
                    <a:pt x="786" y="307"/>
                  </a:lnTo>
                  <a:lnTo>
                    <a:pt x="786" y="308"/>
                  </a:lnTo>
                  <a:lnTo>
                    <a:pt x="785" y="308"/>
                  </a:lnTo>
                  <a:lnTo>
                    <a:pt x="785" y="308"/>
                  </a:lnTo>
                  <a:lnTo>
                    <a:pt x="784" y="308"/>
                  </a:lnTo>
                  <a:lnTo>
                    <a:pt x="784" y="309"/>
                  </a:lnTo>
                  <a:lnTo>
                    <a:pt x="784" y="309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1"/>
                  </a:lnTo>
                  <a:lnTo>
                    <a:pt x="782" y="311"/>
                  </a:lnTo>
                  <a:lnTo>
                    <a:pt x="782" y="312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2" y="312"/>
                  </a:lnTo>
                  <a:lnTo>
                    <a:pt x="782" y="311"/>
                  </a:lnTo>
                  <a:lnTo>
                    <a:pt x="781" y="311"/>
                  </a:lnTo>
                  <a:lnTo>
                    <a:pt x="781" y="311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79" y="314"/>
                  </a:lnTo>
                  <a:lnTo>
                    <a:pt x="779" y="315"/>
                  </a:lnTo>
                  <a:lnTo>
                    <a:pt x="779" y="315"/>
                  </a:lnTo>
                  <a:lnTo>
                    <a:pt x="779" y="316"/>
                  </a:lnTo>
                  <a:lnTo>
                    <a:pt x="780" y="317"/>
                  </a:lnTo>
                  <a:lnTo>
                    <a:pt x="780" y="317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7"/>
                  </a:lnTo>
                  <a:lnTo>
                    <a:pt x="779" y="317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9"/>
                  </a:lnTo>
                  <a:lnTo>
                    <a:pt x="779" y="318"/>
                  </a:lnTo>
                  <a:lnTo>
                    <a:pt x="778" y="319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9" y="320"/>
                  </a:lnTo>
                  <a:lnTo>
                    <a:pt x="780" y="320"/>
                  </a:lnTo>
                  <a:lnTo>
                    <a:pt x="780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20"/>
                  </a:lnTo>
                  <a:lnTo>
                    <a:pt x="781" y="321"/>
                  </a:lnTo>
                  <a:lnTo>
                    <a:pt x="781" y="320"/>
                  </a:lnTo>
                  <a:lnTo>
                    <a:pt x="781" y="320"/>
                  </a:lnTo>
                  <a:lnTo>
                    <a:pt x="782" y="320"/>
                  </a:lnTo>
                  <a:lnTo>
                    <a:pt x="781" y="320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8"/>
                  </a:lnTo>
                  <a:lnTo>
                    <a:pt x="781" y="319"/>
                  </a:lnTo>
                  <a:lnTo>
                    <a:pt x="782" y="319"/>
                  </a:lnTo>
                  <a:lnTo>
                    <a:pt x="783" y="319"/>
                  </a:lnTo>
                  <a:lnTo>
                    <a:pt x="783" y="318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4" y="319"/>
                  </a:lnTo>
                  <a:lnTo>
                    <a:pt x="784" y="319"/>
                  </a:lnTo>
                  <a:lnTo>
                    <a:pt x="785" y="319"/>
                  </a:lnTo>
                  <a:lnTo>
                    <a:pt x="785" y="319"/>
                  </a:lnTo>
                  <a:lnTo>
                    <a:pt x="786" y="319"/>
                  </a:lnTo>
                  <a:lnTo>
                    <a:pt x="786" y="319"/>
                  </a:lnTo>
                  <a:lnTo>
                    <a:pt x="786" y="320"/>
                  </a:lnTo>
                  <a:lnTo>
                    <a:pt x="786" y="320"/>
                  </a:lnTo>
                  <a:lnTo>
                    <a:pt x="786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3"/>
                  </a:lnTo>
                  <a:lnTo>
                    <a:pt x="787" y="324"/>
                  </a:lnTo>
                  <a:lnTo>
                    <a:pt x="787" y="324"/>
                  </a:lnTo>
                  <a:lnTo>
                    <a:pt x="787" y="323"/>
                  </a:lnTo>
                  <a:lnTo>
                    <a:pt x="786" y="323"/>
                  </a:lnTo>
                  <a:lnTo>
                    <a:pt x="786" y="323"/>
                  </a:lnTo>
                  <a:lnTo>
                    <a:pt x="786" y="324"/>
                  </a:lnTo>
                  <a:lnTo>
                    <a:pt x="786" y="323"/>
                  </a:lnTo>
                  <a:lnTo>
                    <a:pt x="785" y="323"/>
                  </a:lnTo>
                  <a:lnTo>
                    <a:pt x="784" y="323"/>
                  </a:lnTo>
                  <a:lnTo>
                    <a:pt x="784" y="323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3" y="324"/>
                  </a:lnTo>
                  <a:lnTo>
                    <a:pt x="783" y="324"/>
                  </a:lnTo>
                  <a:lnTo>
                    <a:pt x="783" y="323"/>
                  </a:lnTo>
                  <a:lnTo>
                    <a:pt x="782" y="323"/>
                  </a:lnTo>
                  <a:lnTo>
                    <a:pt x="781" y="323"/>
                  </a:lnTo>
                  <a:lnTo>
                    <a:pt x="781" y="323"/>
                  </a:lnTo>
                  <a:lnTo>
                    <a:pt x="780" y="323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5"/>
                  </a:lnTo>
                  <a:lnTo>
                    <a:pt x="779" y="324"/>
                  </a:lnTo>
                  <a:lnTo>
                    <a:pt x="779" y="324"/>
                  </a:lnTo>
                  <a:lnTo>
                    <a:pt x="779" y="325"/>
                  </a:lnTo>
                  <a:lnTo>
                    <a:pt x="778" y="325"/>
                  </a:lnTo>
                  <a:lnTo>
                    <a:pt x="777" y="325"/>
                  </a:lnTo>
                  <a:lnTo>
                    <a:pt x="777" y="325"/>
                  </a:lnTo>
                  <a:lnTo>
                    <a:pt x="777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3"/>
                  </a:lnTo>
                  <a:lnTo>
                    <a:pt x="775" y="323"/>
                  </a:lnTo>
                  <a:lnTo>
                    <a:pt x="776" y="323"/>
                  </a:lnTo>
                  <a:lnTo>
                    <a:pt x="776" y="322"/>
                  </a:lnTo>
                  <a:lnTo>
                    <a:pt x="775" y="322"/>
                  </a:lnTo>
                  <a:lnTo>
                    <a:pt x="775" y="323"/>
                  </a:lnTo>
                  <a:lnTo>
                    <a:pt x="775" y="323"/>
                  </a:lnTo>
                  <a:lnTo>
                    <a:pt x="774" y="323"/>
                  </a:lnTo>
                  <a:lnTo>
                    <a:pt x="774" y="322"/>
                  </a:lnTo>
                  <a:lnTo>
                    <a:pt x="773" y="322"/>
                  </a:lnTo>
                  <a:lnTo>
                    <a:pt x="773" y="322"/>
                  </a:lnTo>
                  <a:lnTo>
                    <a:pt x="773" y="323"/>
                  </a:lnTo>
                  <a:lnTo>
                    <a:pt x="772" y="323"/>
                  </a:lnTo>
                  <a:lnTo>
                    <a:pt x="773" y="322"/>
                  </a:lnTo>
                  <a:lnTo>
                    <a:pt x="772" y="322"/>
                  </a:lnTo>
                  <a:lnTo>
                    <a:pt x="772" y="323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1" y="324"/>
                  </a:lnTo>
                  <a:lnTo>
                    <a:pt x="771" y="325"/>
                  </a:lnTo>
                  <a:lnTo>
                    <a:pt x="770" y="325"/>
                  </a:lnTo>
                  <a:lnTo>
                    <a:pt x="770" y="324"/>
                  </a:lnTo>
                  <a:lnTo>
                    <a:pt x="770" y="325"/>
                  </a:lnTo>
                  <a:lnTo>
                    <a:pt x="770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6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8" y="326"/>
                  </a:lnTo>
                  <a:lnTo>
                    <a:pt x="768" y="326"/>
                  </a:lnTo>
                  <a:lnTo>
                    <a:pt x="767" y="326"/>
                  </a:lnTo>
                  <a:lnTo>
                    <a:pt x="767" y="327"/>
                  </a:lnTo>
                  <a:lnTo>
                    <a:pt x="767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3" y="325"/>
                  </a:lnTo>
                  <a:lnTo>
                    <a:pt x="763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7"/>
                  </a:lnTo>
                  <a:lnTo>
                    <a:pt x="762" y="327"/>
                  </a:lnTo>
                  <a:lnTo>
                    <a:pt x="761" y="327"/>
                  </a:lnTo>
                  <a:lnTo>
                    <a:pt x="761" y="327"/>
                  </a:lnTo>
                  <a:lnTo>
                    <a:pt x="760" y="327"/>
                  </a:lnTo>
                  <a:lnTo>
                    <a:pt x="760" y="327"/>
                  </a:lnTo>
                  <a:lnTo>
                    <a:pt x="760" y="328"/>
                  </a:lnTo>
                  <a:lnTo>
                    <a:pt x="759" y="328"/>
                  </a:lnTo>
                  <a:lnTo>
                    <a:pt x="758" y="328"/>
                  </a:lnTo>
                  <a:lnTo>
                    <a:pt x="758" y="328"/>
                  </a:lnTo>
                  <a:lnTo>
                    <a:pt x="758" y="327"/>
                  </a:lnTo>
                  <a:lnTo>
                    <a:pt x="757" y="327"/>
                  </a:lnTo>
                  <a:lnTo>
                    <a:pt x="757" y="328"/>
                  </a:lnTo>
                  <a:lnTo>
                    <a:pt x="756" y="328"/>
                  </a:lnTo>
                  <a:lnTo>
                    <a:pt x="756" y="327"/>
                  </a:lnTo>
                  <a:lnTo>
                    <a:pt x="756" y="326"/>
                  </a:lnTo>
                  <a:lnTo>
                    <a:pt x="755" y="326"/>
                  </a:lnTo>
                  <a:lnTo>
                    <a:pt x="755" y="326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4" y="325"/>
                  </a:lnTo>
                  <a:lnTo>
                    <a:pt x="754" y="324"/>
                  </a:lnTo>
                  <a:lnTo>
                    <a:pt x="755" y="325"/>
                  </a:lnTo>
                  <a:lnTo>
                    <a:pt x="755" y="324"/>
                  </a:lnTo>
                  <a:lnTo>
                    <a:pt x="756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8" y="324"/>
                  </a:lnTo>
                  <a:lnTo>
                    <a:pt x="758" y="324"/>
                  </a:lnTo>
                  <a:lnTo>
                    <a:pt x="759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2" y="324"/>
                  </a:lnTo>
                  <a:lnTo>
                    <a:pt x="762" y="324"/>
                  </a:lnTo>
                  <a:lnTo>
                    <a:pt x="763" y="323"/>
                  </a:lnTo>
                  <a:lnTo>
                    <a:pt x="764" y="323"/>
                  </a:lnTo>
                  <a:lnTo>
                    <a:pt x="764" y="323"/>
                  </a:lnTo>
                  <a:lnTo>
                    <a:pt x="764" y="322"/>
                  </a:lnTo>
                  <a:lnTo>
                    <a:pt x="764" y="322"/>
                  </a:lnTo>
                  <a:lnTo>
                    <a:pt x="763" y="322"/>
                  </a:lnTo>
                  <a:lnTo>
                    <a:pt x="763" y="322"/>
                  </a:lnTo>
                  <a:lnTo>
                    <a:pt x="762" y="322"/>
                  </a:lnTo>
                  <a:lnTo>
                    <a:pt x="762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0" y="322"/>
                  </a:lnTo>
                  <a:lnTo>
                    <a:pt x="760" y="322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60" y="321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59" y="320"/>
                  </a:lnTo>
                  <a:lnTo>
                    <a:pt x="759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7" y="319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6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5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3" y="318"/>
                  </a:lnTo>
                  <a:lnTo>
                    <a:pt x="753" y="318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20"/>
                  </a:lnTo>
                  <a:lnTo>
                    <a:pt x="753" y="319"/>
                  </a:lnTo>
                  <a:lnTo>
                    <a:pt x="752" y="319"/>
                  </a:lnTo>
                  <a:lnTo>
                    <a:pt x="752" y="320"/>
                  </a:lnTo>
                  <a:lnTo>
                    <a:pt x="751" y="320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49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1" y="318"/>
                  </a:lnTo>
                  <a:lnTo>
                    <a:pt x="751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7"/>
                  </a:lnTo>
                  <a:lnTo>
                    <a:pt x="748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5" y="317"/>
                  </a:lnTo>
                  <a:lnTo>
                    <a:pt x="744" y="317"/>
                  </a:lnTo>
                  <a:lnTo>
                    <a:pt x="744" y="316"/>
                  </a:lnTo>
                  <a:lnTo>
                    <a:pt x="743" y="316"/>
                  </a:lnTo>
                  <a:lnTo>
                    <a:pt x="743" y="316"/>
                  </a:lnTo>
                  <a:lnTo>
                    <a:pt x="742" y="316"/>
                  </a:lnTo>
                  <a:lnTo>
                    <a:pt x="742" y="316"/>
                  </a:lnTo>
                  <a:lnTo>
                    <a:pt x="741" y="316"/>
                  </a:lnTo>
                  <a:lnTo>
                    <a:pt x="740" y="316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7"/>
                  </a:lnTo>
                  <a:lnTo>
                    <a:pt x="739" y="317"/>
                  </a:lnTo>
                  <a:lnTo>
                    <a:pt x="739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6"/>
                  </a:lnTo>
                  <a:lnTo>
                    <a:pt x="736" y="316"/>
                  </a:lnTo>
                  <a:lnTo>
                    <a:pt x="736" y="315"/>
                  </a:lnTo>
                  <a:lnTo>
                    <a:pt x="736" y="315"/>
                  </a:lnTo>
                  <a:lnTo>
                    <a:pt x="735" y="315"/>
                  </a:lnTo>
                  <a:lnTo>
                    <a:pt x="736" y="315"/>
                  </a:lnTo>
                  <a:lnTo>
                    <a:pt x="736" y="316"/>
                  </a:lnTo>
                  <a:lnTo>
                    <a:pt x="736" y="316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8" y="319"/>
                  </a:lnTo>
                  <a:lnTo>
                    <a:pt x="738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9"/>
                  </a:lnTo>
                  <a:lnTo>
                    <a:pt x="735" y="319"/>
                  </a:lnTo>
                  <a:lnTo>
                    <a:pt x="735" y="319"/>
                  </a:lnTo>
                  <a:lnTo>
                    <a:pt x="735" y="320"/>
                  </a:lnTo>
                  <a:lnTo>
                    <a:pt x="735" y="321"/>
                  </a:lnTo>
                  <a:lnTo>
                    <a:pt x="735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7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8" y="321"/>
                  </a:lnTo>
                  <a:lnTo>
                    <a:pt x="737" y="321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7" y="322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5" y="322"/>
                  </a:lnTo>
                  <a:lnTo>
                    <a:pt x="735" y="322"/>
                  </a:lnTo>
                  <a:lnTo>
                    <a:pt x="734" y="322"/>
                  </a:lnTo>
                  <a:lnTo>
                    <a:pt x="734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0"/>
                  </a:lnTo>
                  <a:lnTo>
                    <a:pt x="731" y="320"/>
                  </a:lnTo>
                  <a:lnTo>
                    <a:pt x="731" y="320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29" y="321"/>
                  </a:lnTo>
                  <a:lnTo>
                    <a:pt x="729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7" y="321"/>
                  </a:lnTo>
                  <a:lnTo>
                    <a:pt x="728" y="321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4" y="322"/>
                  </a:lnTo>
                  <a:lnTo>
                    <a:pt x="724" y="322"/>
                  </a:lnTo>
                  <a:lnTo>
                    <a:pt x="724" y="321"/>
                  </a:lnTo>
                  <a:lnTo>
                    <a:pt x="723" y="321"/>
                  </a:lnTo>
                  <a:lnTo>
                    <a:pt x="723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0" y="321"/>
                  </a:lnTo>
                  <a:lnTo>
                    <a:pt x="720" y="321"/>
                  </a:lnTo>
                  <a:lnTo>
                    <a:pt x="719" y="321"/>
                  </a:lnTo>
                  <a:lnTo>
                    <a:pt x="718" y="321"/>
                  </a:lnTo>
                  <a:lnTo>
                    <a:pt x="719" y="320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7" y="319"/>
                  </a:lnTo>
                  <a:lnTo>
                    <a:pt x="717" y="319"/>
                  </a:lnTo>
                  <a:lnTo>
                    <a:pt x="716" y="320"/>
                  </a:lnTo>
                  <a:lnTo>
                    <a:pt x="716" y="321"/>
                  </a:lnTo>
                  <a:lnTo>
                    <a:pt x="716" y="321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4"/>
                  </a:lnTo>
                  <a:lnTo>
                    <a:pt x="713" y="324"/>
                  </a:lnTo>
                  <a:lnTo>
                    <a:pt x="713" y="323"/>
                  </a:lnTo>
                  <a:lnTo>
                    <a:pt x="713" y="323"/>
                  </a:lnTo>
                  <a:lnTo>
                    <a:pt x="712" y="323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1"/>
                  </a:lnTo>
                  <a:lnTo>
                    <a:pt x="713" y="321"/>
                  </a:lnTo>
                  <a:lnTo>
                    <a:pt x="713" y="321"/>
                  </a:lnTo>
                  <a:lnTo>
                    <a:pt x="713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2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1" y="321"/>
                  </a:lnTo>
                  <a:lnTo>
                    <a:pt x="711" y="320"/>
                  </a:lnTo>
                  <a:lnTo>
                    <a:pt x="710" y="320"/>
                  </a:lnTo>
                  <a:lnTo>
                    <a:pt x="710" y="320"/>
                  </a:lnTo>
                  <a:lnTo>
                    <a:pt x="709" y="320"/>
                  </a:lnTo>
                  <a:lnTo>
                    <a:pt x="709" y="320"/>
                  </a:lnTo>
                  <a:lnTo>
                    <a:pt x="709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0"/>
                  </a:lnTo>
                  <a:lnTo>
                    <a:pt x="707" y="320"/>
                  </a:lnTo>
                  <a:lnTo>
                    <a:pt x="706" y="321"/>
                  </a:lnTo>
                  <a:lnTo>
                    <a:pt x="706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4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5" y="320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2" y="314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3" y="315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3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1" y="321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699" y="321"/>
                  </a:lnTo>
                  <a:lnTo>
                    <a:pt x="698" y="321"/>
                  </a:lnTo>
                  <a:lnTo>
                    <a:pt x="697" y="321"/>
                  </a:lnTo>
                  <a:lnTo>
                    <a:pt x="697" y="321"/>
                  </a:lnTo>
                  <a:lnTo>
                    <a:pt x="696" y="321"/>
                  </a:lnTo>
                  <a:lnTo>
                    <a:pt x="695" y="321"/>
                  </a:lnTo>
                  <a:lnTo>
                    <a:pt x="695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3" y="321"/>
                  </a:lnTo>
                  <a:lnTo>
                    <a:pt x="693" y="321"/>
                  </a:lnTo>
                  <a:lnTo>
                    <a:pt x="692" y="321"/>
                  </a:lnTo>
                  <a:lnTo>
                    <a:pt x="692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89" y="320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9" y="320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89" y="322"/>
                  </a:lnTo>
                  <a:lnTo>
                    <a:pt x="688" y="322"/>
                  </a:lnTo>
                  <a:lnTo>
                    <a:pt x="688" y="322"/>
                  </a:lnTo>
                  <a:lnTo>
                    <a:pt x="687" y="322"/>
                  </a:lnTo>
                  <a:lnTo>
                    <a:pt x="686" y="322"/>
                  </a:lnTo>
                  <a:lnTo>
                    <a:pt x="686" y="322"/>
                  </a:lnTo>
                  <a:lnTo>
                    <a:pt x="685" y="323"/>
                  </a:lnTo>
                  <a:lnTo>
                    <a:pt x="684" y="323"/>
                  </a:lnTo>
                  <a:lnTo>
                    <a:pt x="684" y="324"/>
                  </a:lnTo>
                  <a:lnTo>
                    <a:pt x="684" y="324"/>
                  </a:lnTo>
                  <a:lnTo>
                    <a:pt x="683" y="324"/>
                  </a:lnTo>
                  <a:lnTo>
                    <a:pt x="683" y="324"/>
                  </a:lnTo>
                  <a:lnTo>
                    <a:pt x="683" y="325"/>
                  </a:lnTo>
                  <a:lnTo>
                    <a:pt x="682" y="325"/>
                  </a:lnTo>
                  <a:lnTo>
                    <a:pt x="682" y="325"/>
                  </a:lnTo>
                  <a:lnTo>
                    <a:pt x="682" y="326"/>
                  </a:lnTo>
                  <a:lnTo>
                    <a:pt x="681" y="326"/>
                  </a:lnTo>
                  <a:lnTo>
                    <a:pt x="681" y="326"/>
                  </a:lnTo>
                  <a:lnTo>
                    <a:pt x="680" y="326"/>
                  </a:lnTo>
                  <a:lnTo>
                    <a:pt x="680" y="327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79" y="328"/>
                  </a:lnTo>
                  <a:lnTo>
                    <a:pt x="679" y="329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8" y="330"/>
                  </a:lnTo>
                  <a:lnTo>
                    <a:pt x="678" y="330"/>
                  </a:lnTo>
                  <a:lnTo>
                    <a:pt x="677" y="330"/>
                  </a:lnTo>
                  <a:lnTo>
                    <a:pt x="677" y="331"/>
                  </a:lnTo>
                  <a:lnTo>
                    <a:pt x="676" y="331"/>
                  </a:lnTo>
                  <a:lnTo>
                    <a:pt x="676" y="332"/>
                  </a:lnTo>
                  <a:lnTo>
                    <a:pt x="676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4" y="332"/>
                  </a:lnTo>
                  <a:lnTo>
                    <a:pt x="674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2" y="333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1" y="334"/>
                  </a:lnTo>
                  <a:lnTo>
                    <a:pt x="671" y="335"/>
                  </a:lnTo>
                  <a:lnTo>
                    <a:pt x="671" y="336"/>
                  </a:lnTo>
                  <a:lnTo>
                    <a:pt x="671" y="336"/>
                  </a:lnTo>
                  <a:lnTo>
                    <a:pt x="670" y="337"/>
                  </a:lnTo>
                  <a:lnTo>
                    <a:pt x="670" y="337"/>
                  </a:lnTo>
                  <a:lnTo>
                    <a:pt x="669" y="338"/>
                  </a:lnTo>
                  <a:lnTo>
                    <a:pt x="669" y="339"/>
                  </a:lnTo>
                  <a:lnTo>
                    <a:pt x="669" y="339"/>
                  </a:lnTo>
                  <a:lnTo>
                    <a:pt x="669" y="340"/>
                  </a:lnTo>
                  <a:lnTo>
                    <a:pt x="669" y="340"/>
                  </a:lnTo>
                  <a:lnTo>
                    <a:pt x="668" y="340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7" y="341"/>
                  </a:lnTo>
                  <a:lnTo>
                    <a:pt x="667" y="341"/>
                  </a:lnTo>
                  <a:lnTo>
                    <a:pt x="666" y="341"/>
                  </a:lnTo>
                  <a:lnTo>
                    <a:pt x="665" y="341"/>
                  </a:lnTo>
                  <a:lnTo>
                    <a:pt x="665" y="342"/>
                  </a:lnTo>
                  <a:lnTo>
                    <a:pt x="665" y="342"/>
                  </a:lnTo>
                  <a:lnTo>
                    <a:pt x="665" y="343"/>
                  </a:lnTo>
                  <a:lnTo>
                    <a:pt x="664" y="343"/>
                  </a:lnTo>
                  <a:lnTo>
                    <a:pt x="664" y="343"/>
                  </a:lnTo>
                  <a:lnTo>
                    <a:pt x="664" y="344"/>
                  </a:lnTo>
                  <a:lnTo>
                    <a:pt x="664" y="344"/>
                  </a:lnTo>
                  <a:lnTo>
                    <a:pt x="664" y="345"/>
                  </a:lnTo>
                  <a:lnTo>
                    <a:pt x="663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0" y="347"/>
                  </a:lnTo>
                  <a:lnTo>
                    <a:pt x="660" y="347"/>
                  </a:lnTo>
                  <a:lnTo>
                    <a:pt x="659" y="347"/>
                  </a:lnTo>
                  <a:lnTo>
                    <a:pt x="658" y="347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7" y="348"/>
                  </a:lnTo>
                  <a:lnTo>
                    <a:pt x="657" y="349"/>
                  </a:lnTo>
                  <a:lnTo>
                    <a:pt x="657" y="349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7" y="350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6" y="351"/>
                  </a:lnTo>
                  <a:lnTo>
                    <a:pt x="656" y="351"/>
                  </a:lnTo>
                  <a:lnTo>
                    <a:pt x="655" y="351"/>
                  </a:lnTo>
                  <a:lnTo>
                    <a:pt x="655" y="351"/>
                  </a:lnTo>
                  <a:lnTo>
                    <a:pt x="654" y="351"/>
                  </a:lnTo>
                  <a:lnTo>
                    <a:pt x="654" y="351"/>
                  </a:lnTo>
                  <a:lnTo>
                    <a:pt x="654" y="352"/>
                  </a:lnTo>
                  <a:lnTo>
                    <a:pt x="654" y="352"/>
                  </a:lnTo>
                  <a:lnTo>
                    <a:pt x="654" y="353"/>
                  </a:lnTo>
                  <a:lnTo>
                    <a:pt x="653" y="353"/>
                  </a:lnTo>
                  <a:lnTo>
                    <a:pt x="654" y="353"/>
                  </a:lnTo>
                  <a:lnTo>
                    <a:pt x="654" y="354"/>
                  </a:lnTo>
                  <a:lnTo>
                    <a:pt x="653" y="354"/>
                  </a:lnTo>
                  <a:lnTo>
                    <a:pt x="653" y="353"/>
                  </a:lnTo>
                  <a:lnTo>
                    <a:pt x="654" y="352"/>
                  </a:lnTo>
                  <a:lnTo>
                    <a:pt x="653" y="352"/>
                  </a:lnTo>
                  <a:lnTo>
                    <a:pt x="653" y="353"/>
                  </a:lnTo>
                  <a:lnTo>
                    <a:pt x="653" y="353"/>
                  </a:lnTo>
                  <a:lnTo>
                    <a:pt x="653" y="354"/>
                  </a:lnTo>
                  <a:lnTo>
                    <a:pt x="652" y="354"/>
                  </a:lnTo>
                  <a:lnTo>
                    <a:pt x="652" y="354"/>
                  </a:lnTo>
                  <a:lnTo>
                    <a:pt x="652" y="355"/>
                  </a:lnTo>
                  <a:lnTo>
                    <a:pt x="651" y="354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7"/>
                  </a:lnTo>
                  <a:lnTo>
                    <a:pt x="650" y="357"/>
                  </a:lnTo>
                  <a:lnTo>
                    <a:pt x="650" y="358"/>
                  </a:lnTo>
                  <a:lnTo>
                    <a:pt x="651" y="358"/>
                  </a:lnTo>
                  <a:lnTo>
                    <a:pt x="651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49" y="359"/>
                  </a:lnTo>
                  <a:lnTo>
                    <a:pt x="649" y="359"/>
                  </a:lnTo>
                  <a:lnTo>
                    <a:pt x="648" y="359"/>
                  </a:lnTo>
                  <a:lnTo>
                    <a:pt x="648" y="359"/>
                  </a:lnTo>
                  <a:lnTo>
                    <a:pt x="648" y="360"/>
                  </a:lnTo>
                  <a:lnTo>
                    <a:pt x="647" y="360"/>
                  </a:lnTo>
                  <a:lnTo>
                    <a:pt x="647" y="361"/>
                  </a:lnTo>
                  <a:lnTo>
                    <a:pt x="647" y="361"/>
                  </a:lnTo>
                  <a:lnTo>
                    <a:pt x="647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5" y="362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4"/>
                  </a:lnTo>
                  <a:lnTo>
                    <a:pt x="644" y="364"/>
                  </a:lnTo>
                  <a:lnTo>
                    <a:pt x="643" y="364"/>
                  </a:lnTo>
                  <a:lnTo>
                    <a:pt x="643" y="364"/>
                  </a:lnTo>
                  <a:lnTo>
                    <a:pt x="643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0" y="366"/>
                  </a:lnTo>
                  <a:lnTo>
                    <a:pt x="640" y="367"/>
                  </a:lnTo>
                  <a:lnTo>
                    <a:pt x="639" y="367"/>
                  </a:lnTo>
                  <a:lnTo>
                    <a:pt x="639" y="367"/>
                  </a:lnTo>
                  <a:lnTo>
                    <a:pt x="639" y="368"/>
                  </a:lnTo>
                  <a:lnTo>
                    <a:pt x="639" y="367"/>
                  </a:lnTo>
                  <a:lnTo>
                    <a:pt x="638" y="368"/>
                  </a:lnTo>
                  <a:lnTo>
                    <a:pt x="638" y="368"/>
                  </a:lnTo>
                  <a:lnTo>
                    <a:pt x="638" y="369"/>
                  </a:lnTo>
                  <a:lnTo>
                    <a:pt x="637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70"/>
                  </a:lnTo>
                  <a:lnTo>
                    <a:pt x="635" y="370"/>
                  </a:lnTo>
                  <a:lnTo>
                    <a:pt x="635" y="370"/>
                  </a:lnTo>
                  <a:lnTo>
                    <a:pt x="635" y="371"/>
                  </a:lnTo>
                  <a:lnTo>
                    <a:pt x="635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3"/>
                  </a:lnTo>
                  <a:lnTo>
                    <a:pt x="633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4"/>
                  </a:lnTo>
                  <a:lnTo>
                    <a:pt x="631" y="374"/>
                  </a:lnTo>
                  <a:lnTo>
                    <a:pt x="631" y="373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0" y="374"/>
                  </a:lnTo>
                  <a:lnTo>
                    <a:pt x="630" y="374"/>
                  </a:lnTo>
                  <a:lnTo>
                    <a:pt x="629" y="374"/>
                  </a:lnTo>
                  <a:lnTo>
                    <a:pt x="629" y="375"/>
                  </a:lnTo>
                  <a:lnTo>
                    <a:pt x="628" y="375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7" y="376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6" y="377"/>
                  </a:lnTo>
                  <a:lnTo>
                    <a:pt x="626" y="378"/>
                  </a:lnTo>
                  <a:lnTo>
                    <a:pt x="627" y="378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80"/>
                  </a:lnTo>
                  <a:lnTo>
                    <a:pt x="626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19" y="379"/>
                  </a:lnTo>
                  <a:lnTo>
                    <a:pt x="619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5" y="376"/>
                  </a:lnTo>
                  <a:lnTo>
                    <a:pt x="614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1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4" y="376"/>
                  </a:lnTo>
                  <a:lnTo>
                    <a:pt x="615" y="376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9" y="378"/>
                  </a:lnTo>
                  <a:lnTo>
                    <a:pt x="619" y="379"/>
                  </a:lnTo>
                  <a:lnTo>
                    <a:pt x="619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6" y="380"/>
                  </a:lnTo>
                  <a:lnTo>
                    <a:pt x="626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79"/>
                  </a:lnTo>
                  <a:lnTo>
                    <a:pt x="628" y="379"/>
                  </a:lnTo>
                  <a:lnTo>
                    <a:pt x="628" y="380"/>
                  </a:lnTo>
                  <a:lnTo>
                    <a:pt x="628" y="380"/>
                  </a:lnTo>
                  <a:lnTo>
                    <a:pt x="629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1" y="380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2" y="381"/>
                  </a:lnTo>
                  <a:lnTo>
                    <a:pt x="632" y="381"/>
                  </a:lnTo>
                  <a:lnTo>
                    <a:pt x="633" y="381"/>
                  </a:lnTo>
                  <a:lnTo>
                    <a:pt x="634" y="381"/>
                  </a:lnTo>
                  <a:lnTo>
                    <a:pt x="634" y="381"/>
                  </a:lnTo>
                  <a:lnTo>
                    <a:pt x="635" y="381"/>
                  </a:lnTo>
                  <a:lnTo>
                    <a:pt x="635" y="381"/>
                  </a:lnTo>
                  <a:lnTo>
                    <a:pt x="636" y="381"/>
                  </a:lnTo>
                  <a:lnTo>
                    <a:pt x="636" y="381"/>
                  </a:lnTo>
                  <a:lnTo>
                    <a:pt x="637" y="381"/>
                  </a:lnTo>
                  <a:lnTo>
                    <a:pt x="638" y="381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1"/>
                  </a:lnTo>
                  <a:lnTo>
                    <a:pt x="639" y="381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1"/>
                  </a:lnTo>
                  <a:lnTo>
                    <a:pt x="640" y="381"/>
                  </a:lnTo>
                  <a:lnTo>
                    <a:pt x="640" y="381"/>
                  </a:lnTo>
                  <a:lnTo>
                    <a:pt x="639" y="381"/>
                  </a:lnTo>
                  <a:lnTo>
                    <a:pt x="639" y="382"/>
                  </a:lnTo>
                  <a:lnTo>
                    <a:pt x="640" y="382"/>
                  </a:lnTo>
                  <a:lnTo>
                    <a:pt x="639" y="382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6"/>
                  </a:lnTo>
                  <a:lnTo>
                    <a:pt x="639" y="387"/>
                  </a:lnTo>
                  <a:lnTo>
                    <a:pt x="639" y="387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8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9" y="390"/>
                  </a:lnTo>
                  <a:lnTo>
                    <a:pt x="638" y="390"/>
                  </a:lnTo>
                  <a:lnTo>
                    <a:pt x="639" y="390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40" y="391"/>
                  </a:lnTo>
                  <a:lnTo>
                    <a:pt x="640" y="390"/>
                  </a:lnTo>
                  <a:lnTo>
                    <a:pt x="641" y="390"/>
                  </a:lnTo>
                  <a:lnTo>
                    <a:pt x="641" y="390"/>
                  </a:lnTo>
                  <a:lnTo>
                    <a:pt x="642" y="390"/>
                  </a:lnTo>
                  <a:lnTo>
                    <a:pt x="642" y="391"/>
                  </a:lnTo>
                  <a:lnTo>
                    <a:pt x="642" y="391"/>
                  </a:lnTo>
                  <a:lnTo>
                    <a:pt x="642" y="390"/>
                  </a:lnTo>
                  <a:lnTo>
                    <a:pt x="643" y="390"/>
                  </a:lnTo>
                  <a:lnTo>
                    <a:pt x="642" y="390"/>
                  </a:lnTo>
                  <a:lnTo>
                    <a:pt x="643" y="389"/>
                  </a:lnTo>
                  <a:lnTo>
                    <a:pt x="643" y="389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2" y="388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6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4" y="385"/>
                  </a:lnTo>
                  <a:lnTo>
                    <a:pt x="644" y="384"/>
                  </a:lnTo>
                  <a:lnTo>
                    <a:pt x="645" y="384"/>
                  </a:lnTo>
                  <a:lnTo>
                    <a:pt x="645" y="384"/>
                  </a:lnTo>
                  <a:lnTo>
                    <a:pt x="646" y="384"/>
                  </a:lnTo>
                  <a:lnTo>
                    <a:pt x="646" y="384"/>
                  </a:lnTo>
                  <a:lnTo>
                    <a:pt x="647" y="384"/>
                  </a:lnTo>
                  <a:lnTo>
                    <a:pt x="647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6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4" y="387"/>
                  </a:lnTo>
                  <a:lnTo>
                    <a:pt x="643" y="387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4" y="388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6" y="388"/>
                  </a:lnTo>
                  <a:lnTo>
                    <a:pt x="646" y="389"/>
                  </a:lnTo>
                  <a:lnTo>
                    <a:pt x="646" y="388"/>
                  </a:lnTo>
                  <a:lnTo>
                    <a:pt x="646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8"/>
                  </a:lnTo>
                  <a:lnTo>
                    <a:pt x="648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6" y="389"/>
                  </a:lnTo>
                  <a:lnTo>
                    <a:pt x="646" y="390"/>
                  </a:lnTo>
                  <a:lnTo>
                    <a:pt x="646" y="390"/>
                  </a:lnTo>
                  <a:lnTo>
                    <a:pt x="646" y="391"/>
                  </a:lnTo>
                  <a:lnTo>
                    <a:pt x="646" y="391"/>
                  </a:lnTo>
                  <a:lnTo>
                    <a:pt x="645" y="391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4" y="392"/>
                  </a:lnTo>
                  <a:lnTo>
                    <a:pt x="643" y="392"/>
                  </a:lnTo>
                  <a:lnTo>
                    <a:pt x="643" y="392"/>
                  </a:lnTo>
                  <a:lnTo>
                    <a:pt x="643" y="393"/>
                  </a:lnTo>
                  <a:lnTo>
                    <a:pt x="642" y="393"/>
                  </a:lnTo>
                  <a:lnTo>
                    <a:pt x="642" y="394"/>
                  </a:lnTo>
                  <a:lnTo>
                    <a:pt x="642" y="393"/>
                  </a:lnTo>
                  <a:lnTo>
                    <a:pt x="643" y="393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5" y="394"/>
                  </a:lnTo>
                  <a:lnTo>
                    <a:pt x="646" y="394"/>
                  </a:lnTo>
                  <a:lnTo>
                    <a:pt x="646" y="394"/>
                  </a:lnTo>
                  <a:lnTo>
                    <a:pt x="647" y="394"/>
                  </a:lnTo>
                  <a:lnTo>
                    <a:pt x="647" y="394"/>
                  </a:lnTo>
                  <a:lnTo>
                    <a:pt x="648" y="394"/>
                  </a:lnTo>
                  <a:lnTo>
                    <a:pt x="649" y="394"/>
                  </a:lnTo>
                  <a:lnTo>
                    <a:pt x="649" y="393"/>
                  </a:lnTo>
                  <a:lnTo>
                    <a:pt x="649" y="393"/>
                  </a:lnTo>
                  <a:lnTo>
                    <a:pt x="649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1" y="392"/>
                  </a:lnTo>
                  <a:lnTo>
                    <a:pt x="651" y="392"/>
                  </a:lnTo>
                  <a:lnTo>
                    <a:pt x="651" y="391"/>
                  </a:lnTo>
                  <a:lnTo>
                    <a:pt x="651" y="391"/>
                  </a:lnTo>
                  <a:lnTo>
                    <a:pt x="651" y="390"/>
                  </a:lnTo>
                  <a:lnTo>
                    <a:pt x="652" y="390"/>
                  </a:lnTo>
                  <a:lnTo>
                    <a:pt x="652" y="389"/>
                  </a:lnTo>
                  <a:lnTo>
                    <a:pt x="652" y="389"/>
                  </a:lnTo>
                  <a:lnTo>
                    <a:pt x="653" y="389"/>
                  </a:lnTo>
                  <a:lnTo>
                    <a:pt x="653" y="389"/>
                  </a:lnTo>
                  <a:lnTo>
                    <a:pt x="653" y="388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9"/>
                  </a:lnTo>
                  <a:lnTo>
                    <a:pt x="654" y="390"/>
                  </a:lnTo>
                  <a:lnTo>
                    <a:pt x="654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2"/>
                  </a:lnTo>
                  <a:lnTo>
                    <a:pt x="652" y="392"/>
                  </a:lnTo>
                  <a:lnTo>
                    <a:pt x="652" y="392"/>
                  </a:lnTo>
                  <a:lnTo>
                    <a:pt x="651" y="392"/>
                  </a:lnTo>
                  <a:lnTo>
                    <a:pt x="651" y="393"/>
                  </a:lnTo>
                  <a:lnTo>
                    <a:pt x="652" y="393"/>
                  </a:lnTo>
                  <a:lnTo>
                    <a:pt x="651" y="393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2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3"/>
                  </a:lnTo>
                  <a:lnTo>
                    <a:pt x="654" y="393"/>
                  </a:lnTo>
                  <a:lnTo>
                    <a:pt x="654" y="392"/>
                  </a:lnTo>
                  <a:lnTo>
                    <a:pt x="654" y="392"/>
                  </a:lnTo>
                  <a:lnTo>
                    <a:pt x="654" y="391"/>
                  </a:lnTo>
                  <a:lnTo>
                    <a:pt x="654" y="391"/>
                  </a:lnTo>
                  <a:lnTo>
                    <a:pt x="654" y="390"/>
                  </a:lnTo>
                  <a:lnTo>
                    <a:pt x="655" y="390"/>
                  </a:lnTo>
                  <a:lnTo>
                    <a:pt x="654" y="390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5" y="389"/>
                  </a:lnTo>
                  <a:lnTo>
                    <a:pt x="655" y="388"/>
                  </a:lnTo>
                  <a:lnTo>
                    <a:pt x="655" y="388"/>
                  </a:lnTo>
                  <a:lnTo>
                    <a:pt x="655" y="387"/>
                  </a:lnTo>
                  <a:lnTo>
                    <a:pt x="654" y="387"/>
                  </a:lnTo>
                  <a:lnTo>
                    <a:pt x="654" y="387"/>
                  </a:lnTo>
                  <a:lnTo>
                    <a:pt x="655" y="387"/>
                  </a:lnTo>
                  <a:lnTo>
                    <a:pt x="655" y="386"/>
                  </a:lnTo>
                  <a:lnTo>
                    <a:pt x="655" y="385"/>
                  </a:lnTo>
                  <a:lnTo>
                    <a:pt x="655" y="385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5" y="384"/>
                  </a:lnTo>
                  <a:lnTo>
                    <a:pt x="656" y="385"/>
                  </a:lnTo>
                  <a:lnTo>
                    <a:pt x="656" y="385"/>
                  </a:lnTo>
                  <a:lnTo>
                    <a:pt x="657" y="385"/>
                  </a:lnTo>
                  <a:lnTo>
                    <a:pt x="657" y="385"/>
                  </a:lnTo>
                  <a:lnTo>
                    <a:pt x="658" y="385"/>
                  </a:lnTo>
                  <a:lnTo>
                    <a:pt x="658" y="386"/>
                  </a:lnTo>
                  <a:lnTo>
                    <a:pt x="659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1" y="386"/>
                  </a:lnTo>
                  <a:lnTo>
                    <a:pt x="661" y="385"/>
                  </a:lnTo>
                  <a:lnTo>
                    <a:pt x="661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3" y="384"/>
                  </a:lnTo>
                  <a:lnTo>
                    <a:pt x="664" y="384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6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6" y="387"/>
                  </a:lnTo>
                  <a:lnTo>
                    <a:pt x="667" y="387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8" y="388"/>
                  </a:lnTo>
                  <a:lnTo>
                    <a:pt x="668" y="389"/>
                  </a:lnTo>
                  <a:lnTo>
                    <a:pt x="667" y="389"/>
                  </a:lnTo>
                  <a:lnTo>
                    <a:pt x="667" y="389"/>
                  </a:lnTo>
                  <a:lnTo>
                    <a:pt x="667" y="390"/>
                  </a:lnTo>
                  <a:lnTo>
                    <a:pt x="668" y="390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9" y="391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70" y="393"/>
                  </a:lnTo>
                  <a:lnTo>
                    <a:pt x="671" y="393"/>
                  </a:lnTo>
                  <a:lnTo>
                    <a:pt x="671" y="394"/>
                  </a:lnTo>
                  <a:lnTo>
                    <a:pt x="671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3" y="394"/>
                  </a:lnTo>
                  <a:lnTo>
                    <a:pt x="673" y="394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4"/>
                  </a:lnTo>
                  <a:lnTo>
                    <a:pt x="672" y="394"/>
                  </a:lnTo>
                  <a:lnTo>
                    <a:pt x="672" y="395"/>
                  </a:lnTo>
                  <a:lnTo>
                    <a:pt x="672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4" y="396"/>
                  </a:lnTo>
                  <a:lnTo>
                    <a:pt x="675" y="396"/>
                  </a:lnTo>
                  <a:lnTo>
                    <a:pt x="675" y="396"/>
                  </a:lnTo>
                  <a:lnTo>
                    <a:pt x="676" y="396"/>
                  </a:lnTo>
                  <a:lnTo>
                    <a:pt x="676" y="396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9"/>
                  </a:lnTo>
                  <a:lnTo>
                    <a:pt x="676" y="398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4" y="400"/>
                  </a:lnTo>
                  <a:lnTo>
                    <a:pt x="674" y="400"/>
                  </a:lnTo>
                  <a:lnTo>
                    <a:pt x="673" y="400"/>
                  </a:lnTo>
                  <a:lnTo>
                    <a:pt x="673" y="400"/>
                  </a:lnTo>
                  <a:lnTo>
                    <a:pt x="673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7" y="397"/>
                  </a:lnTo>
                  <a:lnTo>
                    <a:pt x="667" y="397"/>
                  </a:lnTo>
                  <a:lnTo>
                    <a:pt x="666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3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4"/>
                  </a:lnTo>
                  <a:lnTo>
                    <a:pt x="665" y="394"/>
                  </a:lnTo>
                  <a:lnTo>
                    <a:pt x="665" y="394"/>
                  </a:lnTo>
                  <a:lnTo>
                    <a:pt x="664" y="394"/>
                  </a:lnTo>
                  <a:lnTo>
                    <a:pt x="664" y="393"/>
                  </a:lnTo>
                  <a:lnTo>
                    <a:pt x="664" y="394"/>
                  </a:lnTo>
                  <a:lnTo>
                    <a:pt x="663" y="394"/>
                  </a:lnTo>
                  <a:lnTo>
                    <a:pt x="663" y="394"/>
                  </a:lnTo>
                  <a:lnTo>
                    <a:pt x="662" y="394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6"/>
                  </a:lnTo>
                  <a:lnTo>
                    <a:pt x="663" y="396"/>
                  </a:lnTo>
                  <a:lnTo>
                    <a:pt x="663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6" y="397"/>
                  </a:lnTo>
                  <a:lnTo>
                    <a:pt x="667" y="397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4" y="398"/>
                  </a:lnTo>
                  <a:lnTo>
                    <a:pt x="664" y="397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3" y="399"/>
                  </a:lnTo>
                  <a:lnTo>
                    <a:pt x="663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1" y="400"/>
                  </a:lnTo>
                  <a:lnTo>
                    <a:pt x="661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59" y="400"/>
                  </a:lnTo>
                  <a:lnTo>
                    <a:pt x="658" y="400"/>
                  </a:lnTo>
                  <a:lnTo>
                    <a:pt x="658" y="400"/>
                  </a:lnTo>
                  <a:lnTo>
                    <a:pt x="658" y="401"/>
                  </a:lnTo>
                  <a:lnTo>
                    <a:pt x="658" y="402"/>
                  </a:lnTo>
                  <a:lnTo>
                    <a:pt x="658" y="401"/>
                  </a:lnTo>
                  <a:lnTo>
                    <a:pt x="658" y="400"/>
                  </a:lnTo>
                  <a:lnTo>
                    <a:pt x="659" y="400"/>
                  </a:lnTo>
                  <a:lnTo>
                    <a:pt x="659" y="401"/>
                  </a:lnTo>
                  <a:lnTo>
                    <a:pt x="658" y="401"/>
                  </a:lnTo>
                  <a:lnTo>
                    <a:pt x="659" y="401"/>
                  </a:lnTo>
                  <a:lnTo>
                    <a:pt x="659" y="400"/>
                  </a:lnTo>
                  <a:lnTo>
                    <a:pt x="660" y="400"/>
                  </a:lnTo>
                  <a:lnTo>
                    <a:pt x="660" y="401"/>
                  </a:lnTo>
                  <a:lnTo>
                    <a:pt x="660" y="401"/>
                  </a:lnTo>
                  <a:lnTo>
                    <a:pt x="661" y="401"/>
                  </a:lnTo>
                  <a:lnTo>
                    <a:pt x="661" y="402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3" y="401"/>
                  </a:lnTo>
                  <a:lnTo>
                    <a:pt x="664" y="402"/>
                  </a:lnTo>
                  <a:lnTo>
                    <a:pt x="664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3"/>
                  </a:lnTo>
                  <a:lnTo>
                    <a:pt x="665" y="403"/>
                  </a:lnTo>
                  <a:lnTo>
                    <a:pt x="665" y="404"/>
                  </a:lnTo>
                  <a:lnTo>
                    <a:pt x="665" y="404"/>
                  </a:lnTo>
                  <a:lnTo>
                    <a:pt x="666" y="404"/>
                  </a:lnTo>
                  <a:lnTo>
                    <a:pt x="665" y="404"/>
                  </a:lnTo>
                  <a:lnTo>
                    <a:pt x="665" y="405"/>
                  </a:lnTo>
                  <a:lnTo>
                    <a:pt x="666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8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7" y="410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2"/>
                  </a:lnTo>
                  <a:lnTo>
                    <a:pt x="666" y="412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6" y="414"/>
                  </a:lnTo>
                  <a:lnTo>
                    <a:pt x="666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6"/>
                  </a:lnTo>
                  <a:lnTo>
                    <a:pt x="664" y="416"/>
                  </a:lnTo>
                  <a:lnTo>
                    <a:pt x="665" y="416"/>
                  </a:lnTo>
                  <a:lnTo>
                    <a:pt x="665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3" y="417"/>
                  </a:lnTo>
                  <a:lnTo>
                    <a:pt x="662" y="417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7"/>
                  </a:lnTo>
                  <a:lnTo>
                    <a:pt x="661" y="417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9"/>
                  </a:lnTo>
                  <a:lnTo>
                    <a:pt x="660" y="419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59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5" y="421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3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2" y="423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1" y="424"/>
                  </a:lnTo>
                  <a:lnTo>
                    <a:pt x="651" y="424"/>
                  </a:lnTo>
                  <a:lnTo>
                    <a:pt x="651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1" y="425"/>
                  </a:lnTo>
                  <a:lnTo>
                    <a:pt x="651" y="425"/>
                  </a:lnTo>
                  <a:lnTo>
                    <a:pt x="651" y="424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3" y="424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4" y="423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5" y="422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9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1" y="420"/>
                  </a:lnTo>
                  <a:lnTo>
                    <a:pt x="661" y="419"/>
                  </a:lnTo>
                  <a:lnTo>
                    <a:pt x="661" y="419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5" y="418"/>
                  </a:lnTo>
                  <a:lnTo>
                    <a:pt x="665" y="418"/>
                  </a:lnTo>
                  <a:lnTo>
                    <a:pt x="665" y="417"/>
                  </a:lnTo>
                  <a:lnTo>
                    <a:pt x="666" y="417"/>
                  </a:lnTo>
                  <a:lnTo>
                    <a:pt x="665" y="417"/>
                  </a:lnTo>
                  <a:lnTo>
                    <a:pt x="665" y="417"/>
                  </a:lnTo>
                  <a:lnTo>
                    <a:pt x="666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6" y="418"/>
                  </a:lnTo>
                  <a:lnTo>
                    <a:pt x="667" y="418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6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6"/>
                  </a:lnTo>
                  <a:lnTo>
                    <a:pt x="671" y="416"/>
                  </a:lnTo>
                  <a:lnTo>
                    <a:pt x="670" y="416"/>
                  </a:lnTo>
                  <a:lnTo>
                    <a:pt x="669" y="416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8" y="415"/>
                  </a:lnTo>
                  <a:lnTo>
                    <a:pt x="668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5"/>
                  </a:lnTo>
                  <a:lnTo>
                    <a:pt x="669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70" y="414"/>
                  </a:lnTo>
                  <a:lnTo>
                    <a:pt x="671" y="414"/>
                  </a:lnTo>
                  <a:lnTo>
                    <a:pt x="670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8" y="412"/>
                  </a:lnTo>
                  <a:lnTo>
                    <a:pt x="668" y="412"/>
                  </a:lnTo>
                  <a:lnTo>
                    <a:pt x="668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9" y="408"/>
                  </a:lnTo>
                  <a:lnTo>
                    <a:pt x="668" y="408"/>
                  </a:lnTo>
                  <a:lnTo>
                    <a:pt x="669" y="407"/>
                  </a:lnTo>
                  <a:lnTo>
                    <a:pt x="669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7" y="404"/>
                  </a:lnTo>
                  <a:lnTo>
                    <a:pt x="667" y="405"/>
                  </a:lnTo>
                  <a:lnTo>
                    <a:pt x="666" y="405"/>
                  </a:lnTo>
                  <a:lnTo>
                    <a:pt x="666" y="404"/>
                  </a:lnTo>
                  <a:lnTo>
                    <a:pt x="666" y="404"/>
                  </a:lnTo>
                  <a:lnTo>
                    <a:pt x="666" y="403"/>
                  </a:lnTo>
                  <a:lnTo>
                    <a:pt x="666" y="403"/>
                  </a:lnTo>
                  <a:lnTo>
                    <a:pt x="665" y="403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1"/>
                  </a:lnTo>
                  <a:lnTo>
                    <a:pt x="664" y="401"/>
                  </a:lnTo>
                  <a:lnTo>
                    <a:pt x="664" y="401"/>
                  </a:lnTo>
                  <a:lnTo>
                    <a:pt x="663" y="401"/>
                  </a:lnTo>
                  <a:lnTo>
                    <a:pt x="663" y="400"/>
                  </a:lnTo>
                  <a:lnTo>
                    <a:pt x="663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70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2" y="399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3" y="400"/>
                  </a:lnTo>
                  <a:lnTo>
                    <a:pt x="673" y="401"/>
                  </a:lnTo>
                  <a:lnTo>
                    <a:pt x="673" y="401"/>
                  </a:lnTo>
                  <a:lnTo>
                    <a:pt x="673" y="402"/>
                  </a:lnTo>
                  <a:lnTo>
                    <a:pt x="674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4"/>
                  </a:lnTo>
                  <a:lnTo>
                    <a:pt x="675" y="404"/>
                  </a:lnTo>
                  <a:lnTo>
                    <a:pt x="675" y="405"/>
                  </a:lnTo>
                  <a:lnTo>
                    <a:pt x="675" y="406"/>
                  </a:lnTo>
                  <a:lnTo>
                    <a:pt x="675" y="406"/>
                  </a:lnTo>
                  <a:lnTo>
                    <a:pt x="674" y="406"/>
                  </a:lnTo>
                  <a:lnTo>
                    <a:pt x="674" y="407"/>
                  </a:lnTo>
                  <a:lnTo>
                    <a:pt x="674" y="407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6" y="409"/>
                  </a:lnTo>
                  <a:lnTo>
                    <a:pt x="676" y="410"/>
                  </a:lnTo>
                  <a:lnTo>
                    <a:pt x="677" y="410"/>
                  </a:lnTo>
                  <a:lnTo>
                    <a:pt x="677" y="409"/>
                  </a:lnTo>
                  <a:lnTo>
                    <a:pt x="677" y="409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6" y="410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2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4"/>
                  </a:lnTo>
                  <a:lnTo>
                    <a:pt x="675" y="414"/>
                  </a:lnTo>
                  <a:lnTo>
                    <a:pt x="675" y="414"/>
                  </a:lnTo>
                  <a:lnTo>
                    <a:pt x="675" y="415"/>
                  </a:lnTo>
                  <a:lnTo>
                    <a:pt x="674" y="415"/>
                  </a:lnTo>
                  <a:lnTo>
                    <a:pt x="674" y="415"/>
                  </a:lnTo>
                  <a:lnTo>
                    <a:pt x="674" y="416"/>
                  </a:lnTo>
                  <a:lnTo>
                    <a:pt x="673" y="416"/>
                  </a:lnTo>
                  <a:lnTo>
                    <a:pt x="673" y="416"/>
                  </a:lnTo>
                  <a:lnTo>
                    <a:pt x="673" y="417"/>
                  </a:lnTo>
                  <a:lnTo>
                    <a:pt x="672" y="417"/>
                  </a:lnTo>
                  <a:lnTo>
                    <a:pt x="672" y="417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1" y="420"/>
                  </a:lnTo>
                  <a:lnTo>
                    <a:pt x="671" y="420"/>
                  </a:lnTo>
                  <a:lnTo>
                    <a:pt x="671" y="421"/>
                  </a:lnTo>
                  <a:lnTo>
                    <a:pt x="671" y="421"/>
                  </a:lnTo>
                  <a:lnTo>
                    <a:pt x="670" y="421"/>
                  </a:lnTo>
                  <a:lnTo>
                    <a:pt x="670" y="422"/>
                  </a:lnTo>
                  <a:lnTo>
                    <a:pt x="671" y="422"/>
                  </a:lnTo>
                  <a:lnTo>
                    <a:pt x="671" y="422"/>
                  </a:lnTo>
                  <a:lnTo>
                    <a:pt x="670" y="423"/>
                  </a:lnTo>
                  <a:lnTo>
                    <a:pt x="671" y="423"/>
                  </a:lnTo>
                  <a:lnTo>
                    <a:pt x="671" y="424"/>
                  </a:lnTo>
                  <a:lnTo>
                    <a:pt x="670" y="424"/>
                  </a:lnTo>
                  <a:lnTo>
                    <a:pt x="670" y="425"/>
                  </a:lnTo>
                  <a:lnTo>
                    <a:pt x="671" y="425"/>
                  </a:lnTo>
                  <a:lnTo>
                    <a:pt x="670" y="425"/>
                  </a:lnTo>
                  <a:lnTo>
                    <a:pt x="670" y="425"/>
                  </a:lnTo>
                  <a:lnTo>
                    <a:pt x="669" y="425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7"/>
                  </a:lnTo>
                  <a:lnTo>
                    <a:pt x="669" y="428"/>
                  </a:lnTo>
                  <a:lnTo>
                    <a:pt x="668" y="428"/>
                  </a:lnTo>
                  <a:lnTo>
                    <a:pt x="669" y="428"/>
                  </a:lnTo>
                  <a:lnTo>
                    <a:pt x="669" y="428"/>
                  </a:lnTo>
                  <a:lnTo>
                    <a:pt x="669" y="429"/>
                  </a:lnTo>
                  <a:lnTo>
                    <a:pt x="669" y="429"/>
                  </a:lnTo>
                  <a:lnTo>
                    <a:pt x="668" y="429"/>
                  </a:lnTo>
                  <a:lnTo>
                    <a:pt x="668" y="430"/>
                  </a:lnTo>
                  <a:lnTo>
                    <a:pt x="669" y="431"/>
                  </a:lnTo>
                  <a:lnTo>
                    <a:pt x="669" y="431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4"/>
                  </a:lnTo>
                  <a:lnTo>
                    <a:pt x="669" y="435"/>
                  </a:lnTo>
                  <a:lnTo>
                    <a:pt x="670" y="435"/>
                  </a:lnTo>
                  <a:lnTo>
                    <a:pt x="670" y="435"/>
                  </a:lnTo>
                  <a:lnTo>
                    <a:pt x="671" y="435"/>
                  </a:lnTo>
                  <a:lnTo>
                    <a:pt x="670" y="435"/>
                  </a:lnTo>
                  <a:lnTo>
                    <a:pt x="670" y="436"/>
                  </a:lnTo>
                  <a:lnTo>
                    <a:pt x="669" y="436"/>
                  </a:lnTo>
                  <a:lnTo>
                    <a:pt x="669" y="436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8" y="438"/>
                  </a:lnTo>
                  <a:lnTo>
                    <a:pt x="669" y="438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40"/>
                  </a:lnTo>
                  <a:lnTo>
                    <a:pt x="669" y="440"/>
                  </a:lnTo>
                  <a:lnTo>
                    <a:pt x="669" y="441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3"/>
                  </a:lnTo>
                  <a:lnTo>
                    <a:pt x="668" y="443"/>
                  </a:lnTo>
                  <a:lnTo>
                    <a:pt x="669" y="443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7" y="445"/>
                  </a:lnTo>
                  <a:lnTo>
                    <a:pt x="667" y="444"/>
                  </a:lnTo>
                  <a:lnTo>
                    <a:pt x="667" y="445"/>
                  </a:lnTo>
                  <a:lnTo>
                    <a:pt x="668" y="445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8" y="445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7"/>
                  </a:lnTo>
                  <a:lnTo>
                    <a:pt x="667" y="447"/>
                  </a:lnTo>
                  <a:lnTo>
                    <a:pt x="668" y="447"/>
                  </a:lnTo>
                  <a:lnTo>
                    <a:pt x="668" y="447"/>
                  </a:lnTo>
                  <a:lnTo>
                    <a:pt x="667" y="448"/>
                  </a:lnTo>
                  <a:lnTo>
                    <a:pt x="667" y="447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9"/>
                  </a:lnTo>
                  <a:lnTo>
                    <a:pt x="668" y="449"/>
                  </a:lnTo>
                  <a:lnTo>
                    <a:pt x="668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1"/>
                  </a:lnTo>
                  <a:lnTo>
                    <a:pt x="667" y="451"/>
                  </a:lnTo>
                  <a:lnTo>
                    <a:pt x="667" y="452"/>
                  </a:lnTo>
                  <a:lnTo>
                    <a:pt x="667" y="453"/>
                  </a:lnTo>
                  <a:lnTo>
                    <a:pt x="667" y="453"/>
                  </a:lnTo>
                  <a:lnTo>
                    <a:pt x="667" y="454"/>
                  </a:lnTo>
                  <a:lnTo>
                    <a:pt x="667" y="454"/>
                  </a:lnTo>
                  <a:lnTo>
                    <a:pt x="667" y="455"/>
                  </a:lnTo>
                  <a:lnTo>
                    <a:pt x="666" y="455"/>
                  </a:lnTo>
                  <a:lnTo>
                    <a:pt x="665" y="455"/>
                  </a:lnTo>
                  <a:lnTo>
                    <a:pt x="665" y="455"/>
                  </a:lnTo>
                  <a:lnTo>
                    <a:pt x="665" y="456"/>
                  </a:lnTo>
                  <a:lnTo>
                    <a:pt x="665" y="456"/>
                  </a:lnTo>
                  <a:lnTo>
                    <a:pt x="664" y="456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3" y="457"/>
                  </a:lnTo>
                  <a:lnTo>
                    <a:pt x="663" y="458"/>
                  </a:lnTo>
                  <a:lnTo>
                    <a:pt x="662" y="458"/>
                  </a:lnTo>
                  <a:lnTo>
                    <a:pt x="662" y="458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1" y="459"/>
                  </a:lnTo>
                  <a:lnTo>
                    <a:pt x="661" y="460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2"/>
                  </a:lnTo>
                  <a:lnTo>
                    <a:pt x="659" y="462"/>
                  </a:lnTo>
                  <a:lnTo>
                    <a:pt x="659" y="462"/>
                  </a:lnTo>
                  <a:lnTo>
                    <a:pt x="659" y="463"/>
                  </a:lnTo>
                  <a:lnTo>
                    <a:pt x="658" y="463"/>
                  </a:lnTo>
                  <a:lnTo>
                    <a:pt x="658" y="464"/>
                  </a:lnTo>
                  <a:lnTo>
                    <a:pt x="658" y="464"/>
                  </a:lnTo>
                  <a:lnTo>
                    <a:pt x="658" y="465"/>
                  </a:lnTo>
                  <a:lnTo>
                    <a:pt x="658" y="465"/>
                  </a:lnTo>
                  <a:lnTo>
                    <a:pt x="657" y="465"/>
                  </a:lnTo>
                  <a:lnTo>
                    <a:pt x="657" y="466"/>
                  </a:lnTo>
                  <a:lnTo>
                    <a:pt x="657" y="466"/>
                  </a:lnTo>
                  <a:lnTo>
                    <a:pt x="657" y="467"/>
                  </a:lnTo>
                  <a:lnTo>
                    <a:pt x="657" y="467"/>
                  </a:lnTo>
                  <a:lnTo>
                    <a:pt x="657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9"/>
                  </a:lnTo>
                  <a:lnTo>
                    <a:pt x="655" y="469"/>
                  </a:lnTo>
                  <a:lnTo>
                    <a:pt x="655" y="469"/>
                  </a:lnTo>
                  <a:lnTo>
                    <a:pt x="654" y="470"/>
                  </a:lnTo>
                  <a:lnTo>
                    <a:pt x="654" y="470"/>
                  </a:lnTo>
                  <a:lnTo>
                    <a:pt x="654" y="471"/>
                  </a:lnTo>
                  <a:lnTo>
                    <a:pt x="653" y="471"/>
                  </a:lnTo>
                  <a:lnTo>
                    <a:pt x="653" y="472"/>
                  </a:lnTo>
                  <a:lnTo>
                    <a:pt x="653" y="472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2" y="473"/>
                  </a:lnTo>
                  <a:lnTo>
                    <a:pt x="652" y="474"/>
                  </a:lnTo>
                  <a:lnTo>
                    <a:pt x="652" y="474"/>
                  </a:lnTo>
                  <a:lnTo>
                    <a:pt x="652" y="475"/>
                  </a:lnTo>
                  <a:lnTo>
                    <a:pt x="651" y="475"/>
                  </a:lnTo>
                  <a:lnTo>
                    <a:pt x="651" y="476"/>
                  </a:lnTo>
                  <a:lnTo>
                    <a:pt x="652" y="476"/>
                  </a:lnTo>
                  <a:lnTo>
                    <a:pt x="652" y="476"/>
                  </a:lnTo>
                  <a:lnTo>
                    <a:pt x="651" y="476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0" y="477"/>
                  </a:lnTo>
                  <a:lnTo>
                    <a:pt x="650" y="478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80"/>
                  </a:lnTo>
                  <a:lnTo>
                    <a:pt x="650" y="480"/>
                  </a:lnTo>
                  <a:lnTo>
                    <a:pt x="649" y="480"/>
                  </a:lnTo>
                  <a:lnTo>
                    <a:pt x="649" y="481"/>
                  </a:lnTo>
                  <a:lnTo>
                    <a:pt x="649" y="481"/>
                  </a:lnTo>
                  <a:lnTo>
                    <a:pt x="649" y="482"/>
                  </a:lnTo>
                  <a:lnTo>
                    <a:pt x="648" y="482"/>
                  </a:lnTo>
                  <a:lnTo>
                    <a:pt x="648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6" y="484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5" y="486"/>
                  </a:lnTo>
                  <a:lnTo>
                    <a:pt x="645" y="487"/>
                  </a:lnTo>
                  <a:lnTo>
                    <a:pt x="645" y="487"/>
                  </a:lnTo>
                  <a:lnTo>
                    <a:pt x="644" y="487"/>
                  </a:lnTo>
                  <a:lnTo>
                    <a:pt x="644" y="487"/>
                  </a:lnTo>
                  <a:lnTo>
                    <a:pt x="643" y="487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9"/>
                  </a:lnTo>
                  <a:lnTo>
                    <a:pt x="642" y="489"/>
                  </a:lnTo>
                  <a:lnTo>
                    <a:pt x="642" y="490"/>
                  </a:lnTo>
                  <a:lnTo>
                    <a:pt x="642" y="490"/>
                  </a:lnTo>
                  <a:lnTo>
                    <a:pt x="641" y="490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0" y="491"/>
                  </a:lnTo>
                  <a:lnTo>
                    <a:pt x="639" y="492"/>
                  </a:lnTo>
                  <a:lnTo>
                    <a:pt x="639" y="492"/>
                  </a:lnTo>
                  <a:lnTo>
                    <a:pt x="639" y="493"/>
                  </a:lnTo>
                  <a:lnTo>
                    <a:pt x="639" y="493"/>
                  </a:lnTo>
                  <a:lnTo>
                    <a:pt x="639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5"/>
                  </a:lnTo>
                  <a:lnTo>
                    <a:pt x="638" y="495"/>
                  </a:lnTo>
                  <a:lnTo>
                    <a:pt x="637" y="495"/>
                  </a:lnTo>
                  <a:lnTo>
                    <a:pt x="637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7"/>
                  </a:lnTo>
                  <a:lnTo>
                    <a:pt x="635" y="497"/>
                  </a:lnTo>
                  <a:lnTo>
                    <a:pt x="636" y="497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4" y="500"/>
                  </a:lnTo>
                  <a:lnTo>
                    <a:pt x="634" y="500"/>
                  </a:lnTo>
                  <a:lnTo>
                    <a:pt x="634" y="501"/>
                  </a:lnTo>
                  <a:lnTo>
                    <a:pt x="633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1" y="501"/>
                  </a:lnTo>
                  <a:lnTo>
                    <a:pt x="631" y="502"/>
                  </a:lnTo>
                  <a:lnTo>
                    <a:pt x="632" y="502"/>
                  </a:lnTo>
                  <a:lnTo>
                    <a:pt x="631" y="502"/>
                  </a:lnTo>
                  <a:lnTo>
                    <a:pt x="631" y="502"/>
                  </a:lnTo>
                  <a:lnTo>
                    <a:pt x="631" y="503"/>
                  </a:lnTo>
                  <a:lnTo>
                    <a:pt x="631" y="503"/>
                  </a:lnTo>
                  <a:lnTo>
                    <a:pt x="630" y="503"/>
                  </a:lnTo>
                  <a:lnTo>
                    <a:pt x="630" y="504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29" y="505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9" y="507"/>
                  </a:lnTo>
                  <a:lnTo>
                    <a:pt x="629" y="506"/>
                  </a:lnTo>
                  <a:lnTo>
                    <a:pt x="629" y="507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8" y="508"/>
                  </a:lnTo>
                  <a:lnTo>
                    <a:pt x="628" y="508"/>
                  </a:lnTo>
                  <a:lnTo>
                    <a:pt x="628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8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6" y="511"/>
                  </a:lnTo>
                  <a:lnTo>
                    <a:pt x="625" y="511"/>
                  </a:lnTo>
                  <a:lnTo>
                    <a:pt x="625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2" y="513"/>
                  </a:lnTo>
                  <a:lnTo>
                    <a:pt x="623" y="513"/>
                  </a:lnTo>
                  <a:lnTo>
                    <a:pt x="622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0" y="515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5"/>
                  </a:lnTo>
                  <a:lnTo>
                    <a:pt x="620" y="515"/>
                  </a:lnTo>
                  <a:lnTo>
                    <a:pt x="620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8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8"/>
                  </a:lnTo>
                  <a:lnTo>
                    <a:pt x="616" y="518"/>
                  </a:lnTo>
                  <a:lnTo>
                    <a:pt x="616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9"/>
                  </a:lnTo>
                  <a:lnTo>
                    <a:pt x="615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3" y="518"/>
                  </a:lnTo>
                  <a:lnTo>
                    <a:pt x="613" y="519"/>
                  </a:lnTo>
                  <a:lnTo>
                    <a:pt x="612" y="519"/>
                  </a:lnTo>
                  <a:lnTo>
                    <a:pt x="612" y="519"/>
                  </a:lnTo>
                  <a:lnTo>
                    <a:pt x="612" y="520"/>
                  </a:lnTo>
                  <a:lnTo>
                    <a:pt x="612" y="519"/>
                  </a:lnTo>
                  <a:lnTo>
                    <a:pt x="611" y="519"/>
                  </a:lnTo>
                  <a:lnTo>
                    <a:pt x="611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19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8" y="518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20"/>
                  </a:lnTo>
                  <a:lnTo>
                    <a:pt x="607" y="520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7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7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4" y="516"/>
                  </a:lnTo>
                  <a:lnTo>
                    <a:pt x="604" y="515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5"/>
                  </a:lnTo>
                  <a:lnTo>
                    <a:pt x="601" y="515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5"/>
                  </a:lnTo>
                  <a:lnTo>
                    <a:pt x="600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599" y="513"/>
                  </a:lnTo>
                  <a:lnTo>
                    <a:pt x="599" y="513"/>
                  </a:lnTo>
                  <a:lnTo>
                    <a:pt x="599" y="514"/>
                  </a:lnTo>
                  <a:lnTo>
                    <a:pt x="599" y="514"/>
                  </a:lnTo>
                  <a:lnTo>
                    <a:pt x="598" y="514"/>
                  </a:lnTo>
                  <a:lnTo>
                    <a:pt x="599" y="514"/>
                  </a:lnTo>
                  <a:lnTo>
                    <a:pt x="599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6"/>
                  </a:lnTo>
                  <a:lnTo>
                    <a:pt x="598" y="516"/>
                  </a:lnTo>
                  <a:lnTo>
                    <a:pt x="597" y="516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8"/>
                  </a:lnTo>
                  <a:lnTo>
                    <a:pt x="597" y="518"/>
                  </a:lnTo>
                  <a:lnTo>
                    <a:pt x="597" y="518"/>
                  </a:lnTo>
                  <a:lnTo>
                    <a:pt x="596" y="518"/>
                  </a:lnTo>
                  <a:lnTo>
                    <a:pt x="595" y="518"/>
                  </a:lnTo>
                  <a:lnTo>
                    <a:pt x="595" y="519"/>
                  </a:lnTo>
                  <a:lnTo>
                    <a:pt x="596" y="519"/>
                  </a:lnTo>
                  <a:lnTo>
                    <a:pt x="595" y="519"/>
                  </a:lnTo>
                  <a:lnTo>
                    <a:pt x="595" y="519"/>
                  </a:lnTo>
                  <a:lnTo>
                    <a:pt x="595" y="520"/>
                  </a:lnTo>
                  <a:lnTo>
                    <a:pt x="595" y="520"/>
                  </a:lnTo>
                  <a:lnTo>
                    <a:pt x="594" y="520"/>
                  </a:lnTo>
                  <a:lnTo>
                    <a:pt x="595" y="520"/>
                  </a:lnTo>
                  <a:lnTo>
                    <a:pt x="594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0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0"/>
                  </a:lnTo>
                  <a:lnTo>
                    <a:pt x="590" y="520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2"/>
                  </a:lnTo>
                  <a:lnTo>
                    <a:pt x="592" y="522"/>
                  </a:lnTo>
                  <a:lnTo>
                    <a:pt x="591" y="522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0" y="524"/>
                  </a:lnTo>
                  <a:lnTo>
                    <a:pt x="590" y="525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3"/>
                  </a:lnTo>
                  <a:lnTo>
                    <a:pt x="590" y="523"/>
                  </a:lnTo>
                  <a:lnTo>
                    <a:pt x="589" y="523"/>
                  </a:lnTo>
                  <a:lnTo>
                    <a:pt x="589" y="522"/>
                  </a:lnTo>
                  <a:lnTo>
                    <a:pt x="589" y="521"/>
                  </a:lnTo>
                  <a:lnTo>
                    <a:pt x="590" y="521"/>
                  </a:lnTo>
                  <a:lnTo>
                    <a:pt x="590" y="522"/>
                  </a:lnTo>
                  <a:lnTo>
                    <a:pt x="590" y="521"/>
                  </a:lnTo>
                  <a:lnTo>
                    <a:pt x="590" y="521"/>
                  </a:lnTo>
                  <a:lnTo>
                    <a:pt x="590" y="520"/>
                  </a:lnTo>
                  <a:lnTo>
                    <a:pt x="589" y="520"/>
                  </a:lnTo>
                  <a:lnTo>
                    <a:pt x="589" y="520"/>
                  </a:lnTo>
                  <a:lnTo>
                    <a:pt x="588" y="520"/>
                  </a:lnTo>
                  <a:lnTo>
                    <a:pt x="588" y="520"/>
                  </a:lnTo>
                  <a:lnTo>
                    <a:pt x="589" y="520"/>
                  </a:lnTo>
                  <a:lnTo>
                    <a:pt x="589" y="519"/>
                  </a:lnTo>
                  <a:lnTo>
                    <a:pt x="589" y="519"/>
                  </a:lnTo>
                  <a:lnTo>
                    <a:pt x="589" y="518"/>
                  </a:lnTo>
                  <a:lnTo>
                    <a:pt x="590" y="519"/>
                  </a:lnTo>
                  <a:lnTo>
                    <a:pt x="590" y="518"/>
                  </a:lnTo>
                  <a:lnTo>
                    <a:pt x="590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2" y="518"/>
                  </a:lnTo>
                  <a:lnTo>
                    <a:pt x="592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7"/>
                  </a:lnTo>
                  <a:lnTo>
                    <a:pt x="594" y="518"/>
                  </a:lnTo>
                  <a:lnTo>
                    <a:pt x="594" y="517"/>
                  </a:lnTo>
                  <a:lnTo>
                    <a:pt x="594" y="517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5"/>
                  </a:lnTo>
                  <a:lnTo>
                    <a:pt x="594" y="514"/>
                  </a:lnTo>
                  <a:lnTo>
                    <a:pt x="594" y="514"/>
                  </a:lnTo>
                  <a:lnTo>
                    <a:pt x="595" y="514"/>
                  </a:lnTo>
                  <a:lnTo>
                    <a:pt x="595" y="513"/>
                  </a:lnTo>
                  <a:lnTo>
                    <a:pt x="595" y="513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1"/>
                  </a:lnTo>
                  <a:lnTo>
                    <a:pt x="594" y="511"/>
                  </a:lnTo>
                  <a:lnTo>
                    <a:pt x="594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09"/>
                  </a:lnTo>
                  <a:lnTo>
                    <a:pt x="594" y="509"/>
                  </a:lnTo>
                  <a:lnTo>
                    <a:pt x="594" y="509"/>
                  </a:lnTo>
                  <a:lnTo>
                    <a:pt x="595" y="509"/>
                  </a:lnTo>
                  <a:lnTo>
                    <a:pt x="594" y="508"/>
                  </a:lnTo>
                  <a:lnTo>
                    <a:pt x="594" y="507"/>
                  </a:lnTo>
                  <a:lnTo>
                    <a:pt x="594" y="507"/>
                  </a:lnTo>
                  <a:lnTo>
                    <a:pt x="595" y="507"/>
                  </a:lnTo>
                  <a:lnTo>
                    <a:pt x="595" y="506"/>
                  </a:lnTo>
                  <a:lnTo>
                    <a:pt x="595" y="506"/>
                  </a:lnTo>
                  <a:lnTo>
                    <a:pt x="595" y="505"/>
                  </a:lnTo>
                  <a:lnTo>
                    <a:pt x="595" y="505"/>
                  </a:lnTo>
                  <a:lnTo>
                    <a:pt x="595" y="504"/>
                  </a:lnTo>
                  <a:lnTo>
                    <a:pt x="595" y="503"/>
                  </a:lnTo>
                  <a:lnTo>
                    <a:pt x="595" y="502"/>
                  </a:lnTo>
                  <a:lnTo>
                    <a:pt x="594" y="501"/>
                  </a:lnTo>
                  <a:lnTo>
                    <a:pt x="594" y="501"/>
                  </a:lnTo>
                  <a:lnTo>
                    <a:pt x="594" y="499"/>
                  </a:lnTo>
                  <a:lnTo>
                    <a:pt x="594" y="498"/>
                  </a:lnTo>
                  <a:lnTo>
                    <a:pt x="594" y="497"/>
                  </a:lnTo>
                  <a:lnTo>
                    <a:pt x="593" y="497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5" y="495"/>
                  </a:lnTo>
                  <a:lnTo>
                    <a:pt x="595" y="495"/>
                  </a:lnTo>
                  <a:lnTo>
                    <a:pt x="595" y="494"/>
                  </a:lnTo>
                  <a:lnTo>
                    <a:pt x="596" y="494"/>
                  </a:lnTo>
                  <a:lnTo>
                    <a:pt x="596" y="495"/>
                  </a:lnTo>
                  <a:lnTo>
                    <a:pt x="597" y="495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8" y="494"/>
                  </a:lnTo>
                  <a:lnTo>
                    <a:pt x="598" y="493"/>
                  </a:lnTo>
                  <a:lnTo>
                    <a:pt x="598" y="493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1"/>
                  </a:lnTo>
                  <a:lnTo>
                    <a:pt x="599" y="492"/>
                  </a:lnTo>
                  <a:lnTo>
                    <a:pt x="599" y="491"/>
                  </a:lnTo>
                  <a:lnTo>
                    <a:pt x="600" y="491"/>
                  </a:lnTo>
                  <a:lnTo>
                    <a:pt x="600" y="490"/>
                  </a:lnTo>
                  <a:lnTo>
                    <a:pt x="600" y="490"/>
                  </a:lnTo>
                  <a:lnTo>
                    <a:pt x="600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3" y="492"/>
                  </a:lnTo>
                  <a:lnTo>
                    <a:pt x="604" y="492"/>
                  </a:lnTo>
                  <a:lnTo>
                    <a:pt x="605" y="492"/>
                  </a:lnTo>
                  <a:lnTo>
                    <a:pt x="607" y="493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0"/>
                  </a:lnTo>
                  <a:lnTo>
                    <a:pt x="610" y="490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3" y="486"/>
                  </a:lnTo>
                  <a:lnTo>
                    <a:pt x="612" y="486"/>
                  </a:lnTo>
                  <a:lnTo>
                    <a:pt x="612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4" y="484"/>
                  </a:lnTo>
                  <a:lnTo>
                    <a:pt x="613" y="484"/>
                  </a:lnTo>
                  <a:lnTo>
                    <a:pt x="613" y="483"/>
                  </a:lnTo>
                  <a:lnTo>
                    <a:pt x="614" y="483"/>
                  </a:lnTo>
                  <a:lnTo>
                    <a:pt x="615" y="483"/>
                  </a:lnTo>
                  <a:lnTo>
                    <a:pt x="615" y="483"/>
                  </a:lnTo>
                  <a:lnTo>
                    <a:pt x="615" y="482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8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7" y="476"/>
                  </a:lnTo>
                  <a:lnTo>
                    <a:pt x="617" y="475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2"/>
                  </a:lnTo>
                  <a:lnTo>
                    <a:pt x="617" y="472"/>
                  </a:lnTo>
                  <a:lnTo>
                    <a:pt x="617" y="471"/>
                  </a:lnTo>
                  <a:lnTo>
                    <a:pt x="618" y="470"/>
                  </a:lnTo>
                  <a:lnTo>
                    <a:pt x="618" y="470"/>
                  </a:lnTo>
                  <a:lnTo>
                    <a:pt x="619" y="470"/>
                  </a:lnTo>
                  <a:lnTo>
                    <a:pt x="619" y="469"/>
                  </a:lnTo>
                  <a:lnTo>
                    <a:pt x="619" y="469"/>
                  </a:lnTo>
                  <a:lnTo>
                    <a:pt x="618" y="469"/>
                  </a:lnTo>
                  <a:lnTo>
                    <a:pt x="618" y="468"/>
                  </a:lnTo>
                  <a:lnTo>
                    <a:pt x="618" y="468"/>
                  </a:lnTo>
                  <a:lnTo>
                    <a:pt x="619" y="468"/>
                  </a:lnTo>
                  <a:lnTo>
                    <a:pt x="619" y="467"/>
                  </a:lnTo>
                  <a:lnTo>
                    <a:pt x="619" y="467"/>
                  </a:lnTo>
                  <a:lnTo>
                    <a:pt x="619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1" y="466"/>
                  </a:lnTo>
                  <a:lnTo>
                    <a:pt x="621" y="466"/>
                  </a:lnTo>
                  <a:lnTo>
                    <a:pt x="621" y="465"/>
                  </a:lnTo>
                  <a:lnTo>
                    <a:pt x="622" y="465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3" y="464"/>
                  </a:lnTo>
                  <a:lnTo>
                    <a:pt x="623" y="463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2" y="462"/>
                  </a:lnTo>
                  <a:lnTo>
                    <a:pt x="622" y="461"/>
                  </a:lnTo>
                  <a:lnTo>
                    <a:pt x="622" y="461"/>
                  </a:lnTo>
                  <a:lnTo>
                    <a:pt x="621" y="461"/>
                  </a:lnTo>
                  <a:lnTo>
                    <a:pt x="621" y="460"/>
                  </a:lnTo>
                  <a:lnTo>
                    <a:pt x="621" y="459"/>
                  </a:lnTo>
                  <a:lnTo>
                    <a:pt x="621" y="459"/>
                  </a:lnTo>
                  <a:lnTo>
                    <a:pt x="622" y="458"/>
                  </a:lnTo>
                  <a:lnTo>
                    <a:pt x="622" y="458"/>
                  </a:lnTo>
                  <a:lnTo>
                    <a:pt x="622" y="457"/>
                  </a:lnTo>
                  <a:lnTo>
                    <a:pt x="622" y="457"/>
                  </a:lnTo>
                  <a:lnTo>
                    <a:pt x="623" y="457"/>
                  </a:lnTo>
                  <a:lnTo>
                    <a:pt x="623" y="456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2" y="455"/>
                  </a:lnTo>
                  <a:lnTo>
                    <a:pt x="621" y="455"/>
                  </a:lnTo>
                  <a:lnTo>
                    <a:pt x="621" y="455"/>
                  </a:lnTo>
                  <a:lnTo>
                    <a:pt x="620" y="455"/>
                  </a:lnTo>
                  <a:lnTo>
                    <a:pt x="620" y="455"/>
                  </a:lnTo>
                  <a:lnTo>
                    <a:pt x="619" y="455"/>
                  </a:lnTo>
                  <a:lnTo>
                    <a:pt x="619" y="455"/>
                  </a:lnTo>
                  <a:lnTo>
                    <a:pt x="618" y="455"/>
                  </a:lnTo>
                  <a:lnTo>
                    <a:pt x="619" y="455"/>
                  </a:lnTo>
                  <a:lnTo>
                    <a:pt x="619" y="456"/>
                  </a:lnTo>
                  <a:lnTo>
                    <a:pt x="618" y="456"/>
                  </a:lnTo>
                  <a:lnTo>
                    <a:pt x="617" y="456"/>
                  </a:lnTo>
                  <a:lnTo>
                    <a:pt x="617" y="455"/>
                  </a:lnTo>
                  <a:lnTo>
                    <a:pt x="617" y="456"/>
                  </a:lnTo>
                  <a:lnTo>
                    <a:pt x="617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5" y="457"/>
                  </a:lnTo>
                  <a:lnTo>
                    <a:pt x="615" y="458"/>
                  </a:lnTo>
                  <a:lnTo>
                    <a:pt x="615" y="458"/>
                  </a:lnTo>
                  <a:lnTo>
                    <a:pt x="614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9"/>
                  </a:lnTo>
                  <a:lnTo>
                    <a:pt x="612" y="459"/>
                  </a:lnTo>
                  <a:lnTo>
                    <a:pt x="612" y="458"/>
                  </a:lnTo>
                  <a:lnTo>
                    <a:pt x="612" y="458"/>
                  </a:lnTo>
                  <a:lnTo>
                    <a:pt x="611" y="458"/>
                  </a:lnTo>
                  <a:lnTo>
                    <a:pt x="610" y="458"/>
                  </a:lnTo>
                  <a:lnTo>
                    <a:pt x="610" y="458"/>
                  </a:lnTo>
                  <a:lnTo>
                    <a:pt x="609" y="458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8" y="459"/>
                  </a:lnTo>
                  <a:lnTo>
                    <a:pt x="608" y="459"/>
                  </a:lnTo>
                  <a:lnTo>
                    <a:pt x="608" y="460"/>
                  </a:lnTo>
                  <a:lnTo>
                    <a:pt x="607" y="461"/>
                  </a:lnTo>
                  <a:lnTo>
                    <a:pt x="606" y="460"/>
                  </a:lnTo>
                  <a:lnTo>
                    <a:pt x="606" y="460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4" y="463"/>
                  </a:lnTo>
                  <a:lnTo>
                    <a:pt x="604" y="463"/>
                  </a:lnTo>
                  <a:lnTo>
                    <a:pt x="603" y="463"/>
                  </a:lnTo>
                  <a:lnTo>
                    <a:pt x="602" y="463"/>
                  </a:lnTo>
                  <a:lnTo>
                    <a:pt x="602" y="463"/>
                  </a:lnTo>
                  <a:lnTo>
                    <a:pt x="601" y="463"/>
                  </a:lnTo>
                  <a:lnTo>
                    <a:pt x="601" y="463"/>
                  </a:lnTo>
                  <a:lnTo>
                    <a:pt x="601" y="464"/>
                  </a:lnTo>
                  <a:lnTo>
                    <a:pt x="600" y="464"/>
                  </a:lnTo>
                  <a:lnTo>
                    <a:pt x="600" y="464"/>
                  </a:lnTo>
                  <a:lnTo>
                    <a:pt x="599" y="464"/>
                  </a:lnTo>
                  <a:lnTo>
                    <a:pt x="599" y="463"/>
                  </a:lnTo>
                  <a:lnTo>
                    <a:pt x="598" y="463"/>
                  </a:lnTo>
                  <a:lnTo>
                    <a:pt x="598" y="464"/>
                  </a:lnTo>
                  <a:lnTo>
                    <a:pt x="597" y="464"/>
                  </a:lnTo>
                  <a:lnTo>
                    <a:pt x="597" y="463"/>
                  </a:lnTo>
                  <a:lnTo>
                    <a:pt x="597" y="463"/>
                  </a:lnTo>
                  <a:lnTo>
                    <a:pt x="597" y="462"/>
                  </a:lnTo>
                  <a:lnTo>
                    <a:pt x="596" y="462"/>
                  </a:lnTo>
                  <a:lnTo>
                    <a:pt x="596" y="463"/>
                  </a:lnTo>
                  <a:lnTo>
                    <a:pt x="595" y="463"/>
                  </a:lnTo>
                  <a:lnTo>
                    <a:pt x="595" y="463"/>
                  </a:lnTo>
                  <a:lnTo>
                    <a:pt x="594" y="463"/>
                  </a:lnTo>
                  <a:lnTo>
                    <a:pt x="594" y="464"/>
                  </a:lnTo>
                  <a:lnTo>
                    <a:pt x="593" y="464"/>
                  </a:lnTo>
                  <a:lnTo>
                    <a:pt x="593" y="463"/>
                  </a:lnTo>
                  <a:lnTo>
                    <a:pt x="593" y="463"/>
                  </a:lnTo>
                  <a:lnTo>
                    <a:pt x="593" y="462"/>
                  </a:lnTo>
                  <a:lnTo>
                    <a:pt x="593" y="462"/>
                  </a:lnTo>
                  <a:lnTo>
                    <a:pt x="592" y="462"/>
                  </a:lnTo>
                  <a:lnTo>
                    <a:pt x="592" y="461"/>
                  </a:lnTo>
                  <a:lnTo>
                    <a:pt x="592" y="461"/>
                  </a:lnTo>
                  <a:lnTo>
                    <a:pt x="591" y="461"/>
                  </a:lnTo>
                  <a:lnTo>
                    <a:pt x="591" y="460"/>
                  </a:lnTo>
                  <a:lnTo>
                    <a:pt x="591" y="459"/>
                  </a:lnTo>
                  <a:lnTo>
                    <a:pt x="590" y="459"/>
                  </a:lnTo>
                  <a:lnTo>
                    <a:pt x="590" y="459"/>
                  </a:lnTo>
                  <a:lnTo>
                    <a:pt x="590" y="458"/>
                  </a:lnTo>
                  <a:lnTo>
                    <a:pt x="590" y="458"/>
                  </a:lnTo>
                  <a:lnTo>
                    <a:pt x="591" y="458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6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4"/>
                  </a:lnTo>
                  <a:lnTo>
                    <a:pt x="591" y="454"/>
                  </a:lnTo>
                  <a:lnTo>
                    <a:pt x="590" y="454"/>
                  </a:lnTo>
                  <a:lnTo>
                    <a:pt x="590" y="454"/>
                  </a:lnTo>
                  <a:lnTo>
                    <a:pt x="590" y="453"/>
                  </a:lnTo>
                  <a:lnTo>
                    <a:pt x="590" y="453"/>
                  </a:lnTo>
                  <a:lnTo>
                    <a:pt x="589" y="453"/>
                  </a:lnTo>
                  <a:lnTo>
                    <a:pt x="589" y="452"/>
                  </a:lnTo>
                  <a:lnTo>
                    <a:pt x="589" y="451"/>
                  </a:lnTo>
                  <a:lnTo>
                    <a:pt x="590" y="451"/>
                  </a:lnTo>
                  <a:lnTo>
                    <a:pt x="590" y="451"/>
                  </a:lnTo>
                  <a:lnTo>
                    <a:pt x="590" y="450"/>
                  </a:lnTo>
                  <a:lnTo>
                    <a:pt x="590" y="450"/>
                  </a:lnTo>
                  <a:lnTo>
                    <a:pt x="590" y="449"/>
                  </a:lnTo>
                  <a:lnTo>
                    <a:pt x="590" y="449"/>
                  </a:lnTo>
                  <a:lnTo>
                    <a:pt x="590" y="450"/>
                  </a:lnTo>
                  <a:lnTo>
                    <a:pt x="589" y="450"/>
                  </a:lnTo>
                  <a:lnTo>
                    <a:pt x="589" y="450"/>
                  </a:lnTo>
                  <a:lnTo>
                    <a:pt x="589" y="449"/>
                  </a:lnTo>
                  <a:lnTo>
                    <a:pt x="588" y="449"/>
                  </a:lnTo>
                  <a:lnTo>
                    <a:pt x="587" y="449"/>
                  </a:lnTo>
                  <a:lnTo>
                    <a:pt x="587" y="450"/>
                  </a:lnTo>
                  <a:lnTo>
                    <a:pt x="587" y="450"/>
                  </a:lnTo>
                  <a:lnTo>
                    <a:pt x="586" y="449"/>
                  </a:lnTo>
                  <a:lnTo>
                    <a:pt x="586" y="448"/>
                  </a:lnTo>
                  <a:lnTo>
                    <a:pt x="585" y="448"/>
                  </a:lnTo>
                  <a:lnTo>
                    <a:pt x="585" y="448"/>
                  </a:lnTo>
                  <a:lnTo>
                    <a:pt x="584" y="448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3" y="447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5"/>
                  </a:lnTo>
                  <a:lnTo>
                    <a:pt x="583" y="444"/>
                  </a:lnTo>
                  <a:lnTo>
                    <a:pt x="582" y="444"/>
                  </a:lnTo>
                  <a:lnTo>
                    <a:pt x="582" y="444"/>
                  </a:lnTo>
                  <a:lnTo>
                    <a:pt x="581" y="444"/>
                  </a:lnTo>
                  <a:lnTo>
                    <a:pt x="581" y="444"/>
                  </a:lnTo>
                  <a:lnTo>
                    <a:pt x="581" y="443"/>
                  </a:lnTo>
                  <a:lnTo>
                    <a:pt x="580" y="443"/>
                  </a:lnTo>
                  <a:lnTo>
                    <a:pt x="580" y="443"/>
                  </a:lnTo>
                  <a:lnTo>
                    <a:pt x="580" y="444"/>
                  </a:lnTo>
                  <a:lnTo>
                    <a:pt x="579" y="444"/>
                  </a:lnTo>
                  <a:lnTo>
                    <a:pt x="579" y="443"/>
                  </a:lnTo>
                  <a:lnTo>
                    <a:pt x="579" y="443"/>
                  </a:lnTo>
                  <a:lnTo>
                    <a:pt x="578" y="443"/>
                  </a:lnTo>
                  <a:lnTo>
                    <a:pt x="578" y="444"/>
                  </a:lnTo>
                  <a:lnTo>
                    <a:pt x="578" y="444"/>
                  </a:lnTo>
                  <a:lnTo>
                    <a:pt x="577" y="444"/>
                  </a:lnTo>
                  <a:lnTo>
                    <a:pt x="577" y="443"/>
                  </a:lnTo>
                  <a:lnTo>
                    <a:pt x="577" y="443"/>
                  </a:lnTo>
                  <a:lnTo>
                    <a:pt x="576" y="443"/>
                  </a:lnTo>
                  <a:lnTo>
                    <a:pt x="576" y="443"/>
                  </a:lnTo>
                  <a:lnTo>
                    <a:pt x="576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1"/>
                  </a:lnTo>
                  <a:lnTo>
                    <a:pt x="575" y="441"/>
                  </a:lnTo>
                  <a:lnTo>
                    <a:pt x="575" y="442"/>
                  </a:lnTo>
                  <a:lnTo>
                    <a:pt x="574" y="442"/>
                  </a:lnTo>
                  <a:lnTo>
                    <a:pt x="574" y="441"/>
                  </a:lnTo>
                  <a:lnTo>
                    <a:pt x="574" y="441"/>
                  </a:lnTo>
                  <a:lnTo>
                    <a:pt x="573" y="441"/>
                  </a:lnTo>
                  <a:lnTo>
                    <a:pt x="572" y="441"/>
                  </a:lnTo>
                  <a:lnTo>
                    <a:pt x="572" y="442"/>
                  </a:lnTo>
                  <a:lnTo>
                    <a:pt x="571" y="442"/>
                  </a:lnTo>
                  <a:lnTo>
                    <a:pt x="571" y="442"/>
                  </a:lnTo>
                  <a:lnTo>
                    <a:pt x="570" y="442"/>
                  </a:lnTo>
                  <a:lnTo>
                    <a:pt x="569" y="442"/>
                  </a:lnTo>
                  <a:lnTo>
                    <a:pt x="569" y="442"/>
                  </a:lnTo>
                  <a:lnTo>
                    <a:pt x="568" y="442"/>
                  </a:lnTo>
                  <a:lnTo>
                    <a:pt x="568" y="441"/>
                  </a:lnTo>
                  <a:lnTo>
                    <a:pt x="568" y="441"/>
                  </a:lnTo>
                  <a:lnTo>
                    <a:pt x="567" y="441"/>
                  </a:lnTo>
                  <a:lnTo>
                    <a:pt x="567" y="441"/>
                  </a:lnTo>
                  <a:lnTo>
                    <a:pt x="567" y="440"/>
                  </a:lnTo>
                  <a:lnTo>
                    <a:pt x="566" y="440"/>
                  </a:lnTo>
                  <a:lnTo>
                    <a:pt x="566" y="440"/>
                  </a:lnTo>
                  <a:lnTo>
                    <a:pt x="566" y="439"/>
                  </a:lnTo>
                  <a:lnTo>
                    <a:pt x="566" y="439"/>
                  </a:lnTo>
                  <a:lnTo>
                    <a:pt x="565" y="439"/>
                  </a:lnTo>
                  <a:lnTo>
                    <a:pt x="565" y="439"/>
                  </a:lnTo>
                  <a:lnTo>
                    <a:pt x="565" y="438"/>
                  </a:lnTo>
                  <a:lnTo>
                    <a:pt x="565" y="437"/>
                  </a:lnTo>
                  <a:lnTo>
                    <a:pt x="565" y="437"/>
                  </a:lnTo>
                  <a:lnTo>
                    <a:pt x="565" y="436"/>
                  </a:lnTo>
                  <a:lnTo>
                    <a:pt x="565" y="436"/>
                  </a:lnTo>
                  <a:lnTo>
                    <a:pt x="565" y="435"/>
                  </a:lnTo>
                  <a:lnTo>
                    <a:pt x="565" y="435"/>
                  </a:lnTo>
                  <a:lnTo>
                    <a:pt x="565" y="434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4" y="433"/>
                  </a:lnTo>
                  <a:lnTo>
                    <a:pt x="564" y="433"/>
                  </a:lnTo>
                  <a:lnTo>
                    <a:pt x="563" y="432"/>
                  </a:lnTo>
                  <a:lnTo>
                    <a:pt x="563" y="432"/>
                  </a:lnTo>
                  <a:lnTo>
                    <a:pt x="564" y="432"/>
                  </a:lnTo>
                  <a:lnTo>
                    <a:pt x="564" y="431"/>
                  </a:lnTo>
                  <a:lnTo>
                    <a:pt x="563" y="431"/>
                  </a:lnTo>
                  <a:lnTo>
                    <a:pt x="563" y="431"/>
                  </a:lnTo>
                  <a:lnTo>
                    <a:pt x="563" y="430"/>
                  </a:lnTo>
                  <a:lnTo>
                    <a:pt x="564" y="430"/>
                  </a:lnTo>
                  <a:lnTo>
                    <a:pt x="564" y="429"/>
                  </a:lnTo>
                  <a:lnTo>
                    <a:pt x="564" y="429"/>
                  </a:lnTo>
                  <a:lnTo>
                    <a:pt x="563" y="429"/>
                  </a:lnTo>
                  <a:lnTo>
                    <a:pt x="563" y="428"/>
                  </a:lnTo>
                  <a:lnTo>
                    <a:pt x="563" y="428"/>
                  </a:lnTo>
                  <a:lnTo>
                    <a:pt x="563" y="427"/>
                  </a:lnTo>
                  <a:lnTo>
                    <a:pt x="563" y="427"/>
                  </a:lnTo>
                  <a:lnTo>
                    <a:pt x="563" y="426"/>
                  </a:lnTo>
                  <a:lnTo>
                    <a:pt x="562" y="426"/>
                  </a:lnTo>
                  <a:lnTo>
                    <a:pt x="562" y="426"/>
                  </a:lnTo>
                  <a:lnTo>
                    <a:pt x="562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4"/>
                  </a:lnTo>
                  <a:lnTo>
                    <a:pt x="560" y="424"/>
                  </a:lnTo>
                  <a:lnTo>
                    <a:pt x="560" y="424"/>
                  </a:lnTo>
                  <a:lnTo>
                    <a:pt x="560" y="423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0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59" y="421"/>
                  </a:lnTo>
                  <a:lnTo>
                    <a:pt x="559" y="421"/>
                  </a:lnTo>
                  <a:lnTo>
                    <a:pt x="559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59" y="420"/>
                  </a:lnTo>
                  <a:lnTo>
                    <a:pt x="559" y="419"/>
                  </a:lnTo>
                  <a:lnTo>
                    <a:pt x="559" y="418"/>
                  </a:lnTo>
                  <a:lnTo>
                    <a:pt x="560" y="418"/>
                  </a:lnTo>
                  <a:lnTo>
                    <a:pt x="559" y="418"/>
                  </a:lnTo>
                  <a:lnTo>
                    <a:pt x="558" y="418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6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7" y="415"/>
                  </a:lnTo>
                  <a:lnTo>
                    <a:pt x="557" y="414"/>
                  </a:lnTo>
                  <a:lnTo>
                    <a:pt x="557" y="414"/>
                  </a:lnTo>
                  <a:lnTo>
                    <a:pt x="557" y="413"/>
                  </a:lnTo>
                  <a:lnTo>
                    <a:pt x="556" y="413"/>
                  </a:lnTo>
                  <a:lnTo>
                    <a:pt x="556" y="413"/>
                  </a:lnTo>
                  <a:lnTo>
                    <a:pt x="556" y="412"/>
                  </a:lnTo>
                  <a:lnTo>
                    <a:pt x="557" y="412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0"/>
                  </a:lnTo>
                  <a:lnTo>
                    <a:pt x="556" y="410"/>
                  </a:lnTo>
                  <a:lnTo>
                    <a:pt x="556" y="410"/>
                  </a:lnTo>
                  <a:lnTo>
                    <a:pt x="555" y="410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5" y="409"/>
                  </a:lnTo>
                  <a:lnTo>
                    <a:pt x="555" y="408"/>
                  </a:lnTo>
                  <a:lnTo>
                    <a:pt x="556" y="408"/>
                  </a:lnTo>
                  <a:lnTo>
                    <a:pt x="556" y="407"/>
                  </a:lnTo>
                  <a:lnTo>
                    <a:pt x="555" y="407"/>
                  </a:lnTo>
                  <a:lnTo>
                    <a:pt x="555" y="407"/>
                  </a:lnTo>
                  <a:lnTo>
                    <a:pt x="554" y="407"/>
                  </a:lnTo>
                  <a:lnTo>
                    <a:pt x="554" y="407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5"/>
                  </a:lnTo>
                  <a:lnTo>
                    <a:pt x="553" y="405"/>
                  </a:lnTo>
                  <a:lnTo>
                    <a:pt x="553" y="405"/>
                  </a:lnTo>
                  <a:lnTo>
                    <a:pt x="552" y="405"/>
                  </a:lnTo>
                  <a:lnTo>
                    <a:pt x="552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2" y="403"/>
                  </a:lnTo>
                  <a:lnTo>
                    <a:pt x="552" y="403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1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1"/>
                  </a:lnTo>
                  <a:lnTo>
                    <a:pt x="550" y="401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399"/>
                  </a:lnTo>
                  <a:lnTo>
                    <a:pt x="549" y="399"/>
                  </a:lnTo>
                  <a:lnTo>
                    <a:pt x="549" y="399"/>
                  </a:lnTo>
                  <a:lnTo>
                    <a:pt x="549" y="400"/>
                  </a:lnTo>
                  <a:lnTo>
                    <a:pt x="549" y="399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7" y="399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8"/>
                  </a:lnTo>
                  <a:lnTo>
                    <a:pt x="545" y="398"/>
                  </a:lnTo>
                  <a:lnTo>
                    <a:pt x="544" y="398"/>
                  </a:lnTo>
                  <a:lnTo>
                    <a:pt x="543" y="398"/>
                  </a:lnTo>
                  <a:lnTo>
                    <a:pt x="543" y="399"/>
                  </a:lnTo>
                  <a:lnTo>
                    <a:pt x="544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2" y="399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1" y="398"/>
                  </a:lnTo>
                  <a:lnTo>
                    <a:pt x="541" y="398"/>
                  </a:lnTo>
                  <a:lnTo>
                    <a:pt x="540" y="398"/>
                  </a:lnTo>
                  <a:lnTo>
                    <a:pt x="540" y="397"/>
                  </a:lnTo>
                  <a:lnTo>
                    <a:pt x="539" y="397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8" y="396"/>
                  </a:lnTo>
                  <a:lnTo>
                    <a:pt x="538" y="396"/>
                  </a:lnTo>
                  <a:lnTo>
                    <a:pt x="537" y="396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6" y="395"/>
                  </a:lnTo>
                  <a:lnTo>
                    <a:pt x="535" y="394"/>
                  </a:lnTo>
                  <a:lnTo>
                    <a:pt x="535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1" y="394"/>
                  </a:lnTo>
                  <a:lnTo>
                    <a:pt x="531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29" y="394"/>
                  </a:lnTo>
                  <a:lnTo>
                    <a:pt x="528" y="394"/>
                  </a:lnTo>
                  <a:lnTo>
                    <a:pt x="528" y="395"/>
                  </a:lnTo>
                  <a:lnTo>
                    <a:pt x="527" y="395"/>
                  </a:lnTo>
                  <a:lnTo>
                    <a:pt x="527" y="395"/>
                  </a:lnTo>
                  <a:lnTo>
                    <a:pt x="526" y="395"/>
                  </a:lnTo>
                  <a:lnTo>
                    <a:pt x="526" y="395"/>
                  </a:lnTo>
                  <a:lnTo>
                    <a:pt x="525" y="395"/>
                  </a:lnTo>
                  <a:lnTo>
                    <a:pt x="524" y="395"/>
                  </a:lnTo>
                  <a:lnTo>
                    <a:pt x="524" y="395"/>
                  </a:lnTo>
                  <a:lnTo>
                    <a:pt x="523" y="395"/>
                  </a:lnTo>
                  <a:lnTo>
                    <a:pt x="523" y="394"/>
                  </a:lnTo>
                  <a:lnTo>
                    <a:pt x="523" y="394"/>
                  </a:lnTo>
                  <a:lnTo>
                    <a:pt x="523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1" y="395"/>
                  </a:lnTo>
                  <a:lnTo>
                    <a:pt x="520" y="395"/>
                  </a:lnTo>
                  <a:lnTo>
                    <a:pt x="520" y="395"/>
                  </a:lnTo>
                  <a:lnTo>
                    <a:pt x="519" y="395"/>
                  </a:lnTo>
                  <a:lnTo>
                    <a:pt x="519" y="395"/>
                  </a:lnTo>
                  <a:lnTo>
                    <a:pt x="519" y="396"/>
                  </a:lnTo>
                  <a:lnTo>
                    <a:pt x="518" y="395"/>
                  </a:lnTo>
                  <a:lnTo>
                    <a:pt x="517" y="396"/>
                  </a:lnTo>
                  <a:lnTo>
                    <a:pt x="517" y="396"/>
                  </a:lnTo>
                  <a:lnTo>
                    <a:pt x="516" y="396"/>
                  </a:lnTo>
                  <a:lnTo>
                    <a:pt x="516" y="396"/>
                  </a:lnTo>
                  <a:lnTo>
                    <a:pt x="515" y="396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4" y="397"/>
                  </a:lnTo>
                  <a:lnTo>
                    <a:pt x="513" y="397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7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1" y="397"/>
                  </a:lnTo>
                  <a:lnTo>
                    <a:pt x="511" y="398"/>
                  </a:lnTo>
                  <a:lnTo>
                    <a:pt x="511" y="398"/>
                  </a:lnTo>
                  <a:lnTo>
                    <a:pt x="510" y="398"/>
                  </a:lnTo>
                  <a:lnTo>
                    <a:pt x="510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1"/>
                  </a:lnTo>
                  <a:lnTo>
                    <a:pt x="507" y="401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6" y="402"/>
                  </a:lnTo>
                  <a:lnTo>
                    <a:pt x="506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4"/>
                  </a:lnTo>
                  <a:lnTo>
                    <a:pt x="505" y="404"/>
                  </a:lnTo>
                  <a:lnTo>
                    <a:pt x="505" y="405"/>
                  </a:lnTo>
                  <a:lnTo>
                    <a:pt x="505" y="405"/>
                  </a:lnTo>
                  <a:lnTo>
                    <a:pt x="506" y="405"/>
                  </a:lnTo>
                  <a:lnTo>
                    <a:pt x="507" y="405"/>
                  </a:lnTo>
                  <a:lnTo>
                    <a:pt x="507" y="405"/>
                  </a:lnTo>
                  <a:lnTo>
                    <a:pt x="508" y="405"/>
                  </a:lnTo>
                  <a:lnTo>
                    <a:pt x="508" y="404"/>
                  </a:lnTo>
                  <a:lnTo>
                    <a:pt x="508" y="404"/>
                  </a:lnTo>
                  <a:lnTo>
                    <a:pt x="509" y="405"/>
                  </a:lnTo>
                  <a:lnTo>
                    <a:pt x="509" y="405"/>
                  </a:lnTo>
                  <a:lnTo>
                    <a:pt x="509" y="406"/>
                  </a:lnTo>
                  <a:lnTo>
                    <a:pt x="510" y="406"/>
                  </a:lnTo>
                  <a:lnTo>
                    <a:pt x="511" y="406"/>
                  </a:lnTo>
                  <a:lnTo>
                    <a:pt x="510" y="406"/>
                  </a:lnTo>
                  <a:lnTo>
                    <a:pt x="510" y="407"/>
                  </a:lnTo>
                  <a:lnTo>
                    <a:pt x="510" y="407"/>
                  </a:lnTo>
                  <a:lnTo>
                    <a:pt x="509" y="407"/>
                  </a:lnTo>
                  <a:lnTo>
                    <a:pt x="509" y="408"/>
                  </a:lnTo>
                  <a:lnTo>
                    <a:pt x="509" y="409"/>
                  </a:lnTo>
                  <a:lnTo>
                    <a:pt x="510" y="409"/>
                  </a:lnTo>
                  <a:lnTo>
                    <a:pt x="510" y="409"/>
                  </a:lnTo>
                  <a:lnTo>
                    <a:pt x="511" y="409"/>
                  </a:lnTo>
                  <a:lnTo>
                    <a:pt x="511" y="410"/>
                  </a:lnTo>
                  <a:lnTo>
                    <a:pt x="511" y="410"/>
                  </a:lnTo>
                  <a:lnTo>
                    <a:pt x="511" y="411"/>
                  </a:lnTo>
                  <a:lnTo>
                    <a:pt x="511" y="411"/>
                  </a:lnTo>
                  <a:lnTo>
                    <a:pt x="510" y="411"/>
                  </a:lnTo>
                  <a:lnTo>
                    <a:pt x="510" y="412"/>
                  </a:lnTo>
                  <a:lnTo>
                    <a:pt x="510" y="413"/>
                  </a:lnTo>
                  <a:lnTo>
                    <a:pt x="510" y="413"/>
                  </a:lnTo>
                  <a:lnTo>
                    <a:pt x="509" y="413"/>
                  </a:lnTo>
                  <a:lnTo>
                    <a:pt x="509" y="413"/>
                  </a:lnTo>
                  <a:lnTo>
                    <a:pt x="509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6" y="415"/>
                  </a:lnTo>
                  <a:lnTo>
                    <a:pt x="506" y="416"/>
                  </a:lnTo>
                  <a:lnTo>
                    <a:pt x="505" y="416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8"/>
                  </a:lnTo>
                  <a:lnTo>
                    <a:pt x="504" y="418"/>
                  </a:lnTo>
                  <a:lnTo>
                    <a:pt x="504" y="419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1"/>
                  </a:lnTo>
                  <a:lnTo>
                    <a:pt x="503" y="421"/>
                  </a:lnTo>
                  <a:lnTo>
                    <a:pt x="503" y="421"/>
                  </a:lnTo>
                  <a:lnTo>
                    <a:pt x="503" y="422"/>
                  </a:lnTo>
                  <a:lnTo>
                    <a:pt x="502" y="422"/>
                  </a:lnTo>
                  <a:lnTo>
                    <a:pt x="502" y="422"/>
                  </a:lnTo>
                  <a:lnTo>
                    <a:pt x="502" y="423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1" y="424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6"/>
                  </a:lnTo>
                  <a:lnTo>
                    <a:pt x="500" y="426"/>
                  </a:lnTo>
                  <a:lnTo>
                    <a:pt x="500" y="426"/>
                  </a:lnTo>
                  <a:lnTo>
                    <a:pt x="501" y="426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30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7" y="431"/>
                  </a:lnTo>
                  <a:lnTo>
                    <a:pt x="497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4"/>
                  </a:lnTo>
                  <a:lnTo>
                    <a:pt x="499" y="435"/>
                  </a:lnTo>
                  <a:lnTo>
                    <a:pt x="499" y="435"/>
                  </a:lnTo>
                  <a:lnTo>
                    <a:pt x="498" y="435"/>
                  </a:lnTo>
                  <a:lnTo>
                    <a:pt x="498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6" y="436"/>
                  </a:lnTo>
                  <a:lnTo>
                    <a:pt x="496" y="436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1" y="438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89" y="440"/>
                  </a:lnTo>
                  <a:lnTo>
                    <a:pt x="489" y="440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8" y="441"/>
                  </a:lnTo>
                  <a:lnTo>
                    <a:pt x="488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6" y="442"/>
                  </a:lnTo>
                  <a:lnTo>
                    <a:pt x="486" y="441"/>
                  </a:lnTo>
                  <a:lnTo>
                    <a:pt x="485" y="441"/>
                  </a:lnTo>
                  <a:lnTo>
                    <a:pt x="485" y="441"/>
                  </a:lnTo>
                  <a:lnTo>
                    <a:pt x="484" y="440"/>
                  </a:lnTo>
                  <a:lnTo>
                    <a:pt x="483" y="440"/>
                  </a:lnTo>
                  <a:lnTo>
                    <a:pt x="482" y="440"/>
                  </a:lnTo>
                  <a:lnTo>
                    <a:pt x="482" y="440"/>
                  </a:lnTo>
                  <a:lnTo>
                    <a:pt x="481" y="440"/>
                  </a:lnTo>
                  <a:lnTo>
                    <a:pt x="481" y="440"/>
                  </a:lnTo>
                  <a:lnTo>
                    <a:pt x="480" y="439"/>
                  </a:lnTo>
                  <a:lnTo>
                    <a:pt x="479" y="439"/>
                  </a:lnTo>
                  <a:lnTo>
                    <a:pt x="478" y="438"/>
                  </a:lnTo>
                  <a:lnTo>
                    <a:pt x="478" y="437"/>
                  </a:lnTo>
                  <a:lnTo>
                    <a:pt x="477" y="437"/>
                  </a:lnTo>
                  <a:lnTo>
                    <a:pt x="476" y="436"/>
                  </a:lnTo>
                  <a:lnTo>
                    <a:pt x="476" y="436"/>
                  </a:lnTo>
                  <a:lnTo>
                    <a:pt x="475" y="436"/>
                  </a:lnTo>
                  <a:lnTo>
                    <a:pt x="474" y="436"/>
                  </a:lnTo>
                  <a:lnTo>
                    <a:pt x="474" y="436"/>
                  </a:lnTo>
                  <a:lnTo>
                    <a:pt x="473" y="436"/>
                  </a:lnTo>
                  <a:lnTo>
                    <a:pt x="473" y="436"/>
                  </a:lnTo>
                  <a:lnTo>
                    <a:pt x="472" y="436"/>
                  </a:lnTo>
                  <a:lnTo>
                    <a:pt x="471" y="437"/>
                  </a:lnTo>
                  <a:lnTo>
                    <a:pt x="471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69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7" y="436"/>
                  </a:lnTo>
                  <a:lnTo>
                    <a:pt x="466" y="436"/>
                  </a:lnTo>
                  <a:lnTo>
                    <a:pt x="466" y="436"/>
                  </a:lnTo>
                  <a:lnTo>
                    <a:pt x="465" y="436"/>
                  </a:lnTo>
                  <a:lnTo>
                    <a:pt x="465" y="435"/>
                  </a:lnTo>
                  <a:lnTo>
                    <a:pt x="465" y="435"/>
                  </a:lnTo>
                  <a:lnTo>
                    <a:pt x="464" y="435"/>
                  </a:lnTo>
                  <a:lnTo>
                    <a:pt x="464" y="434"/>
                  </a:lnTo>
                  <a:lnTo>
                    <a:pt x="463" y="433"/>
                  </a:lnTo>
                  <a:lnTo>
                    <a:pt x="463" y="433"/>
                  </a:lnTo>
                  <a:lnTo>
                    <a:pt x="462" y="433"/>
                  </a:lnTo>
                  <a:lnTo>
                    <a:pt x="461" y="433"/>
                  </a:lnTo>
                  <a:lnTo>
                    <a:pt x="461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59" y="433"/>
                  </a:lnTo>
                  <a:lnTo>
                    <a:pt x="459" y="433"/>
                  </a:lnTo>
                  <a:lnTo>
                    <a:pt x="458" y="433"/>
                  </a:lnTo>
                  <a:lnTo>
                    <a:pt x="458" y="433"/>
                  </a:lnTo>
                  <a:lnTo>
                    <a:pt x="457" y="433"/>
                  </a:lnTo>
                  <a:lnTo>
                    <a:pt x="456" y="434"/>
                  </a:lnTo>
                  <a:lnTo>
                    <a:pt x="456" y="435"/>
                  </a:lnTo>
                  <a:lnTo>
                    <a:pt x="455" y="435"/>
                  </a:lnTo>
                  <a:lnTo>
                    <a:pt x="454" y="435"/>
                  </a:lnTo>
                  <a:lnTo>
                    <a:pt x="453" y="436"/>
                  </a:lnTo>
                  <a:lnTo>
                    <a:pt x="453" y="436"/>
                  </a:lnTo>
                  <a:lnTo>
                    <a:pt x="452" y="436"/>
                  </a:lnTo>
                  <a:lnTo>
                    <a:pt x="452" y="437"/>
                  </a:lnTo>
                  <a:lnTo>
                    <a:pt x="452" y="437"/>
                  </a:lnTo>
                  <a:lnTo>
                    <a:pt x="450" y="438"/>
                  </a:lnTo>
                  <a:lnTo>
                    <a:pt x="450" y="438"/>
                  </a:lnTo>
                  <a:lnTo>
                    <a:pt x="449" y="439"/>
                  </a:lnTo>
                  <a:lnTo>
                    <a:pt x="449" y="439"/>
                  </a:lnTo>
                  <a:lnTo>
                    <a:pt x="449" y="440"/>
                  </a:lnTo>
                  <a:lnTo>
                    <a:pt x="449" y="441"/>
                  </a:lnTo>
                  <a:lnTo>
                    <a:pt x="448" y="441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7" y="442"/>
                  </a:lnTo>
                  <a:lnTo>
                    <a:pt x="447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5" y="442"/>
                  </a:lnTo>
                  <a:lnTo>
                    <a:pt x="445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3" y="442"/>
                  </a:lnTo>
                  <a:lnTo>
                    <a:pt x="442" y="442"/>
                  </a:lnTo>
                  <a:lnTo>
                    <a:pt x="442" y="443"/>
                  </a:lnTo>
                  <a:lnTo>
                    <a:pt x="441" y="443"/>
                  </a:lnTo>
                  <a:lnTo>
                    <a:pt x="440" y="443"/>
                  </a:lnTo>
                  <a:lnTo>
                    <a:pt x="439" y="443"/>
                  </a:lnTo>
                  <a:lnTo>
                    <a:pt x="439" y="443"/>
                  </a:lnTo>
                  <a:lnTo>
                    <a:pt x="438" y="443"/>
                  </a:lnTo>
                  <a:lnTo>
                    <a:pt x="438" y="443"/>
                  </a:lnTo>
                  <a:lnTo>
                    <a:pt x="437" y="444"/>
                  </a:lnTo>
                  <a:lnTo>
                    <a:pt x="436" y="444"/>
                  </a:lnTo>
                  <a:lnTo>
                    <a:pt x="435" y="444"/>
                  </a:lnTo>
                  <a:lnTo>
                    <a:pt x="434" y="444"/>
                  </a:lnTo>
                  <a:lnTo>
                    <a:pt x="434" y="444"/>
                  </a:lnTo>
                  <a:lnTo>
                    <a:pt x="433" y="445"/>
                  </a:lnTo>
                  <a:lnTo>
                    <a:pt x="432" y="446"/>
                  </a:lnTo>
                  <a:lnTo>
                    <a:pt x="431" y="446"/>
                  </a:lnTo>
                  <a:lnTo>
                    <a:pt x="431" y="446"/>
                  </a:lnTo>
                  <a:lnTo>
                    <a:pt x="430" y="446"/>
                  </a:lnTo>
                  <a:lnTo>
                    <a:pt x="430" y="446"/>
                  </a:lnTo>
                  <a:lnTo>
                    <a:pt x="429" y="446"/>
                  </a:lnTo>
                  <a:lnTo>
                    <a:pt x="429" y="446"/>
                  </a:lnTo>
                  <a:lnTo>
                    <a:pt x="428" y="446"/>
                  </a:lnTo>
                  <a:lnTo>
                    <a:pt x="427" y="446"/>
                  </a:lnTo>
                  <a:lnTo>
                    <a:pt x="427" y="445"/>
                  </a:lnTo>
                  <a:lnTo>
                    <a:pt x="427" y="445"/>
                  </a:lnTo>
                  <a:lnTo>
                    <a:pt x="427" y="446"/>
                  </a:lnTo>
                  <a:lnTo>
                    <a:pt x="426" y="446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6"/>
                  </a:lnTo>
                  <a:lnTo>
                    <a:pt x="424" y="446"/>
                  </a:lnTo>
                  <a:lnTo>
                    <a:pt x="424" y="446"/>
                  </a:lnTo>
                  <a:lnTo>
                    <a:pt x="423" y="446"/>
                  </a:lnTo>
                  <a:lnTo>
                    <a:pt x="423" y="446"/>
                  </a:lnTo>
                  <a:lnTo>
                    <a:pt x="422" y="446"/>
                  </a:lnTo>
                  <a:lnTo>
                    <a:pt x="422" y="445"/>
                  </a:lnTo>
                  <a:lnTo>
                    <a:pt x="422" y="446"/>
                  </a:lnTo>
                  <a:lnTo>
                    <a:pt x="421" y="446"/>
                  </a:lnTo>
                  <a:lnTo>
                    <a:pt x="420" y="446"/>
                  </a:lnTo>
                  <a:lnTo>
                    <a:pt x="420" y="445"/>
                  </a:lnTo>
                  <a:lnTo>
                    <a:pt x="420" y="444"/>
                  </a:lnTo>
                  <a:lnTo>
                    <a:pt x="419" y="444"/>
                  </a:lnTo>
                  <a:lnTo>
                    <a:pt x="419" y="444"/>
                  </a:lnTo>
                  <a:lnTo>
                    <a:pt x="418" y="444"/>
                  </a:lnTo>
                  <a:lnTo>
                    <a:pt x="418" y="444"/>
                  </a:lnTo>
                  <a:lnTo>
                    <a:pt x="417" y="444"/>
                  </a:lnTo>
                  <a:lnTo>
                    <a:pt x="416" y="444"/>
                  </a:lnTo>
                  <a:lnTo>
                    <a:pt x="416" y="444"/>
                  </a:lnTo>
                  <a:lnTo>
                    <a:pt x="415" y="444"/>
                  </a:lnTo>
                  <a:lnTo>
                    <a:pt x="415" y="444"/>
                  </a:lnTo>
                  <a:lnTo>
                    <a:pt x="414" y="444"/>
                  </a:lnTo>
                  <a:lnTo>
                    <a:pt x="413" y="444"/>
                  </a:lnTo>
                  <a:lnTo>
                    <a:pt x="413" y="444"/>
                  </a:lnTo>
                  <a:lnTo>
                    <a:pt x="412" y="444"/>
                  </a:lnTo>
                  <a:lnTo>
                    <a:pt x="412" y="444"/>
                  </a:lnTo>
                  <a:lnTo>
                    <a:pt x="412" y="443"/>
                  </a:lnTo>
                  <a:lnTo>
                    <a:pt x="412" y="443"/>
                  </a:lnTo>
                  <a:lnTo>
                    <a:pt x="411" y="443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0" y="442"/>
                  </a:lnTo>
                  <a:lnTo>
                    <a:pt x="409" y="442"/>
                  </a:lnTo>
                  <a:lnTo>
                    <a:pt x="409" y="441"/>
                  </a:lnTo>
                  <a:lnTo>
                    <a:pt x="409" y="441"/>
                  </a:lnTo>
                  <a:lnTo>
                    <a:pt x="408" y="441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39"/>
                  </a:lnTo>
                  <a:lnTo>
                    <a:pt x="408" y="439"/>
                  </a:lnTo>
                  <a:lnTo>
                    <a:pt x="408" y="438"/>
                  </a:lnTo>
                  <a:lnTo>
                    <a:pt x="408" y="437"/>
                  </a:lnTo>
                  <a:lnTo>
                    <a:pt x="408" y="437"/>
                  </a:lnTo>
                  <a:lnTo>
                    <a:pt x="407" y="437"/>
                  </a:lnTo>
                  <a:lnTo>
                    <a:pt x="407" y="436"/>
                  </a:lnTo>
                  <a:lnTo>
                    <a:pt x="407" y="437"/>
                  </a:lnTo>
                  <a:lnTo>
                    <a:pt x="406" y="437"/>
                  </a:lnTo>
                  <a:lnTo>
                    <a:pt x="406" y="436"/>
                  </a:lnTo>
                  <a:lnTo>
                    <a:pt x="405" y="436"/>
                  </a:lnTo>
                  <a:lnTo>
                    <a:pt x="405" y="436"/>
                  </a:lnTo>
                  <a:lnTo>
                    <a:pt x="404" y="436"/>
                  </a:lnTo>
                  <a:lnTo>
                    <a:pt x="404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2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5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4"/>
                  </a:lnTo>
                  <a:lnTo>
                    <a:pt x="401" y="434"/>
                  </a:lnTo>
                  <a:lnTo>
                    <a:pt x="400" y="434"/>
                  </a:lnTo>
                  <a:lnTo>
                    <a:pt x="400" y="433"/>
                  </a:lnTo>
                  <a:lnTo>
                    <a:pt x="400" y="433"/>
                  </a:lnTo>
                  <a:lnTo>
                    <a:pt x="399" y="433"/>
                  </a:lnTo>
                  <a:lnTo>
                    <a:pt x="398" y="433"/>
                  </a:lnTo>
                  <a:lnTo>
                    <a:pt x="398" y="432"/>
                  </a:lnTo>
                  <a:lnTo>
                    <a:pt x="397" y="432"/>
                  </a:lnTo>
                  <a:lnTo>
                    <a:pt x="396" y="432"/>
                  </a:lnTo>
                  <a:lnTo>
                    <a:pt x="396" y="432"/>
                  </a:lnTo>
                  <a:lnTo>
                    <a:pt x="395" y="432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1"/>
                  </a:lnTo>
                  <a:lnTo>
                    <a:pt x="392" y="431"/>
                  </a:lnTo>
                  <a:lnTo>
                    <a:pt x="392" y="431"/>
                  </a:lnTo>
                  <a:lnTo>
                    <a:pt x="391" y="431"/>
                  </a:lnTo>
                  <a:lnTo>
                    <a:pt x="390" y="431"/>
                  </a:lnTo>
                  <a:lnTo>
                    <a:pt x="390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7" y="431"/>
                  </a:lnTo>
                  <a:lnTo>
                    <a:pt x="386" y="431"/>
                  </a:lnTo>
                  <a:lnTo>
                    <a:pt x="386" y="431"/>
                  </a:lnTo>
                  <a:lnTo>
                    <a:pt x="385" y="431"/>
                  </a:lnTo>
                  <a:lnTo>
                    <a:pt x="385" y="432"/>
                  </a:lnTo>
                  <a:lnTo>
                    <a:pt x="385" y="432"/>
                  </a:lnTo>
                  <a:lnTo>
                    <a:pt x="384" y="432"/>
                  </a:lnTo>
                  <a:lnTo>
                    <a:pt x="384" y="431"/>
                  </a:lnTo>
                  <a:lnTo>
                    <a:pt x="383" y="431"/>
                  </a:lnTo>
                  <a:lnTo>
                    <a:pt x="383" y="431"/>
                  </a:lnTo>
                  <a:lnTo>
                    <a:pt x="383" y="432"/>
                  </a:lnTo>
                  <a:lnTo>
                    <a:pt x="382" y="432"/>
                  </a:lnTo>
                  <a:lnTo>
                    <a:pt x="382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3"/>
                  </a:lnTo>
                  <a:lnTo>
                    <a:pt x="381" y="432"/>
                  </a:lnTo>
                  <a:lnTo>
                    <a:pt x="380" y="432"/>
                  </a:lnTo>
                  <a:lnTo>
                    <a:pt x="379" y="432"/>
                  </a:lnTo>
                  <a:lnTo>
                    <a:pt x="379" y="432"/>
                  </a:lnTo>
                  <a:lnTo>
                    <a:pt x="379" y="433"/>
                  </a:lnTo>
                  <a:lnTo>
                    <a:pt x="379" y="433"/>
                  </a:lnTo>
                  <a:lnTo>
                    <a:pt x="378" y="433"/>
                  </a:lnTo>
                  <a:lnTo>
                    <a:pt x="378" y="434"/>
                  </a:lnTo>
                  <a:lnTo>
                    <a:pt x="378" y="434"/>
                  </a:lnTo>
                  <a:lnTo>
                    <a:pt x="377" y="434"/>
                  </a:lnTo>
                  <a:lnTo>
                    <a:pt x="377" y="435"/>
                  </a:lnTo>
                  <a:lnTo>
                    <a:pt x="377" y="435"/>
                  </a:lnTo>
                  <a:lnTo>
                    <a:pt x="376" y="435"/>
                  </a:lnTo>
                  <a:lnTo>
                    <a:pt x="376" y="434"/>
                  </a:lnTo>
                  <a:lnTo>
                    <a:pt x="375" y="434"/>
                  </a:lnTo>
                  <a:lnTo>
                    <a:pt x="375" y="434"/>
                  </a:lnTo>
                  <a:lnTo>
                    <a:pt x="374" y="435"/>
                  </a:lnTo>
                  <a:lnTo>
                    <a:pt x="374" y="434"/>
                  </a:lnTo>
                  <a:lnTo>
                    <a:pt x="374" y="434"/>
                  </a:lnTo>
                  <a:lnTo>
                    <a:pt x="374" y="435"/>
                  </a:lnTo>
                  <a:lnTo>
                    <a:pt x="373" y="435"/>
                  </a:lnTo>
                  <a:lnTo>
                    <a:pt x="373" y="434"/>
                  </a:lnTo>
                  <a:lnTo>
                    <a:pt x="372" y="434"/>
                  </a:lnTo>
                  <a:lnTo>
                    <a:pt x="372" y="434"/>
                  </a:lnTo>
                  <a:lnTo>
                    <a:pt x="372" y="433"/>
                  </a:lnTo>
                  <a:lnTo>
                    <a:pt x="371" y="433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0" y="434"/>
                  </a:lnTo>
                  <a:lnTo>
                    <a:pt x="370" y="433"/>
                  </a:lnTo>
                  <a:lnTo>
                    <a:pt x="370" y="433"/>
                  </a:lnTo>
                  <a:lnTo>
                    <a:pt x="370" y="432"/>
                  </a:lnTo>
                  <a:lnTo>
                    <a:pt x="370" y="432"/>
                  </a:lnTo>
                  <a:lnTo>
                    <a:pt x="369" y="432"/>
                  </a:lnTo>
                  <a:lnTo>
                    <a:pt x="368" y="432"/>
                  </a:lnTo>
                  <a:lnTo>
                    <a:pt x="368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6" y="432"/>
                  </a:lnTo>
                  <a:lnTo>
                    <a:pt x="366" y="431"/>
                  </a:lnTo>
                  <a:lnTo>
                    <a:pt x="366" y="431"/>
                  </a:lnTo>
                  <a:lnTo>
                    <a:pt x="366" y="432"/>
                  </a:lnTo>
                  <a:lnTo>
                    <a:pt x="365" y="431"/>
                  </a:lnTo>
                  <a:lnTo>
                    <a:pt x="365" y="431"/>
                  </a:lnTo>
                  <a:lnTo>
                    <a:pt x="365" y="430"/>
                  </a:lnTo>
                  <a:lnTo>
                    <a:pt x="364" y="430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8"/>
                  </a:lnTo>
                  <a:lnTo>
                    <a:pt x="362" y="428"/>
                  </a:lnTo>
                  <a:lnTo>
                    <a:pt x="363" y="428"/>
                  </a:lnTo>
                  <a:lnTo>
                    <a:pt x="363" y="427"/>
                  </a:lnTo>
                  <a:lnTo>
                    <a:pt x="362" y="427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4"/>
                  </a:lnTo>
                  <a:lnTo>
                    <a:pt x="362" y="424"/>
                  </a:lnTo>
                  <a:lnTo>
                    <a:pt x="361" y="424"/>
                  </a:lnTo>
                  <a:lnTo>
                    <a:pt x="361" y="423"/>
                  </a:lnTo>
                  <a:lnTo>
                    <a:pt x="362" y="423"/>
                  </a:lnTo>
                  <a:lnTo>
                    <a:pt x="361" y="423"/>
                  </a:lnTo>
                  <a:lnTo>
                    <a:pt x="361" y="422"/>
                  </a:lnTo>
                  <a:lnTo>
                    <a:pt x="362" y="422"/>
                  </a:lnTo>
                  <a:lnTo>
                    <a:pt x="361" y="422"/>
                  </a:lnTo>
                  <a:lnTo>
                    <a:pt x="361" y="421"/>
                  </a:lnTo>
                  <a:lnTo>
                    <a:pt x="361" y="421"/>
                  </a:lnTo>
                  <a:lnTo>
                    <a:pt x="362" y="421"/>
                  </a:lnTo>
                  <a:lnTo>
                    <a:pt x="361" y="420"/>
                  </a:lnTo>
                  <a:lnTo>
                    <a:pt x="361" y="420"/>
                  </a:lnTo>
                  <a:lnTo>
                    <a:pt x="360" y="420"/>
                  </a:lnTo>
                  <a:lnTo>
                    <a:pt x="360" y="420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19"/>
                  </a:lnTo>
                  <a:lnTo>
                    <a:pt x="358" y="419"/>
                  </a:lnTo>
                  <a:lnTo>
                    <a:pt x="357" y="419"/>
                  </a:lnTo>
                  <a:lnTo>
                    <a:pt x="357" y="419"/>
                  </a:lnTo>
                  <a:lnTo>
                    <a:pt x="357" y="418"/>
                  </a:lnTo>
                  <a:lnTo>
                    <a:pt x="356" y="418"/>
                  </a:lnTo>
                  <a:lnTo>
                    <a:pt x="356" y="418"/>
                  </a:lnTo>
                  <a:lnTo>
                    <a:pt x="356" y="419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8"/>
                  </a:lnTo>
                  <a:lnTo>
                    <a:pt x="354" y="418"/>
                  </a:lnTo>
                  <a:lnTo>
                    <a:pt x="354" y="418"/>
                  </a:lnTo>
                  <a:lnTo>
                    <a:pt x="353" y="418"/>
                  </a:lnTo>
                  <a:lnTo>
                    <a:pt x="353" y="418"/>
                  </a:lnTo>
                  <a:lnTo>
                    <a:pt x="353" y="417"/>
                  </a:lnTo>
                  <a:lnTo>
                    <a:pt x="352" y="418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1" y="417"/>
                  </a:lnTo>
                  <a:lnTo>
                    <a:pt x="351" y="417"/>
                  </a:lnTo>
                  <a:lnTo>
                    <a:pt x="350" y="416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5"/>
                  </a:lnTo>
                  <a:lnTo>
                    <a:pt x="348" y="415"/>
                  </a:lnTo>
                  <a:lnTo>
                    <a:pt x="348" y="415"/>
                  </a:lnTo>
                  <a:lnTo>
                    <a:pt x="347" y="415"/>
                  </a:lnTo>
                  <a:lnTo>
                    <a:pt x="346" y="415"/>
                  </a:lnTo>
                  <a:lnTo>
                    <a:pt x="346" y="415"/>
                  </a:lnTo>
                  <a:lnTo>
                    <a:pt x="345" y="415"/>
                  </a:lnTo>
                  <a:lnTo>
                    <a:pt x="345" y="415"/>
                  </a:lnTo>
                  <a:lnTo>
                    <a:pt x="344" y="415"/>
                  </a:lnTo>
                  <a:lnTo>
                    <a:pt x="344" y="415"/>
                  </a:lnTo>
                  <a:lnTo>
                    <a:pt x="343" y="415"/>
                  </a:lnTo>
                  <a:lnTo>
                    <a:pt x="343" y="415"/>
                  </a:lnTo>
                  <a:lnTo>
                    <a:pt x="342" y="415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2" y="413"/>
                  </a:lnTo>
                  <a:lnTo>
                    <a:pt x="342" y="413"/>
                  </a:lnTo>
                  <a:lnTo>
                    <a:pt x="341" y="414"/>
                  </a:lnTo>
                  <a:lnTo>
                    <a:pt x="341" y="414"/>
                  </a:lnTo>
                  <a:lnTo>
                    <a:pt x="341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39" y="413"/>
                  </a:lnTo>
                  <a:lnTo>
                    <a:pt x="339" y="413"/>
                  </a:lnTo>
                  <a:lnTo>
                    <a:pt x="338" y="413"/>
                  </a:lnTo>
                  <a:lnTo>
                    <a:pt x="338" y="413"/>
                  </a:lnTo>
                  <a:lnTo>
                    <a:pt x="338" y="412"/>
                  </a:lnTo>
                  <a:lnTo>
                    <a:pt x="337" y="412"/>
                  </a:lnTo>
                  <a:lnTo>
                    <a:pt x="337" y="412"/>
                  </a:lnTo>
                  <a:lnTo>
                    <a:pt x="337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0"/>
                  </a:lnTo>
                  <a:lnTo>
                    <a:pt x="335" y="410"/>
                  </a:lnTo>
                  <a:lnTo>
                    <a:pt x="335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2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4"/>
                  </a:lnTo>
                  <a:lnTo>
                    <a:pt x="334" y="414"/>
                  </a:lnTo>
                  <a:lnTo>
                    <a:pt x="333" y="414"/>
                  </a:lnTo>
                  <a:lnTo>
                    <a:pt x="333" y="414"/>
                  </a:lnTo>
                  <a:lnTo>
                    <a:pt x="333" y="415"/>
                  </a:lnTo>
                  <a:lnTo>
                    <a:pt x="332" y="415"/>
                  </a:lnTo>
                  <a:lnTo>
                    <a:pt x="331" y="415"/>
                  </a:lnTo>
                  <a:lnTo>
                    <a:pt x="331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30" y="418"/>
                  </a:lnTo>
                  <a:lnTo>
                    <a:pt x="330" y="419"/>
                  </a:lnTo>
                  <a:lnTo>
                    <a:pt x="329" y="419"/>
                  </a:lnTo>
                  <a:lnTo>
                    <a:pt x="329" y="418"/>
                  </a:lnTo>
                  <a:lnTo>
                    <a:pt x="329" y="418"/>
                  </a:lnTo>
                  <a:lnTo>
                    <a:pt x="329" y="419"/>
                  </a:lnTo>
                  <a:lnTo>
                    <a:pt x="328" y="419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7" y="421"/>
                  </a:lnTo>
                  <a:lnTo>
                    <a:pt x="327" y="421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3"/>
                  </a:lnTo>
                  <a:lnTo>
                    <a:pt x="327" y="424"/>
                  </a:lnTo>
                  <a:lnTo>
                    <a:pt x="327" y="424"/>
                  </a:lnTo>
                  <a:lnTo>
                    <a:pt x="326" y="424"/>
                  </a:lnTo>
                  <a:lnTo>
                    <a:pt x="327" y="424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8" y="425"/>
                  </a:lnTo>
                  <a:lnTo>
                    <a:pt x="328" y="426"/>
                  </a:lnTo>
                  <a:lnTo>
                    <a:pt x="328" y="426"/>
                  </a:lnTo>
                  <a:lnTo>
                    <a:pt x="327" y="426"/>
                  </a:lnTo>
                  <a:lnTo>
                    <a:pt x="327" y="427"/>
                  </a:lnTo>
                  <a:lnTo>
                    <a:pt x="327" y="428"/>
                  </a:lnTo>
                  <a:lnTo>
                    <a:pt x="328" y="428"/>
                  </a:lnTo>
                  <a:lnTo>
                    <a:pt x="328" y="428"/>
                  </a:lnTo>
                  <a:lnTo>
                    <a:pt x="328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30" y="429"/>
                  </a:lnTo>
                  <a:lnTo>
                    <a:pt x="330" y="430"/>
                  </a:lnTo>
                  <a:lnTo>
                    <a:pt x="330" y="430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3"/>
                  </a:lnTo>
                  <a:lnTo>
                    <a:pt x="330" y="433"/>
                  </a:lnTo>
                  <a:lnTo>
                    <a:pt x="329" y="433"/>
                  </a:lnTo>
                  <a:lnTo>
                    <a:pt x="329" y="434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6"/>
                  </a:lnTo>
                  <a:lnTo>
                    <a:pt x="328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7"/>
                  </a:lnTo>
                  <a:lnTo>
                    <a:pt x="326" y="437"/>
                  </a:lnTo>
                  <a:lnTo>
                    <a:pt x="326" y="436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4" y="437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5" y="438"/>
                  </a:lnTo>
                  <a:lnTo>
                    <a:pt x="324" y="438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1" y="439"/>
                  </a:lnTo>
                  <a:lnTo>
                    <a:pt x="320" y="439"/>
                  </a:lnTo>
                  <a:lnTo>
                    <a:pt x="321" y="439"/>
                  </a:lnTo>
                  <a:lnTo>
                    <a:pt x="320" y="438"/>
                  </a:lnTo>
                  <a:lnTo>
                    <a:pt x="320" y="438"/>
                  </a:lnTo>
                  <a:lnTo>
                    <a:pt x="320" y="437"/>
                  </a:lnTo>
                  <a:lnTo>
                    <a:pt x="319" y="437"/>
                  </a:lnTo>
                  <a:lnTo>
                    <a:pt x="319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7" y="437"/>
                  </a:lnTo>
                  <a:lnTo>
                    <a:pt x="317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4" y="437"/>
                  </a:lnTo>
                  <a:lnTo>
                    <a:pt x="314" y="436"/>
                  </a:lnTo>
                  <a:lnTo>
                    <a:pt x="314" y="436"/>
                  </a:lnTo>
                  <a:lnTo>
                    <a:pt x="313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09" y="436"/>
                  </a:lnTo>
                  <a:lnTo>
                    <a:pt x="309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7" y="437"/>
                  </a:lnTo>
                  <a:lnTo>
                    <a:pt x="306" y="437"/>
                  </a:lnTo>
                  <a:lnTo>
                    <a:pt x="305" y="436"/>
                  </a:lnTo>
                  <a:lnTo>
                    <a:pt x="305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3" y="436"/>
                  </a:lnTo>
                  <a:lnTo>
                    <a:pt x="303" y="436"/>
                  </a:lnTo>
                  <a:lnTo>
                    <a:pt x="302" y="436"/>
                  </a:lnTo>
                  <a:lnTo>
                    <a:pt x="301" y="436"/>
                  </a:lnTo>
                  <a:lnTo>
                    <a:pt x="301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4"/>
                  </a:lnTo>
                  <a:lnTo>
                    <a:pt x="299" y="434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2"/>
                  </a:lnTo>
                  <a:lnTo>
                    <a:pt x="299" y="431"/>
                  </a:lnTo>
                  <a:lnTo>
                    <a:pt x="299" y="430"/>
                  </a:lnTo>
                  <a:lnTo>
                    <a:pt x="298" y="430"/>
                  </a:lnTo>
                  <a:lnTo>
                    <a:pt x="298" y="429"/>
                  </a:lnTo>
                  <a:lnTo>
                    <a:pt x="297" y="429"/>
                  </a:lnTo>
                  <a:lnTo>
                    <a:pt x="297" y="429"/>
                  </a:lnTo>
                  <a:lnTo>
                    <a:pt x="296" y="429"/>
                  </a:lnTo>
                  <a:lnTo>
                    <a:pt x="296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4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1" y="429"/>
                  </a:lnTo>
                  <a:lnTo>
                    <a:pt x="290" y="429"/>
                  </a:lnTo>
                  <a:lnTo>
                    <a:pt x="290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8" y="429"/>
                  </a:lnTo>
                  <a:lnTo>
                    <a:pt x="288" y="429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7"/>
                  </a:lnTo>
                  <a:lnTo>
                    <a:pt x="288" y="427"/>
                  </a:lnTo>
                  <a:lnTo>
                    <a:pt x="288" y="426"/>
                  </a:lnTo>
                  <a:lnTo>
                    <a:pt x="287" y="426"/>
                  </a:lnTo>
                  <a:lnTo>
                    <a:pt x="287" y="427"/>
                  </a:lnTo>
                  <a:lnTo>
                    <a:pt x="287" y="426"/>
                  </a:lnTo>
                  <a:lnTo>
                    <a:pt x="286" y="426"/>
                  </a:lnTo>
                  <a:lnTo>
                    <a:pt x="286" y="426"/>
                  </a:lnTo>
                  <a:lnTo>
                    <a:pt x="286" y="427"/>
                  </a:lnTo>
                  <a:lnTo>
                    <a:pt x="286" y="428"/>
                  </a:lnTo>
                  <a:lnTo>
                    <a:pt x="285" y="428"/>
                  </a:lnTo>
                  <a:lnTo>
                    <a:pt x="285" y="428"/>
                  </a:lnTo>
                  <a:lnTo>
                    <a:pt x="285" y="427"/>
                  </a:lnTo>
                  <a:lnTo>
                    <a:pt x="285" y="426"/>
                  </a:lnTo>
                  <a:lnTo>
                    <a:pt x="284" y="426"/>
                  </a:lnTo>
                  <a:lnTo>
                    <a:pt x="284" y="427"/>
                  </a:lnTo>
                  <a:lnTo>
                    <a:pt x="284" y="426"/>
                  </a:lnTo>
                  <a:lnTo>
                    <a:pt x="283" y="426"/>
                  </a:lnTo>
                  <a:lnTo>
                    <a:pt x="283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7"/>
                  </a:lnTo>
                  <a:lnTo>
                    <a:pt x="282" y="427"/>
                  </a:lnTo>
                  <a:lnTo>
                    <a:pt x="282" y="428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80" y="428"/>
                  </a:lnTo>
                  <a:lnTo>
                    <a:pt x="279" y="428"/>
                  </a:lnTo>
                  <a:lnTo>
                    <a:pt x="278" y="428"/>
                  </a:lnTo>
                  <a:lnTo>
                    <a:pt x="278" y="428"/>
                  </a:lnTo>
                  <a:lnTo>
                    <a:pt x="277" y="428"/>
                  </a:lnTo>
                  <a:lnTo>
                    <a:pt x="277" y="429"/>
                  </a:lnTo>
                  <a:lnTo>
                    <a:pt x="277" y="429"/>
                  </a:lnTo>
                  <a:lnTo>
                    <a:pt x="276" y="429"/>
                  </a:lnTo>
                  <a:lnTo>
                    <a:pt x="275" y="429"/>
                  </a:lnTo>
                  <a:lnTo>
                    <a:pt x="275" y="430"/>
                  </a:lnTo>
                  <a:lnTo>
                    <a:pt x="275" y="431"/>
                  </a:lnTo>
                  <a:lnTo>
                    <a:pt x="275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3" y="431"/>
                  </a:lnTo>
                  <a:lnTo>
                    <a:pt x="273" y="431"/>
                  </a:lnTo>
                  <a:lnTo>
                    <a:pt x="272" y="431"/>
                  </a:lnTo>
                  <a:lnTo>
                    <a:pt x="271" y="431"/>
                  </a:lnTo>
                  <a:lnTo>
                    <a:pt x="271" y="431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69" y="432"/>
                  </a:lnTo>
                  <a:lnTo>
                    <a:pt x="269" y="433"/>
                  </a:lnTo>
                  <a:lnTo>
                    <a:pt x="270" y="433"/>
                  </a:lnTo>
                  <a:lnTo>
                    <a:pt x="270" y="433"/>
                  </a:lnTo>
                  <a:lnTo>
                    <a:pt x="269" y="433"/>
                  </a:lnTo>
                  <a:lnTo>
                    <a:pt x="269" y="433"/>
                  </a:lnTo>
                  <a:lnTo>
                    <a:pt x="268" y="433"/>
                  </a:lnTo>
                  <a:lnTo>
                    <a:pt x="267" y="433"/>
                  </a:lnTo>
                  <a:lnTo>
                    <a:pt x="267" y="434"/>
                  </a:lnTo>
                  <a:lnTo>
                    <a:pt x="267" y="434"/>
                  </a:lnTo>
                  <a:lnTo>
                    <a:pt x="266" y="434"/>
                  </a:lnTo>
                  <a:lnTo>
                    <a:pt x="266" y="435"/>
                  </a:lnTo>
                  <a:lnTo>
                    <a:pt x="266" y="435"/>
                  </a:lnTo>
                  <a:lnTo>
                    <a:pt x="265" y="435"/>
                  </a:lnTo>
                  <a:lnTo>
                    <a:pt x="264" y="435"/>
                  </a:lnTo>
                  <a:lnTo>
                    <a:pt x="264" y="435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4" y="436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3" y="437"/>
                  </a:lnTo>
                  <a:lnTo>
                    <a:pt x="262" y="437"/>
                  </a:lnTo>
                  <a:lnTo>
                    <a:pt x="262" y="437"/>
                  </a:lnTo>
                  <a:lnTo>
                    <a:pt x="261" y="437"/>
                  </a:lnTo>
                  <a:lnTo>
                    <a:pt x="260" y="437"/>
                  </a:lnTo>
                  <a:lnTo>
                    <a:pt x="260" y="437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0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1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59" y="440"/>
                  </a:lnTo>
                  <a:lnTo>
                    <a:pt x="259" y="440"/>
                  </a:lnTo>
                  <a:lnTo>
                    <a:pt x="259" y="441"/>
                  </a:lnTo>
                  <a:lnTo>
                    <a:pt x="258" y="441"/>
                  </a:lnTo>
                  <a:lnTo>
                    <a:pt x="258" y="440"/>
                  </a:lnTo>
                  <a:lnTo>
                    <a:pt x="257" y="440"/>
                  </a:lnTo>
                  <a:lnTo>
                    <a:pt x="257" y="441"/>
                  </a:lnTo>
                  <a:lnTo>
                    <a:pt x="258" y="442"/>
                  </a:lnTo>
                  <a:lnTo>
                    <a:pt x="257" y="442"/>
                  </a:lnTo>
                  <a:lnTo>
                    <a:pt x="257" y="442"/>
                  </a:lnTo>
                  <a:lnTo>
                    <a:pt x="256" y="442"/>
                  </a:lnTo>
                  <a:lnTo>
                    <a:pt x="256" y="442"/>
                  </a:lnTo>
                  <a:lnTo>
                    <a:pt x="256" y="443"/>
                  </a:lnTo>
                  <a:lnTo>
                    <a:pt x="256" y="442"/>
                  </a:lnTo>
                  <a:lnTo>
                    <a:pt x="255" y="443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4" y="443"/>
                  </a:lnTo>
                  <a:lnTo>
                    <a:pt x="255" y="443"/>
                  </a:lnTo>
                  <a:lnTo>
                    <a:pt x="254" y="443"/>
                  </a:lnTo>
                  <a:lnTo>
                    <a:pt x="253" y="443"/>
                  </a:lnTo>
                  <a:lnTo>
                    <a:pt x="253" y="443"/>
                  </a:lnTo>
                  <a:lnTo>
                    <a:pt x="253" y="442"/>
                  </a:lnTo>
                  <a:lnTo>
                    <a:pt x="252" y="442"/>
                  </a:lnTo>
                  <a:lnTo>
                    <a:pt x="252" y="442"/>
                  </a:lnTo>
                  <a:lnTo>
                    <a:pt x="251" y="442"/>
                  </a:lnTo>
                  <a:lnTo>
                    <a:pt x="251" y="442"/>
                  </a:lnTo>
                  <a:lnTo>
                    <a:pt x="250" y="442"/>
                  </a:lnTo>
                  <a:lnTo>
                    <a:pt x="249" y="442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8" y="443"/>
                  </a:lnTo>
                  <a:lnTo>
                    <a:pt x="249" y="444"/>
                  </a:lnTo>
                  <a:lnTo>
                    <a:pt x="249" y="444"/>
                  </a:lnTo>
                  <a:lnTo>
                    <a:pt x="248" y="444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8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4" y="446"/>
                  </a:lnTo>
                  <a:lnTo>
                    <a:pt x="244" y="446"/>
                  </a:lnTo>
                  <a:lnTo>
                    <a:pt x="244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2" y="447"/>
                  </a:lnTo>
                  <a:lnTo>
                    <a:pt x="242" y="446"/>
                  </a:lnTo>
                  <a:lnTo>
                    <a:pt x="242" y="446"/>
                  </a:lnTo>
                  <a:lnTo>
                    <a:pt x="242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0" y="445"/>
                  </a:lnTo>
                  <a:lnTo>
                    <a:pt x="240" y="445"/>
                  </a:lnTo>
                  <a:lnTo>
                    <a:pt x="240" y="444"/>
                  </a:lnTo>
                  <a:lnTo>
                    <a:pt x="239" y="444"/>
                  </a:lnTo>
                  <a:lnTo>
                    <a:pt x="239" y="444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7" y="441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6" y="441"/>
                  </a:lnTo>
                  <a:lnTo>
                    <a:pt x="236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8" y="440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8" y="439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7" y="439"/>
                  </a:lnTo>
                  <a:lnTo>
                    <a:pt x="236" y="439"/>
                  </a:lnTo>
                  <a:lnTo>
                    <a:pt x="236" y="439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5" y="440"/>
                  </a:lnTo>
                  <a:lnTo>
                    <a:pt x="235" y="441"/>
                  </a:lnTo>
                  <a:lnTo>
                    <a:pt x="234" y="441"/>
                  </a:lnTo>
                  <a:lnTo>
                    <a:pt x="234" y="441"/>
                  </a:lnTo>
                  <a:lnTo>
                    <a:pt x="234" y="442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3" y="443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1" y="442"/>
                  </a:lnTo>
                  <a:lnTo>
                    <a:pt x="231" y="442"/>
                  </a:lnTo>
                  <a:lnTo>
                    <a:pt x="230" y="442"/>
                  </a:lnTo>
                  <a:lnTo>
                    <a:pt x="230" y="442"/>
                  </a:lnTo>
                  <a:lnTo>
                    <a:pt x="230" y="441"/>
                  </a:lnTo>
                  <a:lnTo>
                    <a:pt x="229" y="441"/>
                  </a:lnTo>
                  <a:lnTo>
                    <a:pt x="229" y="442"/>
                  </a:lnTo>
                  <a:lnTo>
                    <a:pt x="229" y="442"/>
                  </a:lnTo>
                  <a:lnTo>
                    <a:pt x="229" y="441"/>
                  </a:lnTo>
                  <a:lnTo>
                    <a:pt x="228" y="441"/>
                  </a:lnTo>
                  <a:lnTo>
                    <a:pt x="227" y="441"/>
                  </a:lnTo>
                  <a:lnTo>
                    <a:pt x="226" y="440"/>
                  </a:lnTo>
                  <a:lnTo>
                    <a:pt x="226" y="441"/>
                  </a:lnTo>
                  <a:lnTo>
                    <a:pt x="226" y="441"/>
                  </a:lnTo>
                  <a:lnTo>
                    <a:pt x="226" y="440"/>
                  </a:lnTo>
                  <a:lnTo>
                    <a:pt x="225" y="440"/>
                  </a:lnTo>
                  <a:lnTo>
                    <a:pt x="225" y="440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38"/>
                  </a:lnTo>
                  <a:lnTo>
                    <a:pt x="224" y="437"/>
                  </a:lnTo>
                  <a:lnTo>
                    <a:pt x="223" y="437"/>
                  </a:lnTo>
                  <a:lnTo>
                    <a:pt x="223" y="437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3" y="436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1" y="435"/>
                  </a:lnTo>
                  <a:lnTo>
                    <a:pt x="221" y="434"/>
                  </a:lnTo>
                  <a:lnTo>
                    <a:pt x="221" y="434"/>
                  </a:lnTo>
                  <a:lnTo>
                    <a:pt x="221" y="433"/>
                  </a:lnTo>
                  <a:lnTo>
                    <a:pt x="220" y="433"/>
                  </a:lnTo>
                  <a:lnTo>
                    <a:pt x="220" y="434"/>
                  </a:lnTo>
                  <a:lnTo>
                    <a:pt x="220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2"/>
                  </a:lnTo>
                  <a:lnTo>
                    <a:pt x="218" y="432"/>
                  </a:lnTo>
                  <a:lnTo>
                    <a:pt x="217" y="432"/>
                  </a:lnTo>
                  <a:lnTo>
                    <a:pt x="217" y="431"/>
                  </a:lnTo>
                  <a:lnTo>
                    <a:pt x="217" y="431"/>
                  </a:lnTo>
                  <a:lnTo>
                    <a:pt x="217" y="430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6" y="429"/>
                  </a:lnTo>
                  <a:lnTo>
                    <a:pt x="216" y="428"/>
                  </a:lnTo>
                  <a:lnTo>
                    <a:pt x="215" y="428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6"/>
                  </a:lnTo>
                  <a:lnTo>
                    <a:pt x="215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5"/>
                  </a:lnTo>
                  <a:lnTo>
                    <a:pt x="213" y="425"/>
                  </a:lnTo>
                  <a:lnTo>
                    <a:pt x="212" y="425"/>
                  </a:lnTo>
                  <a:lnTo>
                    <a:pt x="212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11" y="424"/>
                  </a:lnTo>
                  <a:lnTo>
                    <a:pt x="210" y="424"/>
                  </a:lnTo>
                  <a:lnTo>
                    <a:pt x="210" y="424"/>
                  </a:lnTo>
                  <a:lnTo>
                    <a:pt x="209" y="424"/>
                  </a:lnTo>
                  <a:lnTo>
                    <a:pt x="208" y="424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7" y="425"/>
                  </a:lnTo>
                  <a:lnTo>
                    <a:pt x="207" y="425"/>
                  </a:lnTo>
                  <a:lnTo>
                    <a:pt x="206" y="425"/>
                  </a:lnTo>
                  <a:lnTo>
                    <a:pt x="206" y="425"/>
                  </a:lnTo>
                  <a:lnTo>
                    <a:pt x="205" y="425"/>
                  </a:lnTo>
                  <a:lnTo>
                    <a:pt x="205" y="426"/>
                  </a:lnTo>
                  <a:lnTo>
                    <a:pt x="205" y="426"/>
                  </a:lnTo>
                  <a:lnTo>
                    <a:pt x="204" y="426"/>
                  </a:lnTo>
                  <a:lnTo>
                    <a:pt x="204" y="427"/>
                  </a:lnTo>
                  <a:lnTo>
                    <a:pt x="203" y="427"/>
                  </a:lnTo>
                  <a:lnTo>
                    <a:pt x="203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1" y="428"/>
                  </a:lnTo>
                  <a:lnTo>
                    <a:pt x="201" y="427"/>
                  </a:lnTo>
                  <a:lnTo>
                    <a:pt x="200" y="428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199" y="427"/>
                  </a:lnTo>
                  <a:lnTo>
                    <a:pt x="199" y="426"/>
                  </a:lnTo>
                  <a:lnTo>
                    <a:pt x="198" y="427"/>
                  </a:lnTo>
                  <a:lnTo>
                    <a:pt x="197" y="427"/>
                  </a:lnTo>
                  <a:lnTo>
                    <a:pt x="197" y="426"/>
                  </a:lnTo>
                  <a:lnTo>
                    <a:pt x="197" y="427"/>
                  </a:lnTo>
                  <a:lnTo>
                    <a:pt x="196" y="427"/>
                  </a:lnTo>
                  <a:lnTo>
                    <a:pt x="195" y="427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4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2" y="425"/>
                  </a:lnTo>
                  <a:lnTo>
                    <a:pt x="192" y="424"/>
                  </a:lnTo>
                  <a:lnTo>
                    <a:pt x="192" y="424"/>
                  </a:lnTo>
                  <a:lnTo>
                    <a:pt x="192" y="423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2" y="422"/>
                  </a:lnTo>
                  <a:lnTo>
                    <a:pt x="192" y="422"/>
                  </a:lnTo>
                  <a:lnTo>
                    <a:pt x="191" y="422"/>
                  </a:lnTo>
                  <a:lnTo>
                    <a:pt x="191" y="421"/>
                  </a:lnTo>
                  <a:lnTo>
                    <a:pt x="191" y="421"/>
                  </a:lnTo>
                  <a:lnTo>
                    <a:pt x="190" y="421"/>
                  </a:lnTo>
                  <a:lnTo>
                    <a:pt x="189" y="421"/>
                  </a:lnTo>
                  <a:lnTo>
                    <a:pt x="189" y="421"/>
                  </a:lnTo>
                  <a:lnTo>
                    <a:pt x="188" y="421"/>
                  </a:lnTo>
                  <a:lnTo>
                    <a:pt x="188" y="422"/>
                  </a:lnTo>
                  <a:lnTo>
                    <a:pt x="188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6" y="422"/>
                  </a:lnTo>
                  <a:lnTo>
                    <a:pt x="186" y="423"/>
                  </a:lnTo>
                  <a:lnTo>
                    <a:pt x="187" y="423"/>
                  </a:lnTo>
                  <a:lnTo>
                    <a:pt x="187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5" y="425"/>
                  </a:lnTo>
                  <a:lnTo>
                    <a:pt x="185" y="425"/>
                  </a:lnTo>
                  <a:lnTo>
                    <a:pt x="185" y="426"/>
                  </a:lnTo>
                  <a:lnTo>
                    <a:pt x="185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7"/>
                  </a:lnTo>
                  <a:lnTo>
                    <a:pt x="184" y="428"/>
                  </a:lnTo>
                  <a:lnTo>
                    <a:pt x="182" y="423"/>
                  </a:lnTo>
                  <a:lnTo>
                    <a:pt x="180" y="418"/>
                  </a:lnTo>
                  <a:lnTo>
                    <a:pt x="178" y="416"/>
                  </a:lnTo>
                  <a:lnTo>
                    <a:pt x="178" y="415"/>
                  </a:lnTo>
                  <a:lnTo>
                    <a:pt x="177" y="414"/>
                  </a:lnTo>
                  <a:lnTo>
                    <a:pt x="177" y="414"/>
                  </a:lnTo>
                  <a:lnTo>
                    <a:pt x="176" y="413"/>
                  </a:lnTo>
                  <a:lnTo>
                    <a:pt x="174" y="409"/>
                  </a:lnTo>
                  <a:lnTo>
                    <a:pt x="173" y="407"/>
                  </a:lnTo>
                  <a:lnTo>
                    <a:pt x="171" y="404"/>
                  </a:lnTo>
                  <a:lnTo>
                    <a:pt x="170" y="402"/>
                  </a:lnTo>
                  <a:lnTo>
                    <a:pt x="169" y="400"/>
                  </a:lnTo>
                  <a:lnTo>
                    <a:pt x="168" y="399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6" y="397"/>
                  </a:lnTo>
                  <a:lnTo>
                    <a:pt x="164" y="395"/>
                  </a:lnTo>
                  <a:lnTo>
                    <a:pt x="162" y="393"/>
                  </a:lnTo>
                  <a:lnTo>
                    <a:pt x="160" y="392"/>
                  </a:lnTo>
                  <a:lnTo>
                    <a:pt x="158" y="391"/>
                  </a:lnTo>
                  <a:lnTo>
                    <a:pt x="157" y="389"/>
                  </a:lnTo>
                  <a:lnTo>
                    <a:pt x="155" y="388"/>
                  </a:lnTo>
                  <a:lnTo>
                    <a:pt x="155" y="388"/>
                  </a:lnTo>
                  <a:lnTo>
                    <a:pt x="155" y="387"/>
                  </a:lnTo>
                  <a:lnTo>
                    <a:pt x="155" y="387"/>
                  </a:lnTo>
                  <a:lnTo>
                    <a:pt x="155" y="386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7" y="386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3"/>
                  </a:lnTo>
                  <a:lnTo>
                    <a:pt x="159" y="383"/>
                  </a:lnTo>
                  <a:lnTo>
                    <a:pt x="159" y="383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7" y="383"/>
                  </a:lnTo>
                  <a:lnTo>
                    <a:pt x="156" y="384"/>
                  </a:lnTo>
                  <a:lnTo>
                    <a:pt x="156" y="384"/>
                  </a:lnTo>
                  <a:lnTo>
                    <a:pt x="155" y="384"/>
                  </a:lnTo>
                  <a:lnTo>
                    <a:pt x="155" y="384"/>
                  </a:lnTo>
                  <a:lnTo>
                    <a:pt x="154" y="384"/>
                  </a:lnTo>
                  <a:lnTo>
                    <a:pt x="154" y="384"/>
                  </a:lnTo>
                  <a:lnTo>
                    <a:pt x="153" y="384"/>
                  </a:lnTo>
                  <a:lnTo>
                    <a:pt x="153" y="384"/>
                  </a:lnTo>
                  <a:lnTo>
                    <a:pt x="152" y="384"/>
                  </a:lnTo>
                  <a:lnTo>
                    <a:pt x="153" y="385"/>
                  </a:lnTo>
                  <a:lnTo>
                    <a:pt x="149" y="387"/>
                  </a:lnTo>
                  <a:lnTo>
                    <a:pt x="148" y="387"/>
                  </a:lnTo>
                  <a:lnTo>
                    <a:pt x="148" y="387"/>
                  </a:lnTo>
                  <a:lnTo>
                    <a:pt x="147" y="387"/>
                  </a:lnTo>
                  <a:lnTo>
                    <a:pt x="146" y="387"/>
                  </a:lnTo>
                  <a:lnTo>
                    <a:pt x="147" y="388"/>
                  </a:lnTo>
                  <a:lnTo>
                    <a:pt x="147" y="388"/>
                  </a:lnTo>
                  <a:lnTo>
                    <a:pt x="146" y="388"/>
                  </a:lnTo>
                  <a:lnTo>
                    <a:pt x="146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4" y="390"/>
                  </a:lnTo>
                  <a:lnTo>
                    <a:pt x="144" y="391"/>
                  </a:lnTo>
                  <a:lnTo>
                    <a:pt x="143" y="391"/>
                  </a:lnTo>
                  <a:lnTo>
                    <a:pt x="143" y="390"/>
                  </a:lnTo>
                  <a:lnTo>
                    <a:pt x="143" y="390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1"/>
                  </a:lnTo>
                  <a:lnTo>
                    <a:pt x="140" y="391"/>
                  </a:lnTo>
                  <a:lnTo>
                    <a:pt x="140" y="392"/>
                  </a:lnTo>
                  <a:lnTo>
                    <a:pt x="139" y="392"/>
                  </a:lnTo>
                  <a:lnTo>
                    <a:pt x="139" y="392"/>
                  </a:lnTo>
                  <a:lnTo>
                    <a:pt x="139" y="393"/>
                  </a:lnTo>
                  <a:lnTo>
                    <a:pt x="139" y="394"/>
                  </a:lnTo>
                  <a:lnTo>
                    <a:pt x="139" y="394"/>
                  </a:lnTo>
                  <a:lnTo>
                    <a:pt x="138" y="395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3"/>
                  </a:lnTo>
                  <a:lnTo>
                    <a:pt x="136" y="393"/>
                  </a:lnTo>
                  <a:lnTo>
                    <a:pt x="136" y="394"/>
                  </a:lnTo>
                  <a:lnTo>
                    <a:pt x="136" y="394"/>
                  </a:lnTo>
                  <a:lnTo>
                    <a:pt x="136" y="392"/>
                  </a:lnTo>
                  <a:lnTo>
                    <a:pt x="134" y="392"/>
                  </a:lnTo>
                  <a:lnTo>
                    <a:pt x="134" y="393"/>
                  </a:lnTo>
                  <a:lnTo>
                    <a:pt x="133" y="393"/>
                  </a:lnTo>
                  <a:lnTo>
                    <a:pt x="132" y="393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0" y="395"/>
                  </a:lnTo>
                  <a:lnTo>
                    <a:pt x="130" y="395"/>
                  </a:lnTo>
                  <a:lnTo>
                    <a:pt x="130" y="394"/>
                  </a:lnTo>
                  <a:lnTo>
                    <a:pt x="130" y="394"/>
                  </a:lnTo>
                  <a:lnTo>
                    <a:pt x="129" y="394"/>
                  </a:lnTo>
                  <a:lnTo>
                    <a:pt x="129" y="393"/>
                  </a:lnTo>
                  <a:lnTo>
                    <a:pt x="129" y="392"/>
                  </a:lnTo>
                  <a:lnTo>
                    <a:pt x="129" y="392"/>
                  </a:lnTo>
                  <a:lnTo>
                    <a:pt x="130" y="392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0"/>
                  </a:lnTo>
                  <a:lnTo>
                    <a:pt x="130" y="389"/>
                  </a:lnTo>
                  <a:lnTo>
                    <a:pt x="132" y="389"/>
                  </a:lnTo>
                  <a:lnTo>
                    <a:pt x="132" y="390"/>
                  </a:lnTo>
                  <a:lnTo>
                    <a:pt x="133" y="390"/>
                  </a:lnTo>
                  <a:lnTo>
                    <a:pt x="133" y="387"/>
                  </a:lnTo>
                  <a:lnTo>
                    <a:pt x="133" y="388"/>
                  </a:lnTo>
                  <a:lnTo>
                    <a:pt x="133" y="387"/>
                  </a:lnTo>
                  <a:lnTo>
                    <a:pt x="132" y="387"/>
                  </a:lnTo>
                  <a:lnTo>
                    <a:pt x="132" y="388"/>
                  </a:lnTo>
                  <a:lnTo>
                    <a:pt x="132" y="388"/>
                  </a:lnTo>
                  <a:lnTo>
                    <a:pt x="131" y="388"/>
                  </a:lnTo>
                  <a:lnTo>
                    <a:pt x="132" y="389"/>
                  </a:lnTo>
                  <a:lnTo>
                    <a:pt x="131" y="389"/>
                  </a:lnTo>
                  <a:lnTo>
                    <a:pt x="131" y="388"/>
                  </a:lnTo>
                  <a:lnTo>
                    <a:pt x="130" y="388"/>
                  </a:lnTo>
                  <a:lnTo>
                    <a:pt x="130" y="389"/>
                  </a:lnTo>
                  <a:lnTo>
                    <a:pt x="129" y="389"/>
                  </a:lnTo>
                  <a:lnTo>
                    <a:pt x="129" y="388"/>
                  </a:lnTo>
                  <a:lnTo>
                    <a:pt x="129" y="388"/>
                  </a:lnTo>
                  <a:lnTo>
                    <a:pt x="128" y="388"/>
                  </a:lnTo>
                  <a:lnTo>
                    <a:pt x="128" y="388"/>
                  </a:lnTo>
                  <a:lnTo>
                    <a:pt x="127" y="388"/>
                  </a:lnTo>
                  <a:lnTo>
                    <a:pt x="127" y="387"/>
                  </a:lnTo>
                  <a:lnTo>
                    <a:pt x="126" y="387"/>
                  </a:lnTo>
                  <a:lnTo>
                    <a:pt x="126" y="387"/>
                  </a:lnTo>
                  <a:lnTo>
                    <a:pt x="125" y="387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4" y="388"/>
                  </a:lnTo>
                  <a:lnTo>
                    <a:pt x="124" y="388"/>
                  </a:lnTo>
                  <a:lnTo>
                    <a:pt x="125" y="388"/>
                  </a:lnTo>
                  <a:lnTo>
                    <a:pt x="125" y="388"/>
                  </a:lnTo>
                  <a:lnTo>
                    <a:pt x="125" y="389"/>
                  </a:lnTo>
                  <a:lnTo>
                    <a:pt x="124" y="388"/>
                  </a:lnTo>
                  <a:lnTo>
                    <a:pt x="123" y="389"/>
                  </a:lnTo>
                  <a:lnTo>
                    <a:pt x="122" y="389"/>
                  </a:lnTo>
                  <a:lnTo>
                    <a:pt x="122" y="389"/>
                  </a:lnTo>
                  <a:lnTo>
                    <a:pt x="122" y="388"/>
                  </a:lnTo>
                  <a:lnTo>
                    <a:pt x="122" y="388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3" y="387"/>
                  </a:lnTo>
                  <a:lnTo>
                    <a:pt x="122" y="386"/>
                  </a:lnTo>
                  <a:lnTo>
                    <a:pt x="122" y="386"/>
                  </a:lnTo>
                  <a:lnTo>
                    <a:pt x="121" y="386"/>
                  </a:lnTo>
                  <a:lnTo>
                    <a:pt x="122" y="385"/>
                  </a:lnTo>
                  <a:lnTo>
                    <a:pt x="121" y="385"/>
                  </a:lnTo>
                  <a:lnTo>
                    <a:pt x="121" y="384"/>
                  </a:lnTo>
                  <a:lnTo>
                    <a:pt x="121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0" y="384"/>
                  </a:lnTo>
                  <a:lnTo>
                    <a:pt x="120" y="385"/>
                  </a:lnTo>
                  <a:lnTo>
                    <a:pt x="119" y="385"/>
                  </a:lnTo>
                  <a:lnTo>
                    <a:pt x="120" y="385"/>
                  </a:lnTo>
                  <a:lnTo>
                    <a:pt x="121" y="386"/>
                  </a:lnTo>
                  <a:lnTo>
                    <a:pt x="121" y="387"/>
                  </a:lnTo>
                  <a:lnTo>
                    <a:pt x="120" y="386"/>
                  </a:lnTo>
                  <a:lnTo>
                    <a:pt x="119" y="386"/>
                  </a:lnTo>
                  <a:lnTo>
                    <a:pt x="119" y="385"/>
                  </a:lnTo>
                  <a:lnTo>
                    <a:pt x="119" y="385"/>
                  </a:lnTo>
                  <a:lnTo>
                    <a:pt x="118" y="385"/>
                  </a:lnTo>
                  <a:lnTo>
                    <a:pt x="117" y="385"/>
                  </a:lnTo>
                  <a:lnTo>
                    <a:pt x="117" y="386"/>
                  </a:lnTo>
                  <a:lnTo>
                    <a:pt x="117" y="386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6" y="387"/>
                  </a:lnTo>
                  <a:lnTo>
                    <a:pt x="115" y="387"/>
                  </a:lnTo>
                  <a:lnTo>
                    <a:pt x="115" y="386"/>
                  </a:lnTo>
                  <a:lnTo>
                    <a:pt x="114" y="386"/>
                  </a:lnTo>
                  <a:lnTo>
                    <a:pt x="113" y="386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112" y="387"/>
                  </a:lnTo>
                  <a:lnTo>
                    <a:pt x="112" y="386"/>
                  </a:lnTo>
                  <a:lnTo>
                    <a:pt x="111" y="386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4"/>
                  </a:lnTo>
                  <a:lnTo>
                    <a:pt x="112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0"/>
                  </a:lnTo>
                  <a:lnTo>
                    <a:pt x="113" y="380"/>
                  </a:lnTo>
                  <a:lnTo>
                    <a:pt x="112" y="380"/>
                  </a:lnTo>
                  <a:lnTo>
                    <a:pt x="112" y="379"/>
                  </a:lnTo>
                  <a:lnTo>
                    <a:pt x="111" y="379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5"/>
                  </a:lnTo>
                  <a:lnTo>
                    <a:pt x="111" y="375"/>
                  </a:lnTo>
                  <a:lnTo>
                    <a:pt x="111" y="374"/>
                  </a:lnTo>
                  <a:lnTo>
                    <a:pt x="110" y="374"/>
                  </a:lnTo>
                  <a:lnTo>
                    <a:pt x="110" y="374"/>
                  </a:lnTo>
                  <a:lnTo>
                    <a:pt x="110" y="373"/>
                  </a:lnTo>
                  <a:lnTo>
                    <a:pt x="110" y="372"/>
                  </a:lnTo>
                  <a:lnTo>
                    <a:pt x="109" y="372"/>
                  </a:lnTo>
                  <a:lnTo>
                    <a:pt x="109" y="372"/>
                  </a:lnTo>
                  <a:lnTo>
                    <a:pt x="108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2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5" y="374"/>
                  </a:lnTo>
                  <a:lnTo>
                    <a:pt x="104" y="374"/>
                  </a:lnTo>
                  <a:lnTo>
                    <a:pt x="104" y="374"/>
                  </a:lnTo>
                  <a:lnTo>
                    <a:pt x="104" y="373"/>
                  </a:lnTo>
                  <a:lnTo>
                    <a:pt x="103" y="373"/>
                  </a:lnTo>
                  <a:lnTo>
                    <a:pt x="103" y="373"/>
                  </a:lnTo>
                  <a:lnTo>
                    <a:pt x="102" y="373"/>
                  </a:lnTo>
                  <a:lnTo>
                    <a:pt x="102" y="372"/>
                  </a:lnTo>
                  <a:lnTo>
                    <a:pt x="102" y="372"/>
                  </a:lnTo>
                  <a:lnTo>
                    <a:pt x="101" y="372"/>
                  </a:lnTo>
                  <a:lnTo>
                    <a:pt x="100" y="372"/>
                  </a:lnTo>
                  <a:lnTo>
                    <a:pt x="100" y="372"/>
                  </a:lnTo>
                  <a:lnTo>
                    <a:pt x="99" y="372"/>
                  </a:lnTo>
                  <a:lnTo>
                    <a:pt x="99" y="372"/>
                  </a:lnTo>
                  <a:lnTo>
                    <a:pt x="98" y="372"/>
                  </a:lnTo>
                  <a:lnTo>
                    <a:pt x="99" y="372"/>
                  </a:lnTo>
                  <a:lnTo>
                    <a:pt x="99" y="371"/>
                  </a:lnTo>
                  <a:lnTo>
                    <a:pt x="98" y="371"/>
                  </a:lnTo>
                  <a:lnTo>
                    <a:pt x="98" y="371"/>
                  </a:lnTo>
                  <a:lnTo>
                    <a:pt x="98" y="372"/>
                  </a:lnTo>
                  <a:lnTo>
                    <a:pt x="97" y="372"/>
                  </a:lnTo>
                  <a:lnTo>
                    <a:pt x="96" y="372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6" y="370"/>
                  </a:lnTo>
                  <a:lnTo>
                    <a:pt x="95" y="370"/>
                  </a:lnTo>
                  <a:lnTo>
                    <a:pt x="95" y="370"/>
                  </a:lnTo>
                  <a:lnTo>
                    <a:pt x="94" y="371"/>
                  </a:lnTo>
                  <a:lnTo>
                    <a:pt x="94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4" y="372"/>
                  </a:lnTo>
                  <a:lnTo>
                    <a:pt x="93" y="372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3" y="372"/>
                  </a:lnTo>
                  <a:lnTo>
                    <a:pt x="92" y="372"/>
                  </a:lnTo>
                  <a:lnTo>
                    <a:pt x="92" y="372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1" y="373"/>
                  </a:lnTo>
                  <a:lnTo>
                    <a:pt x="91" y="373"/>
                  </a:lnTo>
                  <a:lnTo>
                    <a:pt x="90" y="373"/>
                  </a:lnTo>
                  <a:lnTo>
                    <a:pt x="90" y="374"/>
                  </a:lnTo>
                  <a:lnTo>
                    <a:pt x="89" y="374"/>
                  </a:lnTo>
                  <a:lnTo>
                    <a:pt x="89" y="373"/>
                  </a:lnTo>
                  <a:lnTo>
                    <a:pt x="89" y="373"/>
                  </a:lnTo>
                  <a:lnTo>
                    <a:pt x="88" y="373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9" y="375"/>
                  </a:lnTo>
                  <a:lnTo>
                    <a:pt x="89" y="375"/>
                  </a:lnTo>
                  <a:lnTo>
                    <a:pt x="89" y="376"/>
                  </a:lnTo>
                  <a:lnTo>
                    <a:pt x="88" y="376"/>
                  </a:lnTo>
                  <a:lnTo>
                    <a:pt x="89" y="376"/>
                  </a:lnTo>
                  <a:lnTo>
                    <a:pt x="87" y="376"/>
                  </a:lnTo>
                  <a:lnTo>
                    <a:pt x="86" y="376"/>
                  </a:lnTo>
                  <a:lnTo>
                    <a:pt x="85" y="376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4" y="377"/>
                  </a:lnTo>
                  <a:lnTo>
                    <a:pt x="84" y="378"/>
                  </a:lnTo>
                  <a:lnTo>
                    <a:pt x="83" y="378"/>
                  </a:lnTo>
                  <a:lnTo>
                    <a:pt x="83" y="377"/>
                  </a:lnTo>
                  <a:lnTo>
                    <a:pt x="83" y="377"/>
                  </a:lnTo>
                  <a:lnTo>
                    <a:pt x="82" y="377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1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79" y="378"/>
                  </a:lnTo>
                  <a:lnTo>
                    <a:pt x="78" y="378"/>
                  </a:lnTo>
                  <a:lnTo>
                    <a:pt x="77" y="378"/>
                  </a:lnTo>
                  <a:lnTo>
                    <a:pt x="77" y="379"/>
                  </a:lnTo>
                  <a:lnTo>
                    <a:pt x="76" y="379"/>
                  </a:lnTo>
                  <a:lnTo>
                    <a:pt x="74" y="380"/>
                  </a:lnTo>
                  <a:lnTo>
                    <a:pt x="72" y="380"/>
                  </a:lnTo>
                  <a:lnTo>
                    <a:pt x="71" y="380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71" y="380"/>
                  </a:lnTo>
                  <a:lnTo>
                    <a:pt x="71" y="379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69" y="380"/>
                  </a:lnTo>
                  <a:lnTo>
                    <a:pt x="69" y="381"/>
                  </a:lnTo>
                  <a:lnTo>
                    <a:pt x="69" y="381"/>
                  </a:lnTo>
                  <a:lnTo>
                    <a:pt x="68" y="380"/>
                  </a:lnTo>
                  <a:lnTo>
                    <a:pt x="67" y="380"/>
                  </a:lnTo>
                  <a:lnTo>
                    <a:pt x="67" y="380"/>
                  </a:lnTo>
                  <a:lnTo>
                    <a:pt x="66" y="380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5" y="381"/>
                  </a:lnTo>
                  <a:lnTo>
                    <a:pt x="65" y="381"/>
                  </a:lnTo>
                  <a:lnTo>
                    <a:pt x="65" y="382"/>
                  </a:lnTo>
                  <a:lnTo>
                    <a:pt x="65" y="383"/>
                  </a:lnTo>
                  <a:lnTo>
                    <a:pt x="65" y="383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4" y="384"/>
                  </a:lnTo>
                  <a:lnTo>
                    <a:pt x="64" y="384"/>
                  </a:lnTo>
                  <a:lnTo>
                    <a:pt x="63" y="384"/>
                  </a:lnTo>
                  <a:lnTo>
                    <a:pt x="63" y="384"/>
                  </a:lnTo>
                  <a:lnTo>
                    <a:pt x="63" y="383"/>
                  </a:lnTo>
                  <a:lnTo>
                    <a:pt x="62" y="383"/>
                  </a:lnTo>
                  <a:lnTo>
                    <a:pt x="62" y="383"/>
                  </a:lnTo>
                  <a:lnTo>
                    <a:pt x="61" y="384"/>
                  </a:lnTo>
                  <a:lnTo>
                    <a:pt x="61" y="384"/>
                  </a:lnTo>
                  <a:lnTo>
                    <a:pt x="60" y="384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7" y="384"/>
                  </a:lnTo>
                  <a:lnTo>
                    <a:pt x="57" y="384"/>
                  </a:lnTo>
                  <a:lnTo>
                    <a:pt x="56" y="384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3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1" y="385"/>
                  </a:lnTo>
                  <a:lnTo>
                    <a:pt x="51" y="385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8" y="385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7"/>
                  </a:lnTo>
                  <a:lnTo>
                    <a:pt x="47" y="387"/>
                  </a:lnTo>
                  <a:lnTo>
                    <a:pt x="47" y="387"/>
                  </a:lnTo>
                  <a:lnTo>
                    <a:pt x="46" y="387"/>
                  </a:lnTo>
                  <a:lnTo>
                    <a:pt x="46" y="387"/>
                  </a:lnTo>
                  <a:lnTo>
                    <a:pt x="45" y="387"/>
                  </a:lnTo>
                  <a:lnTo>
                    <a:pt x="45" y="387"/>
                  </a:lnTo>
                  <a:lnTo>
                    <a:pt x="44" y="387"/>
                  </a:lnTo>
                  <a:lnTo>
                    <a:pt x="44" y="387"/>
                  </a:lnTo>
                  <a:lnTo>
                    <a:pt x="43" y="387"/>
                  </a:lnTo>
                  <a:lnTo>
                    <a:pt x="43" y="388"/>
                  </a:lnTo>
                  <a:lnTo>
                    <a:pt x="44" y="388"/>
                  </a:lnTo>
                  <a:lnTo>
                    <a:pt x="43" y="388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2" y="389"/>
                  </a:lnTo>
                  <a:lnTo>
                    <a:pt x="42" y="388"/>
                  </a:lnTo>
                  <a:lnTo>
                    <a:pt x="43" y="388"/>
                  </a:lnTo>
                  <a:lnTo>
                    <a:pt x="42" y="388"/>
                  </a:lnTo>
                  <a:lnTo>
                    <a:pt x="41" y="388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39" y="388"/>
                  </a:lnTo>
                  <a:lnTo>
                    <a:pt x="39" y="389"/>
                  </a:lnTo>
                  <a:lnTo>
                    <a:pt x="38" y="389"/>
                  </a:lnTo>
                  <a:lnTo>
                    <a:pt x="37" y="388"/>
                  </a:lnTo>
                  <a:lnTo>
                    <a:pt x="38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3" y="387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33" y="389"/>
                  </a:lnTo>
                  <a:lnTo>
                    <a:pt x="32" y="389"/>
                  </a:lnTo>
                  <a:lnTo>
                    <a:pt x="32" y="388"/>
                  </a:lnTo>
                  <a:lnTo>
                    <a:pt x="32" y="388"/>
                  </a:lnTo>
                  <a:lnTo>
                    <a:pt x="31" y="388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2" y="389"/>
                  </a:lnTo>
                  <a:lnTo>
                    <a:pt x="32" y="390"/>
                  </a:lnTo>
                  <a:lnTo>
                    <a:pt x="33" y="390"/>
                  </a:lnTo>
                  <a:lnTo>
                    <a:pt x="33" y="391"/>
                  </a:lnTo>
                  <a:lnTo>
                    <a:pt x="32" y="391"/>
                  </a:lnTo>
                  <a:lnTo>
                    <a:pt x="32" y="391"/>
                  </a:lnTo>
                  <a:lnTo>
                    <a:pt x="31" y="391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0" y="392"/>
                  </a:lnTo>
                  <a:lnTo>
                    <a:pt x="30" y="393"/>
                  </a:lnTo>
                  <a:lnTo>
                    <a:pt x="31" y="393"/>
                  </a:lnTo>
                  <a:lnTo>
                    <a:pt x="32" y="393"/>
                  </a:lnTo>
                  <a:lnTo>
                    <a:pt x="32" y="393"/>
                  </a:lnTo>
                  <a:lnTo>
                    <a:pt x="32" y="394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4" y="393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394"/>
                  </a:lnTo>
                  <a:lnTo>
                    <a:pt x="36" y="394"/>
                  </a:lnTo>
                  <a:lnTo>
                    <a:pt x="35" y="394"/>
                  </a:lnTo>
                  <a:lnTo>
                    <a:pt x="35" y="395"/>
                  </a:lnTo>
                  <a:lnTo>
                    <a:pt x="34" y="395"/>
                  </a:lnTo>
                  <a:lnTo>
                    <a:pt x="33" y="395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2" y="394"/>
                  </a:lnTo>
                  <a:lnTo>
                    <a:pt x="32" y="395"/>
                  </a:lnTo>
                  <a:lnTo>
                    <a:pt x="32" y="395"/>
                  </a:lnTo>
                  <a:lnTo>
                    <a:pt x="32" y="396"/>
                  </a:lnTo>
                  <a:lnTo>
                    <a:pt x="32" y="397"/>
                  </a:lnTo>
                  <a:lnTo>
                    <a:pt x="33" y="397"/>
                  </a:lnTo>
                  <a:lnTo>
                    <a:pt x="33" y="397"/>
                  </a:lnTo>
                  <a:lnTo>
                    <a:pt x="34" y="397"/>
                  </a:lnTo>
                  <a:lnTo>
                    <a:pt x="35" y="398"/>
                  </a:lnTo>
                  <a:lnTo>
                    <a:pt x="35" y="398"/>
                  </a:lnTo>
                  <a:lnTo>
                    <a:pt x="36" y="398"/>
                  </a:lnTo>
                  <a:lnTo>
                    <a:pt x="36" y="397"/>
                  </a:lnTo>
                  <a:lnTo>
                    <a:pt x="36" y="397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8" y="399"/>
                  </a:lnTo>
                  <a:lnTo>
                    <a:pt x="39" y="399"/>
                  </a:lnTo>
                  <a:lnTo>
                    <a:pt x="40" y="399"/>
                  </a:lnTo>
                  <a:lnTo>
                    <a:pt x="40" y="399"/>
                  </a:lnTo>
                  <a:lnTo>
                    <a:pt x="40" y="400"/>
                  </a:lnTo>
                  <a:lnTo>
                    <a:pt x="39" y="401"/>
                  </a:lnTo>
                  <a:lnTo>
                    <a:pt x="39" y="401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1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4" y="400"/>
                  </a:lnTo>
                  <a:lnTo>
                    <a:pt x="33" y="400"/>
                  </a:lnTo>
                  <a:lnTo>
                    <a:pt x="33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1" y="400"/>
                  </a:lnTo>
                  <a:lnTo>
                    <a:pt x="31" y="401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0" y="402"/>
                  </a:lnTo>
                  <a:lnTo>
                    <a:pt x="29" y="403"/>
                  </a:lnTo>
                  <a:lnTo>
                    <a:pt x="29" y="403"/>
                  </a:lnTo>
                  <a:lnTo>
                    <a:pt x="28" y="403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9" y="404"/>
                  </a:lnTo>
                  <a:lnTo>
                    <a:pt x="29" y="404"/>
                  </a:lnTo>
                  <a:lnTo>
                    <a:pt x="29" y="406"/>
                  </a:lnTo>
                  <a:lnTo>
                    <a:pt x="31" y="406"/>
                  </a:lnTo>
                  <a:lnTo>
                    <a:pt x="31" y="407"/>
                  </a:lnTo>
                  <a:lnTo>
                    <a:pt x="31" y="408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0" y="409"/>
                  </a:lnTo>
                  <a:lnTo>
                    <a:pt x="29" y="409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8" y="410"/>
                  </a:lnTo>
                  <a:lnTo>
                    <a:pt x="27" y="410"/>
                  </a:lnTo>
                  <a:lnTo>
                    <a:pt x="26" y="411"/>
                  </a:lnTo>
                  <a:lnTo>
                    <a:pt x="25" y="411"/>
                  </a:lnTo>
                  <a:lnTo>
                    <a:pt x="25" y="412"/>
                  </a:lnTo>
                  <a:lnTo>
                    <a:pt x="24" y="413"/>
                  </a:lnTo>
                  <a:lnTo>
                    <a:pt x="23" y="413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0"/>
                  </a:lnTo>
                  <a:lnTo>
                    <a:pt x="23" y="410"/>
                  </a:lnTo>
                  <a:lnTo>
                    <a:pt x="23" y="410"/>
                  </a:lnTo>
                  <a:lnTo>
                    <a:pt x="24" y="410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8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3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1" y="407"/>
                  </a:lnTo>
                  <a:lnTo>
                    <a:pt x="21" y="406"/>
                  </a:lnTo>
                  <a:lnTo>
                    <a:pt x="21" y="407"/>
                  </a:lnTo>
                  <a:lnTo>
                    <a:pt x="21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19" y="407"/>
                  </a:lnTo>
                  <a:lnTo>
                    <a:pt x="19" y="407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06"/>
                  </a:lnTo>
                  <a:lnTo>
                    <a:pt x="18" y="407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7"/>
                  </a:lnTo>
                  <a:lnTo>
                    <a:pt x="16" y="407"/>
                  </a:lnTo>
                  <a:lnTo>
                    <a:pt x="17" y="408"/>
                  </a:lnTo>
                  <a:lnTo>
                    <a:pt x="17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5" y="408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5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1"/>
                  </a:lnTo>
                  <a:lnTo>
                    <a:pt x="14" y="401"/>
                  </a:lnTo>
                  <a:lnTo>
                    <a:pt x="13" y="400"/>
                  </a:lnTo>
                  <a:lnTo>
                    <a:pt x="14" y="400"/>
                  </a:lnTo>
                  <a:lnTo>
                    <a:pt x="14" y="400"/>
                  </a:lnTo>
                  <a:lnTo>
                    <a:pt x="14" y="399"/>
                  </a:lnTo>
                  <a:lnTo>
                    <a:pt x="14" y="398"/>
                  </a:lnTo>
                  <a:lnTo>
                    <a:pt x="14" y="397"/>
                  </a:lnTo>
                  <a:lnTo>
                    <a:pt x="14" y="396"/>
                  </a:lnTo>
                  <a:lnTo>
                    <a:pt x="14" y="396"/>
                  </a:lnTo>
                  <a:lnTo>
                    <a:pt x="14" y="394"/>
                  </a:lnTo>
                  <a:lnTo>
                    <a:pt x="14" y="394"/>
                  </a:lnTo>
                  <a:lnTo>
                    <a:pt x="13" y="394"/>
                  </a:lnTo>
                  <a:lnTo>
                    <a:pt x="13" y="393"/>
                  </a:lnTo>
                  <a:lnTo>
                    <a:pt x="14" y="392"/>
                  </a:lnTo>
                  <a:lnTo>
                    <a:pt x="14" y="392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0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8"/>
                  </a:lnTo>
                  <a:lnTo>
                    <a:pt x="15" y="389"/>
                  </a:lnTo>
                  <a:lnTo>
                    <a:pt x="15" y="388"/>
                  </a:lnTo>
                  <a:lnTo>
                    <a:pt x="16" y="388"/>
                  </a:lnTo>
                  <a:lnTo>
                    <a:pt x="16" y="389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7" y="387"/>
                  </a:lnTo>
                  <a:lnTo>
                    <a:pt x="17" y="387"/>
                  </a:lnTo>
                  <a:lnTo>
                    <a:pt x="17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9" y="386"/>
                  </a:lnTo>
                  <a:lnTo>
                    <a:pt x="20" y="386"/>
                  </a:lnTo>
                  <a:lnTo>
                    <a:pt x="20" y="386"/>
                  </a:lnTo>
                  <a:lnTo>
                    <a:pt x="20" y="387"/>
                  </a:lnTo>
                  <a:lnTo>
                    <a:pt x="20" y="386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4"/>
                  </a:lnTo>
                  <a:lnTo>
                    <a:pt x="20" y="384"/>
                  </a:lnTo>
                  <a:lnTo>
                    <a:pt x="21" y="384"/>
                  </a:lnTo>
                  <a:lnTo>
                    <a:pt x="21" y="383"/>
                  </a:lnTo>
                  <a:lnTo>
                    <a:pt x="21" y="383"/>
                  </a:lnTo>
                  <a:lnTo>
                    <a:pt x="20" y="383"/>
                  </a:lnTo>
                  <a:lnTo>
                    <a:pt x="20" y="382"/>
                  </a:lnTo>
                  <a:lnTo>
                    <a:pt x="20" y="381"/>
                  </a:lnTo>
                  <a:lnTo>
                    <a:pt x="21" y="381"/>
                  </a:lnTo>
                  <a:lnTo>
                    <a:pt x="21" y="381"/>
                  </a:lnTo>
                  <a:lnTo>
                    <a:pt x="22" y="380"/>
                  </a:lnTo>
                  <a:lnTo>
                    <a:pt x="22" y="380"/>
                  </a:lnTo>
                  <a:lnTo>
                    <a:pt x="22" y="379"/>
                  </a:lnTo>
                  <a:lnTo>
                    <a:pt x="22" y="379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7"/>
                  </a:lnTo>
                  <a:lnTo>
                    <a:pt x="22" y="377"/>
                  </a:lnTo>
                  <a:lnTo>
                    <a:pt x="22" y="378"/>
                  </a:lnTo>
                  <a:lnTo>
                    <a:pt x="21" y="378"/>
                  </a:lnTo>
                  <a:lnTo>
                    <a:pt x="21" y="377"/>
                  </a:lnTo>
                  <a:lnTo>
                    <a:pt x="21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19" y="377"/>
                  </a:lnTo>
                  <a:lnTo>
                    <a:pt x="19" y="378"/>
                  </a:lnTo>
                  <a:lnTo>
                    <a:pt x="19" y="378"/>
                  </a:lnTo>
                  <a:lnTo>
                    <a:pt x="18" y="378"/>
                  </a:lnTo>
                  <a:lnTo>
                    <a:pt x="18" y="379"/>
                  </a:lnTo>
                  <a:lnTo>
                    <a:pt x="18" y="379"/>
                  </a:lnTo>
                  <a:lnTo>
                    <a:pt x="17" y="380"/>
                  </a:lnTo>
                  <a:lnTo>
                    <a:pt x="17" y="380"/>
                  </a:lnTo>
                  <a:lnTo>
                    <a:pt x="17" y="381"/>
                  </a:lnTo>
                  <a:lnTo>
                    <a:pt x="17" y="380"/>
                  </a:lnTo>
                  <a:lnTo>
                    <a:pt x="16" y="380"/>
                  </a:lnTo>
                  <a:lnTo>
                    <a:pt x="16" y="380"/>
                  </a:lnTo>
                  <a:lnTo>
                    <a:pt x="15" y="380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3" y="381"/>
                  </a:lnTo>
                  <a:lnTo>
                    <a:pt x="13" y="381"/>
                  </a:lnTo>
                  <a:lnTo>
                    <a:pt x="13" y="382"/>
                  </a:lnTo>
                  <a:lnTo>
                    <a:pt x="11" y="383"/>
                  </a:lnTo>
                  <a:lnTo>
                    <a:pt x="11" y="383"/>
                  </a:lnTo>
                  <a:lnTo>
                    <a:pt x="11" y="382"/>
                  </a:lnTo>
                  <a:lnTo>
                    <a:pt x="10" y="381"/>
                  </a:lnTo>
                  <a:lnTo>
                    <a:pt x="10" y="381"/>
                  </a:lnTo>
                  <a:lnTo>
                    <a:pt x="9" y="381"/>
                  </a:lnTo>
                  <a:lnTo>
                    <a:pt x="9" y="382"/>
                  </a:lnTo>
                  <a:lnTo>
                    <a:pt x="8" y="382"/>
                  </a:lnTo>
                  <a:lnTo>
                    <a:pt x="7" y="383"/>
                  </a:lnTo>
                  <a:lnTo>
                    <a:pt x="7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5" y="382"/>
                  </a:lnTo>
                  <a:lnTo>
                    <a:pt x="5" y="382"/>
                  </a:lnTo>
                  <a:lnTo>
                    <a:pt x="5" y="381"/>
                  </a:lnTo>
                  <a:lnTo>
                    <a:pt x="5" y="381"/>
                  </a:lnTo>
                  <a:lnTo>
                    <a:pt x="4" y="381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2" y="379"/>
                  </a:lnTo>
                  <a:lnTo>
                    <a:pt x="2" y="379"/>
                  </a:lnTo>
                  <a:lnTo>
                    <a:pt x="1" y="379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377"/>
                  </a:lnTo>
                  <a:lnTo>
                    <a:pt x="0" y="377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5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1" y="373"/>
                  </a:lnTo>
                  <a:lnTo>
                    <a:pt x="1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3" y="372"/>
                  </a:lnTo>
                  <a:lnTo>
                    <a:pt x="3" y="372"/>
                  </a:lnTo>
                  <a:lnTo>
                    <a:pt x="4" y="372"/>
                  </a:lnTo>
                  <a:lnTo>
                    <a:pt x="5" y="372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7" y="372"/>
                  </a:lnTo>
                  <a:lnTo>
                    <a:pt x="7" y="373"/>
                  </a:lnTo>
                  <a:lnTo>
                    <a:pt x="7" y="373"/>
                  </a:lnTo>
                  <a:lnTo>
                    <a:pt x="8" y="373"/>
                  </a:lnTo>
                  <a:lnTo>
                    <a:pt x="7" y="373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5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6" y="376"/>
                  </a:lnTo>
                  <a:lnTo>
                    <a:pt x="6" y="377"/>
                  </a:lnTo>
                  <a:lnTo>
                    <a:pt x="7" y="377"/>
                  </a:lnTo>
                  <a:lnTo>
                    <a:pt x="7" y="377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7" y="374"/>
                  </a:lnTo>
                  <a:lnTo>
                    <a:pt x="8" y="374"/>
                  </a:lnTo>
                  <a:lnTo>
                    <a:pt x="8" y="374"/>
                  </a:lnTo>
                  <a:lnTo>
                    <a:pt x="9" y="374"/>
                  </a:lnTo>
                  <a:lnTo>
                    <a:pt x="9" y="374"/>
                  </a:lnTo>
                  <a:lnTo>
                    <a:pt x="10" y="374"/>
                  </a:lnTo>
                  <a:lnTo>
                    <a:pt x="10" y="374"/>
                  </a:lnTo>
                  <a:lnTo>
                    <a:pt x="10" y="375"/>
                  </a:lnTo>
                  <a:lnTo>
                    <a:pt x="10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2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4"/>
                  </a:lnTo>
                  <a:lnTo>
                    <a:pt x="12" y="374"/>
                  </a:lnTo>
                  <a:lnTo>
                    <a:pt x="12" y="374"/>
                  </a:lnTo>
                  <a:lnTo>
                    <a:pt x="11" y="374"/>
                  </a:lnTo>
                  <a:lnTo>
                    <a:pt x="11" y="373"/>
                  </a:lnTo>
                  <a:lnTo>
                    <a:pt x="12" y="373"/>
                  </a:lnTo>
                  <a:lnTo>
                    <a:pt x="12" y="374"/>
                  </a:lnTo>
                  <a:lnTo>
                    <a:pt x="13" y="374"/>
                  </a:lnTo>
                  <a:lnTo>
                    <a:pt x="13" y="373"/>
                  </a:lnTo>
                  <a:lnTo>
                    <a:pt x="12" y="373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4" y="373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5" y="373"/>
                  </a:lnTo>
                  <a:lnTo>
                    <a:pt x="15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7" y="370"/>
                  </a:lnTo>
                  <a:lnTo>
                    <a:pt x="17" y="370"/>
                  </a:lnTo>
                  <a:lnTo>
                    <a:pt x="18" y="370"/>
                  </a:lnTo>
                  <a:lnTo>
                    <a:pt x="18" y="370"/>
                  </a:lnTo>
                  <a:lnTo>
                    <a:pt x="19" y="370"/>
                  </a:lnTo>
                  <a:lnTo>
                    <a:pt x="19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8"/>
                  </a:lnTo>
                  <a:lnTo>
                    <a:pt x="20" y="369"/>
                  </a:lnTo>
                  <a:lnTo>
                    <a:pt x="19" y="369"/>
                  </a:lnTo>
                  <a:lnTo>
                    <a:pt x="18" y="369"/>
                  </a:lnTo>
                  <a:lnTo>
                    <a:pt x="18" y="368"/>
                  </a:lnTo>
                  <a:lnTo>
                    <a:pt x="18" y="368"/>
                  </a:lnTo>
                  <a:lnTo>
                    <a:pt x="17" y="368"/>
                  </a:lnTo>
                  <a:lnTo>
                    <a:pt x="17" y="369"/>
                  </a:lnTo>
                  <a:lnTo>
                    <a:pt x="17" y="368"/>
                  </a:lnTo>
                  <a:lnTo>
                    <a:pt x="17" y="368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6"/>
                  </a:lnTo>
                  <a:lnTo>
                    <a:pt x="17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7" y="365"/>
                  </a:lnTo>
                  <a:lnTo>
                    <a:pt x="16" y="365"/>
                  </a:lnTo>
                  <a:lnTo>
                    <a:pt x="16" y="365"/>
                  </a:lnTo>
                  <a:lnTo>
                    <a:pt x="17" y="365"/>
                  </a:lnTo>
                  <a:lnTo>
                    <a:pt x="17" y="364"/>
                  </a:lnTo>
                  <a:lnTo>
                    <a:pt x="16" y="364"/>
                  </a:lnTo>
                  <a:lnTo>
                    <a:pt x="16" y="363"/>
                  </a:lnTo>
                  <a:lnTo>
                    <a:pt x="16" y="363"/>
                  </a:lnTo>
                  <a:lnTo>
                    <a:pt x="17" y="363"/>
                  </a:lnTo>
                  <a:lnTo>
                    <a:pt x="17" y="363"/>
                  </a:lnTo>
                  <a:lnTo>
                    <a:pt x="17" y="362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6" y="362"/>
                  </a:lnTo>
                  <a:lnTo>
                    <a:pt x="16" y="362"/>
                  </a:lnTo>
                  <a:lnTo>
                    <a:pt x="15" y="362"/>
                  </a:lnTo>
                  <a:lnTo>
                    <a:pt x="15" y="361"/>
                  </a:lnTo>
                  <a:lnTo>
                    <a:pt x="15" y="362"/>
                  </a:lnTo>
                  <a:lnTo>
                    <a:pt x="14" y="362"/>
                  </a:lnTo>
                  <a:lnTo>
                    <a:pt x="14" y="363"/>
                  </a:lnTo>
                  <a:lnTo>
                    <a:pt x="14" y="363"/>
                  </a:lnTo>
                  <a:lnTo>
                    <a:pt x="14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2" y="362"/>
                  </a:lnTo>
                  <a:lnTo>
                    <a:pt x="11" y="362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11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6" y="362"/>
                  </a:lnTo>
                  <a:lnTo>
                    <a:pt x="6" y="362"/>
                  </a:lnTo>
                  <a:lnTo>
                    <a:pt x="5" y="362"/>
                  </a:lnTo>
                  <a:lnTo>
                    <a:pt x="5" y="362"/>
                  </a:lnTo>
                  <a:lnTo>
                    <a:pt x="4" y="362"/>
                  </a:lnTo>
                  <a:lnTo>
                    <a:pt x="4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2" y="362"/>
                  </a:lnTo>
                  <a:lnTo>
                    <a:pt x="3" y="361"/>
                  </a:lnTo>
                  <a:lnTo>
                    <a:pt x="3" y="361"/>
                  </a:lnTo>
                  <a:lnTo>
                    <a:pt x="2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1" y="359"/>
                  </a:lnTo>
                  <a:lnTo>
                    <a:pt x="1" y="358"/>
                  </a:lnTo>
                  <a:lnTo>
                    <a:pt x="2" y="358"/>
                  </a:lnTo>
                  <a:lnTo>
                    <a:pt x="2" y="357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1" y="355"/>
                  </a:lnTo>
                  <a:lnTo>
                    <a:pt x="1" y="354"/>
                  </a:lnTo>
                  <a:lnTo>
                    <a:pt x="1" y="354"/>
                  </a:lnTo>
                  <a:lnTo>
                    <a:pt x="0" y="353"/>
                  </a:lnTo>
                  <a:lnTo>
                    <a:pt x="0" y="352"/>
                  </a:lnTo>
                  <a:lnTo>
                    <a:pt x="1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3" y="352"/>
                  </a:lnTo>
                  <a:lnTo>
                    <a:pt x="3" y="352"/>
                  </a:lnTo>
                  <a:lnTo>
                    <a:pt x="4" y="352"/>
                  </a:lnTo>
                  <a:lnTo>
                    <a:pt x="5" y="352"/>
                  </a:lnTo>
                  <a:lnTo>
                    <a:pt x="5" y="351"/>
                  </a:lnTo>
                  <a:lnTo>
                    <a:pt x="5" y="351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49"/>
                  </a:lnTo>
                  <a:lnTo>
                    <a:pt x="7" y="349"/>
                  </a:lnTo>
                  <a:lnTo>
                    <a:pt x="7" y="348"/>
                  </a:lnTo>
                  <a:lnTo>
                    <a:pt x="6" y="348"/>
                  </a:lnTo>
                  <a:lnTo>
                    <a:pt x="7" y="348"/>
                  </a:lnTo>
                  <a:lnTo>
                    <a:pt x="7" y="348"/>
                  </a:lnTo>
                  <a:lnTo>
                    <a:pt x="7" y="347"/>
                  </a:lnTo>
                  <a:lnTo>
                    <a:pt x="6" y="347"/>
                  </a:lnTo>
                  <a:lnTo>
                    <a:pt x="6" y="347"/>
                  </a:lnTo>
                  <a:lnTo>
                    <a:pt x="7" y="345"/>
                  </a:lnTo>
                  <a:lnTo>
                    <a:pt x="6" y="345"/>
                  </a:lnTo>
                  <a:lnTo>
                    <a:pt x="6" y="344"/>
                  </a:lnTo>
                  <a:lnTo>
                    <a:pt x="7" y="344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8" y="342"/>
                  </a:lnTo>
                  <a:lnTo>
                    <a:pt x="10" y="343"/>
                  </a:lnTo>
                  <a:lnTo>
                    <a:pt x="10" y="344"/>
                  </a:lnTo>
                  <a:lnTo>
                    <a:pt x="11" y="344"/>
                  </a:lnTo>
                  <a:lnTo>
                    <a:pt x="13" y="342"/>
                  </a:lnTo>
                  <a:lnTo>
                    <a:pt x="14" y="341"/>
                  </a:lnTo>
                  <a:lnTo>
                    <a:pt x="14" y="341"/>
                  </a:lnTo>
                  <a:lnTo>
                    <a:pt x="14" y="340"/>
                  </a:lnTo>
                  <a:lnTo>
                    <a:pt x="13" y="340"/>
                  </a:lnTo>
                  <a:lnTo>
                    <a:pt x="13" y="340"/>
                  </a:lnTo>
                  <a:lnTo>
                    <a:pt x="12" y="340"/>
                  </a:lnTo>
                  <a:lnTo>
                    <a:pt x="12" y="339"/>
                  </a:lnTo>
                  <a:lnTo>
                    <a:pt x="11" y="339"/>
                  </a:lnTo>
                  <a:lnTo>
                    <a:pt x="11" y="338"/>
                  </a:lnTo>
                  <a:lnTo>
                    <a:pt x="12" y="338"/>
                  </a:lnTo>
                  <a:lnTo>
                    <a:pt x="12" y="337"/>
                  </a:lnTo>
                  <a:lnTo>
                    <a:pt x="12" y="337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4" y="336"/>
                  </a:lnTo>
                  <a:lnTo>
                    <a:pt x="14" y="336"/>
                  </a:lnTo>
                  <a:lnTo>
                    <a:pt x="15" y="336"/>
                  </a:lnTo>
                  <a:lnTo>
                    <a:pt x="16" y="335"/>
                  </a:lnTo>
                  <a:lnTo>
                    <a:pt x="16" y="334"/>
                  </a:lnTo>
                  <a:lnTo>
                    <a:pt x="17" y="333"/>
                  </a:lnTo>
                  <a:lnTo>
                    <a:pt x="17" y="333"/>
                  </a:lnTo>
                  <a:lnTo>
                    <a:pt x="18" y="333"/>
                  </a:lnTo>
                  <a:lnTo>
                    <a:pt x="18" y="332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7" y="329"/>
                  </a:lnTo>
                  <a:lnTo>
                    <a:pt x="17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6" y="327"/>
                  </a:lnTo>
                  <a:lnTo>
                    <a:pt x="16" y="327"/>
                  </a:lnTo>
                  <a:lnTo>
                    <a:pt x="16" y="326"/>
                  </a:lnTo>
                  <a:lnTo>
                    <a:pt x="16" y="326"/>
                  </a:lnTo>
                  <a:lnTo>
                    <a:pt x="16" y="325"/>
                  </a:lnTo>
                  <a:lnTo>
                    <a:pt x="16" y="325"/>
                  </a:lnTo>
                  <a:lnTo>
                    <a:pt x="16" y="324"/>
                  </a:lnTo>
                  <a:lnTo>
                    <a:pt x="16" y="324"/>
                  </a:lnTo>
                  <a:lnTo>
                    <a:pt x="15" y="323"/>
                  </a:lnTo>
                  <a:lnTo>
                    <a:pt x="15" y="322"/>
                  </a:lnTo>
                  <a:lnTo>
                    <a:pt x="14" y="322"/>
                  </a:lnTo>
                  <a:lnTo>
                    <a:pt x="13" y="322"/>
                  </a:lnTo>
                  <a:lnTo>
                    <a:pt x="13" y="322"/>
                  </a:lnTo>
                  <a:lnTo>
                    <a:pt x="12" y="322"/>
                  </a:lnTo>
                  <a:lnTo>
                    <a:pt x="11" y="321"/>
                  </a:lnTo>
                  <a:lnTo>
                    <a:pt x="11" y="321"/>
                  </a:lnTo>
                  <a:lnTo>
                    <a:pt x="11" y="320"/>
                  </a:lnTo>
                  <a:lnTo>
                    <a:pt x="10" y="319"/>
                  </a:lnTo>
                  <a:lnTo>
                    <a:pt x="10" y="319"/>
                  </a:lnTo>
                  <a:lnTo>
                    <a:pt x="9" y="319"/>
                  </a:lnTo>
                  <a:lnTo>
                    <a:pt x="10" y="319"/>
                  </a:lnTo>
                  <a:lnTo>
                    <a:pt x="10" y="318"/>
                  </a:lnTo>
                  <a:lnTo>
                    <a:pt x="10" y="317"/>
                  </a:lnTo>
                  <a:lnTo>
                    <a:pt x="11" y="317"/>
                  </a:lnTo>
                  <a:lnTo>
                    <a:pt x="11" y="317"/>
                  </a:lnTo>
                  <a:lnTo>
                    <a:pt x="12" y="315"/>
                  </a:lnTo>
                  <a:lnTo>
                    <a:pt x="13" y="315"/>
                  </a:lnTo>
                  <a:lnTo>
                    <a:pt x="13" y="314"/>
                  </a:lnTo>
                  <a:lnTo>
                    <a:pt x="14" y="313"/>
                  </a:lnTo>
                  <a:lnTo>
                    <a:pt x="14" y="314"/>
                  </a:lnTo>
                  <a:lnTo>
                    <a:pt x="15" y="313"/>
                  </a:lnTo>
                  <a:lnTo>
                    <a:pt x="14" y="313"/>
                  </a:lnTo>
                  <a:lnTo>
                    <a:pt x="14" y="313"/>
                  </a:lnTo>
                  <a:lnTo>
                    <a:pt x="15" y="312"/>
                  </a:lnTo>
                  <a:lnTo>
                    <a:pt x="15" y="311"/>
                  </a:lnTo>
                  <a:lnTo>
                    <a:pt x="16" y="311"/>
                  </a:lnTo>
                  <a:lnTo>
                    <a:pt x="16" y="310"/>
                  </a:lnTo>
                  <a:lnTo>
                    <a:pt x="16" y="310"/>
                  </a:lnTo>
                  <a:lnTo>
                    <a:pt x="16" y="309"/>
                  </a:lnTo>
                  <a:lnTo>
                    <a:pt x="16" y="308"/>
                  </a:lnTo>
                  <a:lnTo>
                    <a:pt x="16" y="308"/>
                  </a:lnTo>
                  <a:lnTo>
                    <a:pt x="16" y="307"/>
                  </a:lnTo>
                  <a:lnTo>
                    <a:pt x="17" y="307"/>
                  </a:lnTo>
                  <a:lnTo>
                    <a:pt x="17" y="306"/>
                  </a:lnTo>
                  <a:lnTo>
                    <a:pt x="17" y="306"/>
                  </a:lnTo>
                  <a:lnTo>
                    <a:pt x="18" y="306"/>
                  </a:lnTo>
                  <a:lnTo>
                    <a:pt x="18" y="305"/>
                  </a:lnTo>
                  <a:lnTo>
                    <a:pt x="18" y="304"/>
                  </a:lnTo>
                  <a:lnTo>
                    <a:pt x="18" y="303"/>
                  </a:lnTo>
                  <a:lnTo>
                    <a:pt x="18" y="303"/>
                  </a:lnTo>
                  <a:lnTo>
                    <a:pt x="18" y="302"/>
                  </a:lnTo>
                  <a:lnTo>
                    <a:pt x="18" y="302"/>
                  </a:lnTo>
                  <a:lnTo>
                    <a:pt x="18" y="301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7" y="300"/>
                  </a:lnTo>
                  <a:lnTo>
                    <a:pt x="17" y="299"/>
                  </a:lnTo>
                  <a:lnTo>
                    <a:pt x="17" y="299"/>
                  </a:lnTo>
                  <a:lnTo>
                    <a:pt x="17" y="298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6"/>
                  </a:lnTo>
                  <a:lnTo>
                    <a:pt x="17" y="296"/>
                  </a:lnTo>
                  <a:lnTo>
                    <a:pt x="17" y="295"/>
                  </a:lnTo>
                  <a:lnTo>
                    <a:pt x="17" y="295"/>
                  </a:lnTo>
                  <a:lnTo>
                    <a:pt x="18" y="295"/>
                  </a:lnTo>
                  <a:lnTo>
                    <a:pt x="18" y="294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8" y="290"/>
                  </a:lnTo>
                  <a:lnTo>
                    <a:pt x="18" y="289"/>
                  </a:lnTo>
                  <a:lnTo>
                    <a:pt x="17" y="289"/>
                  </a:lnTo>
                  <a:lnTo>
                    <a:pt x="17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7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5"/>
                  </a:lnTo>
                  <a:lnTo>
                    <a:pt x="18" y="285"/>
                  </a:lnTo>
                  <a:lnTo>
                    <a:pt x="18" y="284"/>
                  </a:lnTo>
                  <a:lnTo>
                    <a:pt x="18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18" y="279"/>
                  </a:lnTo>
                  <a:lnTo>
                    <a:pt x="18" y="278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6"/>
                  </a:lnTo>
                  <a:lnTo>
                    <a:pt x="18" y="275"/>
                  </a:lnTo>
                  <a:lnTo>
                    <a:pt x="18" y="274"/>
                  </a:lnTo>
                  <a:lnTo>
                    <a:pt x="18" y="274"/>
                  </a:lnTo>
                  <a:lnTo>
                    <a:pt x="17" y="274"/>
                  </a:lnTo>
                  <a:lnTo>
                    <a:pt x="17" y="273"/>
                  </a:lnTo>
                  <a:lnTo>
                    <a:pt x="17" y="273"/>
                  </a:lnTo>
                  <a:lnTo>
                    <a:pt x="16" y="273"/>
                  </a:lnTo>
                  <a:lnTo>
                    <a:pt x="17" y="272"/>
                  </a:lnTo>
                  <a:lnTo>
                    <a:pt x="17" y="272"/>
                  </a:lnTo>
                  <a:lnTo>
                    <a:pt x="17" y="271"/>
                  </a:lnTo>
                  <a:lnTo>
                    <a:pt x="17" y="271"/>
                  </a:lnTo>
                  <a:lnTo>
                    <a:pt x="17" y="270"/>
                  </a:lnTo>
                  <a:lnTo>
                    <a:pt x="18" y="270"/>
                  </a:lnTo>
                  <a:lnTo>
                    <a:pt x="17" y="270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7" y="268"/>
                  </a:lnTo>
                  <a:lnTo>
                    <a:pt x="18" y="267"/>
                  </a:lnTo>
                  <a:lnTo>
                    <a:pt x="18" y="266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19" y="263"/>
                  </a:lnTo>
                  <a:lnTo>
                    <a:pt x="19" y="262"/>
                  </a:lnTo>
                  <a:lnTo>
                    <a:pt x="20" y="262"/>
                  </a:lnTo>
                  <a:lnTo>
                    <a:pt x="19" y="261"/>
                  </a:lnTo>
                  <a:lnTo>
                    <a:pt x="20" y="260"/>
                  </a:lnTo>
                  <a:lnTo>
                    <a:pt x="21" y="260"/>
                  </a:lnTo>
                  <a:lnTo>
                    <a:pt x="21" y="259"/>
                  </a:lnTo>
                  <a:lnTo>
                    <a:pt x="21" y="258"/>
                  </a:lnTo>
                  <a:lnTo>
                    <a:pt x="21" y="258"/>
                  </a:lnTo>
                  <a:lnTo>
                    <a:pt x="20" y="258"/>
                  </a:lnTo>
                  <a:lnTo>
                    <a:pt x="20" y="257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18" y="253"/>
                  </a:lnTo>
                  <a:lnTo>
                    <a:pt x="19" y="252"/>
                  </a:lnTo>
                  <a:lnTo>
                    <a:pt x="20" y="252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1" y="251"/>
                  </a:lnTo>
                  <a:lnTo>
                    <a:pt x="21" y="251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1" y="248"/>
                  </a:lnTo>
                  <a:lnTo>
                    <a:pt x="21" y="248"/>
                  </a:lnTo>
                  <a:lnTo>
                    <a:pt x="22" y="248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3" y="247"/>
                  </a:lnTo>
                  <a:lnTo>
                    <a:pt x="23" y="246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5" y="245"/>
                  </a:lnTo>
                  <a:lnTo>
                    <a:pt x="26" y="245"/>
                  </a:lnTo>
                  <a:lnTo>
                    <a:pt x="26" y="245"/>
                  </a:lnTo>
                  <a:lnTo>
                    <a:pt x="26" y="246"/>
                  </a:lnTo>
                  <a:lnTo>
                    <a:pt x="27" y="247"/>
                  </a:lnTo>
                  <a:lnTo>
                    <a:pt x="28" y="248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7"/>
                  </a:lnTo>
                  <a:lnTo>
                    <a:pt x="29" y="246"/>
                  </a:lnTo>
                  <a:lnTo>
                    <a:pt x="29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33" y="244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2"/>
                  </a:lnTo>
                  <a:lnTo>
                    <a:pt x="33" y="241"/>
                  </a:lnTo>
                  <a:lnTo>
                    <a:pt x="34" y="241"/>
                  </a:lnTo>
                  <a:lnTo>
                    <a:pt x="35" y="241"/>
                  </a:lnTo>
                  <a:lnTo>
                    <a:pt x="35" y="240"/>
                  </a:lnTo>
                  <a:lnTo>
                    <a:pt x="35" y="240"/>
                  </a:lnTo>
                  <a:lnTo>
                    <a:pt x="35" y="239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7" y="238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8" y="237"/>
                  </a:lnTo>
                  <a:lnTo>
                    <a:pt x="39" y="237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41" y="235"/>
                  </a:lnTo>
                  <a:lnTo>
                    <a:pt x="42" y="235"/>
                  </a:lnTo>
                  <a:lnTo>
                    <a:pt x="43" y="235"/>
                  </a:lnTo>
                  <a:lnTo>
                    <a:pt x="43" y="234"/>
                  </a:lnTo>
                  <a:lnTo>
                    <a:pt x="43" y="234"/>
                  </a:lnTo>
                  <a:lnTo>
                    <a:pt x="44" y="234"/>
                  </a:lnTo>
                  <a:lnTo>
                    <a:pt x="44" y="234"/>
                  </a:lnTo>
                  <a:lnTo>
                    <a:pt x="45" y="234"/>
                  </a:lnTo>
                  <a:lnTo>
                    <a:pt x="46" y="234"/>
                  </a:lnTo>
                  <a:lnTo>
                    <a:pt x="46" y="234"/>
                  </a:lnTo>
                  <a:lnTo>
                    <a:pt x="45" y="234"/>
                  </a:lnTo>
                  <a:lnTo>
                    <a:pt x="45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5" y="233"/>
                  </a:lnTo>
                  <a:lnTo>
                    <a:pt x="45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1"/>
                  </a:lnTo>
                  <a:lnTo>
                    <a:pt x="47" y="231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9" y="229"/>
                  </a:lnTo>
                  <a:lnTo>
                    <a:pt x="49" y="229"/>
                  </a:lnTo>
                  <a:lnTo>
                    <a:pt x="48" y="229"/>
                  </a:lnTo>
                  <a:lnTo>
                    <a:pt x="48" y="228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2" y="225"/>
                  </a:lnTo>
                  <a:lnTo>
                    <a:pt x="52" y="225"/>
                  </a:lnTo>
                  <a:lnTo>
                    <a:pt x="53" y="225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4" y="224"/>
                  </a:lnTo>
                  <a:lnTo>
                    <a:pt x="55" y="223"/>
                  </a:lnTo>
                  <a:lnTo>
                    <a:pt x="55" y="223"/>
                  </a:lnTo>
                  <a:lnTo>
                    <a:pt x="56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8" y="223"/>
                  </a:lnTo>
                  <a:lnTo>
                    <a:pt x="58" y="222"/>
                  </a:lnTo>
                  <a:lnTo>
                    <a:pt x="59" y="222"/>
                  </a:lnTo>
                  <a:lnTo>
                    <a:pt x="59" y="223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5" y="218"/>
                  </a:lnTo>
                  <a:lnTo>
                    <a:pt x="65" y="217"/>
                  </a:lnTo>
                  <a:lnTo>
                    <a:pt x="65" y="216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6" y="215"/>
                  </a:lnTo>
                  <a:lnTo>
                    <a:pt x="66" y="215"/>
                  </a:lnTo>
                  <a:lnTo>
                    <a:pt x="66" y="216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9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2"/>
                  </a:lnTo>
                  <a:lnTo>
                    <a:pt x="72" y="212"/>
                  </a:lnTo>
                  <a:lnTo>
                    <a:pt x="72" y="211"/>
                  </a:lnTo>
                  <a:lnTo>
                    <a:pt x="71" y="211"/>
                  </a:lnTo>
                  <a:lnTo>
                    <a:pt x="70" y="211"/>
                  </a:lnTo>
                  <a:lnTo>
                    <a:pt x="70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70" y="209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09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7"/>
                  </a:lnTo>
                  <a:lnTo>
                    <a:pt x="71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6"/>
                  </a:lnTo>
                  <a:lnTo>
                    <a:pt x="71" y="206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6" y="205"/>
                  </a:lnTo>
                  <a:lnTo>
                    <a:pt x="66" y="206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5" y="201"/>
                  </a:lnTo>
                  <a:lnTo>
                    <a:pt x="66" y="201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6" y="196"/>
                  </a:lnTo>
                  <a:lnTo>
                    <a:pt x="66" y="195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4" y="193"/>
                  </a:lnTo>
                  <a:lnTo>
                    <a:pt x="64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2" y="193"/>
                  </a:lnTo>
                  <a:lnTo>
                    <a:pt x="62" y="192"/>
                  </a:lnTo>
                  <a:lnTo>
                    <a:pt x="62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0" y="192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0" y="192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60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7"/>
                  </a:lnTo>
                  <a:lnTo>
                    <a:pt x="62" y="186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4" y="187"/>
                  </a:lnTo>
                  <a:lnTo>
                    <a:pt x="63" y="187"/>
                  </a:lnTo>
                  <a:lnTo>
                    <a:pt x="64" y="187"/>
                  </a:lnTo>
                  <a:lnTo>
                    <a:pt x="65" y="187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6" y="188"/>
                  </a:lnTo>
                  <a:lnTo>
                    <a:pt x="66" y="188"/>
                  </a:lnTo>
                  <a:lnTo>
                    <a:pt x="67" y="188"/>
                  </a:lnTo>
                  <a:lnTo>
                    <a:pt x="67" y="188"/>
                  </a:lnTo>
                  <a:lnTo>
                    <a:pt x="68" y="188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1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70" y="190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3" y="190"/>
                  </a:lnTo>
                  <a:lnTo>
                    <a:pt x="73" y="190"/>
                  </a:lnTo>
                  <a:lnTo>
                    <a:pt x="73" y="191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2"/>
                  </a:lnTo>
                  <a:lnTo>
                    <a:pt x="75" y="192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7" y="192"/>
                  </a:lnTo>
                  <a:lnTo>
                    <a:pt x="77" y="193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8" y="192"/>
                  </a:lnTo>
                  <a:lnTo>
                    <a:pt x="78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6" y="198"/>
                  </a:lnTo>
                  <a:lnTo>
                    <a:pt x="87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9" y="199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1"/>
                  </a:lnTo>
                  <a:lnTo>
                    <a:pt x="88" y="201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7" y="200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8" y="202"/>
                  </a:lnTo>
                  <a:lnTo>
                    <a:pt x="88" y="201"/>
                  </a:lnTo>
                  <a:lnTo>
                    <a:pt x="89" y="201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7" y="204"/>
                  </a:lnTo>
                  <a:lnTo>
                    <a:pt x="87" y="205"/>
                  </a:lnTo>
                  <a:lnTo>
                    <a:pt x="87" y="20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9" y="204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2"/>
                  </a:lnTo>
                  <a:lnTo>
                    <a:pt x="91" y="201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1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3" y="200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3" y="197"/>
                  </a:lnTo>
                  <a:lnTo>
                    <a:pt x="94" y="197"/>
                  </a:lnTo>
                  <a:lnTo>
                    <a:pt x="94" y="196"/>
                  </a:lnTo>
                  <a:lnTo>
                    <a:pt x="95" y="196"/>
                  </a:lnTo>
                  <a:lnTo>
                    <a:pt x="95" y="195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7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7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1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5" y="192"/>
                  </a:lnTo>
                  <a:lnTo>
                    <a:pt x="105" y="191"/>
                  </a:lnTo>
                  <a:lnTo>
                    <a:pt x="105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5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1" y="191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0"/>
                  </a:lnTo>
                  <a:lnTo>
                    <a:pt x="99" y="190"/>
                  </a:lnTo>
                  <a:lnTo>
                    <a:pt x="98" y="190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7" y="191"/>
                  </a:lnTo>
                  <a:lnTo>
                    <a:pt x="97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7" y="190"/>
                  </a:lnTo>
                  <a:lnTo>
                    <a:pt x="97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5" y="192"/>
                  </a:lnTo>
                  <a:lnTo>
                    <a:pt x="94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2" y="192"/>
                  </a:lnTo>
                  <a:lnTo>
                    <a:pt x="92" y="191"/>
                  </a:lnTo>
                  <a:lnTo>
                    <a:pt x="92" y="192"/>
                  </a:lnTo>
                  <a:lnTo>
                    <a:pt x="91" y="191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0" y="190"/>
                  </a:lnTo>
                  <a:lnTo>
                    <a:pt x="90" y="189"/>
                  </a:lnTo>
                  <a:lnTo>
                    <a:pt x="89" y="189"/>
                  </a:lnTo>
                  <a:lnTo>
                    <a:pt x="89" y="189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8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5" y="184"/>
                  </a:lnTo>
                  <a:lnTo>
                    <a:pt x="85" y="183"/>
                  </a:lnTo>
                  <a:lnTo>
                    <a:pt x="85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2" y="182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9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7" y="182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0"/>
                  </a:lnTo>
                  <a:lnTo>
                    <a:pt x="77" y="179"/>
                  </a:lnTo>
                  <a:lnTo>
                    <a:pt x="77" y="179"/>
                  </a:lnTo>
                  <a:lnTo>
                    <a:pt x="77" y="178"/>
                  </a:lnTo>
                  <a:lnTo>
                    <a:pt x="78" y="178"/>
                  </a:lnTo>
                  <a:lnTo>
                    <a:pt x="78" y="177"/>
                  </a:lnTo>
                  <a:lnTo>
                    <a:pt x="78" y="176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8" y="176"/>
                  </a:lnTo>
                  <a:lnTo>
                    <a:pt x="78" y="177"/>
                  </a:lnTo>
                  <a:lnTo>
                    <a:pt x="79" y="177"/>
                  </a:lnTo>
                  <a:lnTo>
                    <a:pt x="80" y="177"/>
                  </a:lnTo>
                  <a:lnTo>
                    <a:pt x="80" y="177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2" y="176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2"/>
                  </a:lnTo>
                  <a:lnTo>
                    <a:pt x="80" y="171"/>
                  </a:lnTo>
                  <a:lnTo>
                    <a:pt x="81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1" y="171"/>
                  </a:lnTo>
                  <a:lnTo>
                    <a:pt x="82" y="171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4" y="171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2" y="172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2"/>
                  </a:lnTo>
                  <a:lnTo>
                    <a:pt x="91" y="172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0" y="172"/>
                  </a:lnTo>
                  <a:lnTo>
                    <a:pt x="90" y="171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0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3" y="171"/>
                  </a:lnTo>
                  <a:lnTo>
                    <a:pt x="93" y="170"/>
                  </a:lnTo>
                  <a:lnTo>
                    <a:pt x="94" y="170"/>
                  </a:lnTo>
                  <a:lnTo>
                    <a:pt x="93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0" y="170"/>
                  </a:lnTo>
                  <a:lnTo>
                    <a:pt x="91" y="171"/>
                  </a:lnTo>
                  <a:lnTo>
                    <a:pt x="90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0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7"/>
                  </a:lnTo>
                  <a:lnTo>
                    <a:pt x="81" y="167"/>
                  </a:lnTo>
                  <a:lnTo>
                    <a:pt x="82" y="167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3" y="167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7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5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5"/>
                  </a:lnTo>
                  <a:lnTo>
                    <a:pt x="81" y="165"/>
                  </a:lnTo>
                  <a:lnTo>
                    <a:pt x="81" y="164"/>
                  </a:lnTo>
                  <a:lnTo>
                    <a:pt x="82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79" y="164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77" y="165"/>
                  </a:lnTo>
                  <a:lnTo>
                    <a:pt x="77" y="165"/>
                  </a:lnTo>
                  <a:lnTo>
                    <a:pt x="76" y="165"/>
                  </a:lnTo>
                  <a:lnTo>
                    <a:pt x="77" y="165"/>
                  </a:lnTo>
                  <a:lnTo>
                    <a:pt x="77" y="164"/>
                  </a:lnTo>
                  <a:lnTo>
                    <a:pt x="77" y="164"/>
                  </a:lnTo>
                  <a:lnTo>
                    <a:pt x="76" y="164"/>
                  </a:lnTo>
                  <a:lnTo>
                    <a:pt x="76" y="163"/>
                  </a:lnTo>
                  <a:lnTo>
                    <a:pt x="76" y="163"/>
                  </a:lnTo>
                  <a:lnTo>
                    <a:pt x="77" y="163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9" y="162"/>
                  </a:lnTo>
                  <a:lnTo>
                    <a:pt x="80" y="162"/>
                  </a:lnTo>
                  <a:lnTo>
                    <a:pt x="79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8" y="161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9" y="160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80" y="161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0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0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59"/>
                  </a:lnTo>
                  <a:lnTo>
                    <a:pt x="78" y="159"/>
                  </a:lnTo>
                  <a:lnTo>
                    <a:pt x="78" y="157"/>
                  </a:lnTo>
                  <a:lnTo>
                    <a:pt x="79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1" y="157"/>
                  </a:lnTo>
                  <a:lnTo>
                    <a:pt x="81" y="156"/>
                  </a:lnTo>
                  <a:lnTo>
                    <a:pt x="82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7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8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5" y="155"/>
                  </a:lnTo>
                  <a:lnTo>
                    <a:pt x="85" y="155"/>
                  </a:lnTo>
                  <a:lnTo>
                    <a:pt x="85" y="154"/>
                  </a:lnTo>
                  <a:lnTo>
                    <a:pt x="86" y="154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1" y="150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4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2" y="145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4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3" y="141"/>
                  </a:lnTo>
                  <a:lnTo>
                    <a:pt x="93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6"/>
                  </a:lnTo>
                  <a:lnTo>
                    <a:pt x="96" y="135"/>
                  </a:lnTo>
                  <a:lnTo>
                    <a:pt x="97" y="135"/>
                  </a:lnTo>
                  <a:lnTo>
                    <a:pt x="98" y="134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0" y="133"/>
                  </a:lnTo>
                  <a:lnTo>
                    <a:pt x="101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1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1" y="134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3" y="134"/>
                  </a:lnTo>
                  <a:lnTo>
                    <a:pt x="103" y="134"/>
                  </a:lnTo>
                  <a:lnTo>
                    <a:pt x="104" y="134"/>
                  </a:lnTo>
                  <a:lnTo>
                    <a:pt x="104" y="134"/>
                  </a:lnTo>
                  <a:lnTo>
                    <a:pt x="105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8" y="133"/>
                  </a:lnTo>
                  <a:lnTo>
                    <a:pt x="108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4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2" y="133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2" y="133"/>
                  </a:lnTo>
                  <a:lnTo>
                    <a:pt x="113" y="133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5" y="134"/>
                  </a:lnTo>
                  <a:lnTo>
                    <a:pt x="115" y="134"/>
                  </a:lnTo>
                  <a:lnTo>
                    <a:pt x="115" y="133"/>
                  </a:lnTo>
                  <a:lnTo>
                    <a:pt x="116" y="133"/>
                  </a:lnTo>
                  <a:lnTo>
                    <a:pt x="117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6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6"/>
                  </a:lnTo>
                  <a:lnTo>
                    <a:pt x="118" y="136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21" y="135"/>
                  </a:lnTo>
                  <a:lnTo>
                    <a:pt x="122" y="135"/>
                  </a:lnTo>
                  <a:lnTo>
                    <a:pt x="122" y="135"/>
                  </a:lnTo>
                  <a:lnTo>
                    <a:pt x="124" y="135"/>
                  </a:lnTo>
                  <a:lnTo>
                    <a:pt x="125" y="136"/>
                  </a:lnTo>
                  <a:lnTo>
                    <a:pt x="126" y="136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6" y="139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4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1"/>
                  </a:lnTo>
                  <a:lnTo>
                    <a:pt x="125" y="141"/>
                  </a:lnTo>
                  <a:lnTo>
                    <a:pt x="125" y="142"/>
                  </a:lnTo>
                  <a:lnTo>
                    <a:pt x="126" y="142"/>
                  </a:lnTo>
                  <a:lnTo>
                    <a:pt x="126" y="143"/>
                  </a:lnTo>
                  <a:lnTo>
                    <a:pt x="125" y="143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5"/>
                  </a:lnTo>
                  <a:lnTo>
                    <a:pt x="125" y="145"/>
                  </a:lnTo>
                  <a:lnTo>
                    <a:pt x="124" y="145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3" y="147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2" y="148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1" y="149"/>
                  </a:lnTo>
                  <a:lnTo>
                    <a:pt x="122" y="150"/>
                  </a:lnTo>
                  <a:lnTo>
                    <a:pt x="121" y="150"/>
                  </a:lnTo>
                  <a:lnTo>
                    <a:pt x="122" y="150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19" y="151"/>
                  </a:lnTo>
                  <a:lnTo>
                    <a:pt x="118" y="151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5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5"/>
                  </a:lnTo>
                  <a:lnTo>
                    <a:pt x="118" y="155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7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21" y="158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60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3" y="160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4" y="161"/>
                  </a:lnTo>
                  <a:lnTo>
                    <a:pt x="124" y="160"/>
                  </a:lnTo>
                  <a:lnTo>
                    <a:pt x="124" y="161"/>
                  </a:lnTo>
                  <a:lnTo>
                    <a:pt x="124" y="161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5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9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4" y="170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3" y="171"/>
                  </a:lnTo>
                  <a:lnTo>
                    <a:pt x="122" y="171"/>
                  </a:lnTo>
                  <a:lnTo>
                    <a:pt x="123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4" y="173"/>
                  </a:lnTo>
                  <a:lnTo>
                    <a:pt x="124" y="174"/>
                  </a:lnTo>
                  <a:lnTo>
                    <a:pt x="123" y="174"/>
                  </a:lnTo>
                  <a:lnTo>
                    <a:pt x="123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4" y="174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5"/>
                  </a:lnTo>
                  <a:lnTo>
                    <a:pt x="123" y="175"/>
                  </a:lnTo>
                  <a:lnTo>
                    <a:pt x="123" y="176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4" y="178"/>
                  </a:lnTo>
                  <a:lnTo>
                    <a:pt x="124" y="178"/>
                  </a:lnTo>
                  <a:lnTo>
                    <a:pt x="125" y="178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4" y="179"/>
                  </a:lnTo>
                  <a:lnTo>
                    <a:pt x="124" y="180"/>
                  </a:lnTo>
                  <a:lnTo>
                    <a:pt x="124" y="180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3" y="185"/>
                  </a:lnTo>
                  <a:lnTo>
                    <a:pt x="123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0" y="184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8" y="185"/>
                  </a:lnTo>
                  <a:lnTo>
                    <a:pt x="119" y="185"/>
                  </a:lnTo>
                  <a:lnTo>
                    <a:pt x="118" y="186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0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7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9"/>
                  </a:lnTo>
                  <a:lnTo>
                    <a:pt x="123" y="189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4" y="190"/>
                  </a:lnTo>
                  <a:lnTo>
                    <a:pt x="124" y="191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6" y="193"/>
                  </a:lnTo>
                  <a:lnTo>
                    <a:pt x="126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7" y="195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9" y="195"/>
                  </a:lnTo>
                  <a:lnTo>
                    <a:pt x="129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1" y="196"/>
                  </a:lnTo>
                  <a:lnTo>
                    <a:pt x="132" y="197"/>
                  </a:lnTo>
                  <a:lnTo>
                    <a:pt x="132" y="197"/>
                  </a:lnTo>
                  <a:lnTo>
                    <a:pt x="132" y="198"/>
                  </a:lnTo>
                  <a:lnTo>
                    <a:pt x="132" y="199"/>
                  </a:lnTo>
                  <a:lnTo>
                    <a:pt x="132" y="198"/>
                  </a:lnTo>
                  <a:lnTo>
                    <a:pt x="131" y="198"/>
                  </a:lnTo>
                  <a:lnTo>
                    <a:pt x="131" y="199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7" y="208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4" y="210"/>
                  </a:lnTo>
                  <a:lnTo>
                    <a:pt x="123" y="211"/>
                  </a:lnTo>
                  <a:lnTo>
                    <a:pt x="124" y="211"/>
                  </a:lnTo>
                  <a:lnTo>
                    <a:pt x="124" y="211"/>
                  </a:lnTo>
                  <a:lnTo>
                    <a:pt x="124" y="212"/>
                  </a:lnTo>
                  <a:lnTo>
                    <a:pt x="123" y="212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2" y="213"/>
                  </a:lnTo>
                  <a:lnTo>
                    <a:pt x="123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0" y="214"/>
                  </a:lnTo>
                  <a:lnTo>
                    <a:pt x="119" y="214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0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19" y="216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7" y="219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5" y="219"/>
                  </a:lnTo>
                  <a:lnTo>
                    <a:pt x="115" y="220"/>
                  </a:lnTo>
                  <a:lnTo>
                    <a:pt x="115" y="220"/>
                  </a:lnTo>
                  <a:lnTo>
                    <a:pt x="115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2" y="220"/>
                  </a:lnTo>
                  <a:lnTo>
                    <a:pt x="111" y="220"/>
                  </a:lnTo>
                  <a:lnTo>
                    <a:pt x="112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8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4" y="222"/>
                  </a:lnTo>
                  <a:lnTo>
                    <a:pt x="104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8" y="221"/>
                  </a:lnTo>
                  <a:lnTo>
                    <a:pt x="98" y="221"/>
                  </a:lnTo>
                  <a:lnTo>
                    <a:pt x="97" y="221"/>
                  </a:lnTo>
                  <a:lnTo>
                    <a:pt x="96" y="221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0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0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90" y="221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6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3" y="222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4" y="224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1" y="227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9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1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6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7" y="231"/>
                  </a:lnTo>
                  <a:lnTo>
                    <a:pt x="67" y="232"/>
                  </a:lnTo>
                  <a:lnTo>
                    <a:pt x="68" y="231"/>
                  </a:lnTo>
                  <a:lnTo>
                    <a:pt x="68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2"/>
                  </a:lnTo>
                  <a:lnTo>
                    <a:pt x="65" y="232"/>
                  </a:lnTo>
                  <a:lnTo>
                    <a:pt x="65" y="231"/>
                  </a:lnTo>
                  <a:lnTo>
                    <a:pt x="64" y="231"/>
                  </a:lnTo>
                  <a:lnTo>
                    <a:pt x="64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3"/>
                  </a:lnTo>
                  <a:lnTo>
                    <a:pt x="63" y="233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2" y="234"/>
                  </a:lnTo>
                  <a:lnTo>
                    <a:pt x="62" y="235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4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4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60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4"/>
                  </a:lnTo>
                  <a:lnTo>
                    <a:pt x="60" y="245"/>
                  </a:lnTo>
                  <a:lnTo>
                    <a:pt x="60" y="244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59" y="245"/>
                  </a:lnTo>
                  <a:lnTo>
                    <a:pt x="60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3" y="247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3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9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7" y="248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8"/>
                  </a:lnTo>
                  <a:lnTo>
                    <a:pt x="60" y="248"/>
                  </a:lnTo>
                  <a:lnTo>
                    <a:pt x="59" y="248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8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1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1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9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2"/>
                  </a:lnTo>
                  <a:lnTo>
                    <a:pt x="64" y="252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5" y="256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7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8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2"/>
                  </a:lnTo>
                  <a:lnTo>
                    <a:pt x="63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0" y="264"/>
                  </a:lnTo>
                  <a:lnTo>
                    <a:pt x="59" y="264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1" y="266"/>
                  </a:lnTo>
                  <a:lnTo>
                    <a:pt x="60" y="266"/>
                  </a:lnTo>
                  <a:lnTo>
                    <a:pt x="60" y="267"/>
                  </a:lnTo>
                  <a:lnTo>
                    <a:pt x="60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60" y="267"/>
                  </a:lnTo>
                  <a:lnTo>
                    <a:pt x="61" y="267"/>
                  </a:lnTo>
                  <a:lnTo>
                    <a:pt x="60" y="267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8" y="269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7" y="270"/>
                  </a:lnTo>
                  <a:lnTo>
                    <a:pt x="57" y="270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3" y="271"/>
                  </a:lnTo>
                  <a:lnTo>
                    <a:pt x="52" y="271"/>
                  </a:lnTo>
                  <a:lnTo>
                    <a:pt x="52" y="270"/>
                  </a:lnTo>
                  <a:lnTo>
                    <a:pt x="52" y="271"/>
                  </a:lnTo>
                  <a:lnTo>
                    <a:pt x="51" y="270"/>
                  </a:lnTo>
                  <a:lnTo>
                    <a:pt x="51" y="271"/>
                  </a:lnTo>
                  <a:lnTo>
                    <a:pt x="50" y="271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7" y="268"/>
                  </a:lnTo>
                  <a:lnTo>
                    <a:pt x="47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5" y="268"/>
                  </a:lnTo>
                  <a:lnTo>
                    <a:pt x="45" y="269"/>
                  </a:lnTo>
                  <a:lnTo>
                    <a:pt x="44" y="269"/>
                  </a:lnTo>
                  <a:lnTo>
                    <a:pt x="44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1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5"/>
                  </a:lnTo>
                  <a:lnTo>
                    <a:pt x="40" y="264"/>
                  </a:lnTo>
                  <a:lnTo>
                    <a:pt x="39" y="264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8" y="264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6" y="265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8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4"/>
                  </a:lnTo>
                  <a:lnTo>
                    <a:pt x="40" y="264"/>
                  </a:lnTo>
                  <a:lnTo>
                    <a:pt x="40" y="265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4" y="268"/>
                  </a:lnTo>
                  <a:lnTo>
                    <a:pt x="44" y="269"/>
                  </a:lnTo>
                  <a:lnTo>
                    <a:pt x="45" y="269"/>
                  </a:lnTo>
                  <a:lnTo>
                    <a:pt x="45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7" y="268"/>
                  </a:lnTo>
                  <a:lnTo>
                    <a:pt x="47" y="269"/>
                  </a:lnTo>
                  <a:lnTo>
                    <a:pt x="47" y="269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9" y="270"/>
                  </a:lnTo>
                  <a:lnTo>
                    <a:pt x="50" y="271"/>
                  </a:lnTo>
                  <a:lnTo>
                    <a:pt x="50" y="271"/>
                  </a:lnTo>
                  <a:lnTo>
                    <a:pt x="51" y="271"/>
                  </a:lnTo>
                  <a:lnTo>
                    <a:pt x="51" y="271"/>
                  </a:lnTo>
                  <a:lnTo>
                    <a:pt x="52" y="271"/>
                  </a:lnTo>
                  <a:lnTo>
                    <a:pt x="52" y="271"/>
                  </a:lnTo>
                  <a:lnTo>
                    <a:pt x="53" y="271"/>
                  </a:lnTo>
                  <a:lnTo>
                    <a:pt x="53" y="271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4"/>
                  </a:lnTo>
                  <a:lnTo>
                    <a:pt x="55" y="274"/>
                  </a:lnTo>
                  <a:lnTo>
                    <a:pt x="55" y="273"/>
                  </a:lnTo>
                  <a:lnTo>
                    <a:pt x="55" y="274"/>
                  </a:lnTo>
                  <a:lnTo>
                    <a:pt x="54" y="274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7" y="273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3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7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1" y="271"/>
                  </a:lnTo>
                  <a:lnTo>
                    <a:pt x="61" y="272"/>
                  </a:lnTo>
                  <a:lnTo>
                    <a:pt x="61" y="273"/>
                  </a:lnTo>
                  <a:lnTo>
                    <a:pt x="61" y="273"/>
                  </a:lnTo>
                  <a:lnTo>
                    <a:pt x="61" y="274"/>
                  </a:lnTo>
                  <a:lnTo>
                    <a:pt x="61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3" y="275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3" y="274"/>
                  </a:lnTo>
                  <a:lnTo>
                    <a:pt x="64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3" y="277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5" y="280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8" y="279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8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8" y="283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69" y="283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0" y="284"/>
                  </a:lnTo>
                  <a:lnTo>
                    <a:pt x="70" y="283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4"/>
                  </a:lnTo>
                  <a:lnTo>
                    <a:pt x="72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4" y="284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5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9" y="286"/>
                  </a:lnTo>
                  <a:lnTo>
                    <a:pt x="79" y="287"/>
                  </a:lnTo>
                  <a:lnTo>
                    <a:pt x="79" y="288"/>
                  </a:lnTo>
                  <a:lnTo>
                    <a:pt x="79" y="287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7"/>
                  </a:lnTo>
                  <a:lnTo>
                    <a:pt x="79" y="287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90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5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4" y="290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8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7"/>
                  </a:lnTo>
                  <a:lnTo>
                    <a:pt x="82" y="287"/>
                  </a:lnTo>
                  <a:lnTo>
                    <a:pt x="83" y="287"/>
                  </a:lnTo>
                  <a:lnTo>
                    <a:pt x="82" y="286"/>
                  </a:lnTo>
                  <a:lnTo>
                    <a:pt x="82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4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2" y="286"/>
                  </a:lnTo>
                  <a:lnTo>
                    <a:pt x="82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8" y="282"/>
                  </a:lnTo>
                  <a:lnTo>
                    <a:pt x="79" y="283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7" y="283"/>
                  </a:lnTo>
                  <a:lnTo>
                    <a:pt x="77" y="283"/>
                  </a:lnTo>
                  <a:lnTo>
                    <a:pt x="76" y="283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70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78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7" y="276"/>
                  </a:lnTo>
                  <a:lnTo>
                    <a:pt x="67" y="276"/>
                  </a:lnTo>
                  <a:lnTo>
                    <a:pt x="67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6"/>
                  </a:lnTo>
                  <a:lnTo>
                    <a:pt x="66" y="276"/>
                  </a:lnTo>
                  <a:lnTo>
                    <a:pt x="66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8" y="267"/>
                  </a:lnTo>
                  <a:lnTo>
                    <a:pt x="67" y="267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70" y="266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9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1" y="264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8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6" y="263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4" y="263"/>
                  </a:lnTo>
                  <a:lnTo>
                    <a:pt x="75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4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1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1" y="261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1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3" y="259"/>
                  </a:lnTo>
                  <a:lnTo>
                    <a:pt x="73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7"/>
                  </a:lnTo>
                  <a:lnTo>
                    <a:pt x="72" y="257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7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4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3"/>
                  </a:lnTo>
                  <a:lnTo>
                    <a:pt x="71" y="253"/>
                  </a:lnTo>
                  <a:lnTo>
                    <a:pt x="71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3" y="255"/>
                  </a:lnTo>
                  <a:lnTo>
                    <a:pt x="72" y="255"/>
                  </a:lnTo>
                  <a:lnTo>
                    <a:pt x="72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3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1" y="252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0"/>
                  </a:lnTo>
                  <a:lnTo>
                    <a:pt x="71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2" y="247"/>
                  </a:lnTo>
                  <a:lnTo>
                    <a:pt x="71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2" y="246"/>
                  </a:lnTo>
                  <a:lnTo>
                    <a:pt x="71" y="246"/>
                  </a:lnTo>
                  <a:lnTo>
                    <a:pt x="70" y="246"/>
                  </a:lnTo>
                  <a:lnTo>
                    <a:pt x="71" y="245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69" y="246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5" y="245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8" y="240"/>
                  </a:lnTo>
                  <a:lnTo>
                    <a:pt x="68" y="239"/>
                  </a:lnTo>
                  <a:lnTo>
                    <a:pt x="68" y="238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2"/>
                  </a:lnTo>
                  <a:lnTo>
                    <a:pt x="71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3" y="232"/>
                  </a:lnTo>
                  <a:lnTo>
                    <a:pt x="74" y="232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75" y="231"/>
                  </a:lnTo>
                  <a:lnTo>
                    <a:pt x="74" y="231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5" y="230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30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6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4" y="227"/>
                  </a:lnTo>
                  <a:lnTo>
                    <a:pt x="74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6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6" y="225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7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9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5" y="225"/>
                  </a:lnTo>
                  <a:lnTo>
                    <a:pt x="75" y="224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78" y="224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1" y="225"/>
                  </a:lnTo>
                  <a:lnTo>
                    <a:pt x="81" y="224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4"/>
                  </a:lnTo>
                  <a:lnTo>
                    <a:pt x="83" y="224"/>
                  </a:lnTo>
                  <a:lnTo>
                    <a:pt x="84" y="224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6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90" y="225"/>
                  </a:lnTo>
                  <a:lnTo>
                    <a:pt x="91" y="225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4" y="222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5"/>
                  </a:lnTo>
                  <a:lnTo>
                    <a:pt x="97" y="225"/>
                  </a:lnTo>
                  <a:lnTo>
                    <a:pt x="98" y="225"/>
                  </a:lnTo>
                  <a:lnTo>
                    <a:pt x="98" y="225"/>
                  </a:lnTo>
                  <a:lnTo>
                    <a:pt x="98" y="226"/>
                  </a:lnTo>
                  <a:lnTo>
                    <a:pt x="99" y="226"/>
                  </a:lnTo>
                  <a:lnTo>
                    <a:pt x="99" y="226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5" y="226"/>
                  </a:lnTo>
                  <a:lnTo>
                    <a:pt x="104" y="226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8" y="228"/>
                  </a:lnTo>
                  <a:lnTo>
                    <a:pt x="109" y="228"/>
                  </a:lnTo>
                  <a:lnTo>
                    <a:pt x="109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4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6" y="228"/>
                  </a:lnTo>
                  <a:lnTo>
                    <a:pt x="117" y="228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8" y="232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4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21" y="233"/>
                  </a:lnTo>
                  <a:lnTo>
                    <a:pt x="121" y="234"/>
                  </a:lnTo>
                  <a:lnTo>
                    <a:pt x="120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9"/>
                  </a:lnTo>
                  <a:lnTo>
                    <a:pt x="125" y="239"/>
                  </a:lnTo>
                  <a:lnTo>
                    <a:pt x="125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1"/>
                  </a:lnTo>
                  <a:lnTo>
                    <a:pt x="127" y="241"/>
                  </a:lnTo>
                  <a:lnTo>
                    <a:pt x="127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2"/>
                  </a:lnTo>
                  <a:lnTo>
                    <a:pt x="129" y="242"/>
                  </a:lnTo>
                  <a:lnTo>
                    <a:pt x="128" y="242"/>
                  </a:lnTo>
                  <a:lnTo>
                    <a:pt x="128" y="241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4"/>
                  </a:lnTo>
                  <a:lnTo>
                    <a:pt x="130" y="244"/>
                  </a:lnTo>
                  <a:lnTo>
                    <a:pt x="129" y="244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1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5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6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0" y="253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5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3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2" y="251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1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29" y="243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7" y="241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5" y="240"/>
                  </a:lnTo>
                  <a:lnTo>
                    <a:pt x="125" y="239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3" y="234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1"/>
                  </a:lnTo>
                  <a:lnTo>
                    <a:pt x="119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19" y="231"/>
                  </a:lnTo>
                  <a:lnTo>
                    <a:pt x="120" y="231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29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2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1" y="226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3" y="224"/>
                  </a:lnTo>
                  <a:lnTo>
                    <a:pt x="124" y="224"/>
                  </a:lnTo>
                  <a:lnTo>
                    <a:pt x="124" y="224"/>
                  </a:lnTo>
                  <a:lnTo>
                    <a:pt x="125" y="224"/>
                  </a:lnTo>
                  <a:lnTo>
                    <a:pt x="125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6" y="223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5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9" y="224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7" y="223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9" y="222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7" y="222"/>
                  </a:lnTo>
                  <a:lnTo>
                    <a:pt x="128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30" y="222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1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4" y="219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7"/>
                  </a:lnTo>
                  <a:lnTo>
                    <a:pt x="134" y="216"/>
                  </a:lnTo>
                  <a:lnTo>
                    <a:pt x="134" y="216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5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6" y="213"/>
                  </a:lnTo>
                  <a:lnTo>
                    <a:pt x="136" y="212"/>
                  </a:lnTo>
                  <a:lnTo>
                    <a:pt x="138" y="211"/>
                  </a:lnTo>
                  <a:lnTo>
                    <a:pt x="139" y="211"/>
                  </a:lnTo>
                  <a:lnTo>
                    <a:pt x="140" y="210"/>
                  </a:lnTo>
                  <a:lnTo>
                    <a:pt x="140" y="210"/>
                  </a:lnTo>
                  <a:lnTo>
                    <a:pt x="141" y="210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8"/>
                  </a:lnTo>
                  <a:lnTo>
                    <a:pt x="141" y="208"/>
                  </a:lnTo>
                  <a:lnTo>
                    <a:pt x="141" y="207"/>
                  </a:lnTo>
                  <a:lnTo>
                    <a:pt x="141" y="207"/>
                  </a:lnTo>
                  <a:lnTo>
                    <a:pt x="141" y="206"/>
                  </a:lnTo>
                  <a:lnTo>
                    <a:pt x="142" y="206"/>
                  </a:lnTo>
                  <a:lnTo>
                    <a:pt x="141" y="206"/>
                  </a:lnTo>
                  <a:lnTo>
                    <a:pt x="141" y="205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3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39" y="201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8" y="200"/>
                  </a:lnTo>
                  <a:lnTo>
                    <a:pt x="137" y="200"/>
                  </a:lnTo>
                  <a:lnTo>
                    <a:pt x="137" y="199"/>
                  </a:lnTo>
                  <a:lnTo>
                    <a:pt x="138" y="199"/>
                  </a:lnTo>
                  <a:lnTo>
                    <a:pt x="139" y="198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5"/>
                  </a:lnTo>
                  <a:lnTo>
                    <a:pt x="139" y="194"/>
                  </a:lnTo>
                  <a:lnTo>
                    <a:pt x="140" y="194"/>
                  </a:lnTo>
                  <a:lnTo>
                    <a:pt x="140" y="194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5" y="192"/>
                  </a:lnTo>
                  <a:lnTo>
                    <a:pt x="146" y="192"/>
                  </a:lnTo>
                  <a:lnTo>
                    <a:pt x="147" y="192"/>
                  </a:lnTo>
                  <a:lnTo>
                    <a:pt x="147" y="192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2" y="191"/>
                  </a:lnTo>
                  <a:lnTo>
                    <a:pt x="152" y="191"/>
                  </a:lnTo>
                  <a:lnTo>
                    <a:pt x="152" y="190"/>
                  </a:lnTo>
                  <a:lnTo>
                    <a:pt x="153" y="190"/>
                  </a:lnTo>
                  <a:lnTo>
                    <a:pt x="154" y="190"/>
                  </a:lnTo>
                  <a:lnTo>
                    <a:pt x="154" y="190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6" y="190"/>
                  </a:lnTo>
                  <a:lnTo>
                    <a:pt x="156" y="191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7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4"/>
                  </a:lnTo>
                  <a:lnTo>
                    <a:pt x="157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5"/>
                  </a:lnTo>
                  <a:lnTo>
                    <a:pt x="159" y="195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59" y="196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9" y="199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2" y="198"/>
                  </a:lnTo>
                  <a:lnTo>
                    <a:pt x="161" y="198"/>
                  </a:lnTo>
                  <a:lnTo>
                    <a:pt x="161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2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0" y="200"/>
                  </a:lnTo>
                  <a:lnTo>
                    <a:pt x="160" y="201"/>
                  </a:lnTo>
                  <a:lnTo>
                    <a:pt x="160" y="201"/>
                  </a:lnTo>
                  <a:lnTo>
                    <a:pt x="161" y="201"/>
                  </a:lnTo>
                  <a:lnTo>
                    <a:pt x="162" y="201"/>
                  </a:lnTo>
                  <a:lnTo>
                    <a:pt x="162" y="202"/>
                  </a:lnTo>
                  <a:lnTo>
                    <a:pt x="162" y="203"/>
                  </a:lnTo>
                  <a:lnTo>
                    <a:pt x="161" y="203"/>
                  </a:lnTo>
                  <a:lnTo>
                    <a:pt x="161" y="203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0" y="205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2" y="205"/>
                  </a:lnTo>
                  <a:lnTo>
                    <a:pt x="162" y="206"/>
                  </a:lnTo>
                  <a:lnTo>
                    <a:pt x="161" y="206"/>
                  </a:lnTo>
                  <a:lnTo>
                    <a:pt x="162" y="206"/>
                  </a:lnTo>
                  <a:lnTo>
                    <a:pt x="161" y="207"/>
                  </a:lnTo>
                  <a:lnTo>
                    <a:pt x="161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1" y="208"/>
                  </a:lnTo>
                  <a:lnTo>
                    <a:pt x="162" y="208"/>
                  </a:lnTo>
                  <a:lnTo>
                    <a:pt x="162" y="209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2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3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6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6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6" y="212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7"/>
                  </a:lnTo>
                  <a:lnTo>
                    <a:pt x="168" y="217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6" y="224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9" y="229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70" y="231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69" y="233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8" y="238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6" y="241"/>
                  </a:lnTo>
                  <a:lnTo>
                    <a:pt x="166" y="242"/>
                  </a:lnTo>
                  <a:lnTo>
                    <a:pt x="166" y="241"/>
                  </a:lnTo>
                  <a:lnTo>
                    <a:pt x="167" y="242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2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6"/>
                  </a:lnTo>
                  <a:lnTo>
                    <a:pt x="166" y="246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6"/>
                  </a:lnTo>
                  <a:lnTo>
                    <a:pt x="167" y="246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2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8" y="240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5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70" y="234"/>
                  </a:lnTo>
                  <a:lnTo>
                    <a:pt x="170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2"/>
                  </a:lnTo>
                  <a:lnTo>
                    <a:pt x="170" y="231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29"/>
                  </a:lnTo>
                  <a:lnTo>
                    <a:pt x="169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8" y="228"/>
                  </a:lnTo>
                  <a:lnTo>
                    <a:pt x="167" y="228"/>
                  </a:lnTo>
                  <a:lnTo>
                    <a:pt x="168" y="229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9" y="227"/>
                  </a:lnTo>
                  <a:lnTo>
                    <a:pt x="169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5"/>
                  </a:lnTo>
                  <a:lnTo>
                    <a:pt x="168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7" y="223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7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9" y="219"/>
                  </a:lnTo>
                  <a:lnTo>
                    <a:pt x="169" y="219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7"/>
                  </a:lnTo>
                  <a:lnTo>
                    <a:pt x="168" y="217"/>
                  </a:lnTo>
                  <a:lnTo>
                    <a:pt x="167" y="217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7" y="214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1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68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70" y="211"/>
                  </a:lnTo>
                  <a:lnTo>
                    <a:pt x="170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2" y="211"/>
                  </a:lnTo>
                  <a:lnTo>
                    <a:pt x="173" y="211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4" y="212"/>
                  </a:lnTo>
                  <a:lnTo>
                    <a:pt x="174" y="213"/>
                  </a:lnTo>
                  <a:lnTo>
                    <a:pt x="174" y="213"/>
                  </a:lnTo>
                  <a:lnTo>
                    <a:pt x="175" y="213"/>
                  </a:lnTo>
                  <a:lnTo>
                    <a:pt x="175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7" y="214"/>
                  </a:lnTo>
                  <a:lnTo>
                    <a:pt x="177" y="215"/>
                  </a:lnTo>
                  <a:lnTo>
                    <a:pt x="177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3" y="217"/>
                  </a:lnTo>
                  <a:lnTo>
                    <a:pt x="183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6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8" y="219"/>
                  </a:lnTo>
                  <a:lnTo>
                    <a:pt x="187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7"/>
                  </a:lnTo>
                  <a:lnTo>
                    <a:pt x="189" y="217"/>
                  </a:lnTo>
                  <a:lnTo>
                    <a:pt x="190" y="217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8" y="220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5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7" y="221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3"/>
                  </a:lnTo>
                  <a:lnTo>
                    <a:pt x="201" y="223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2" y="224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1" y="226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0" y="227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1" y="230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30"/>
                  </a:lnTo>
                  <a:lnTo>
                    <a:pt x="201" y="231"/>
                  </a:lnTo>
                  <a:lnTo>
                    <a:pt x="200" y="231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3"/>
                  </a:lnTo>
                  <a:lnTo>
                    <a:pt x="201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1" y="233"/>
                  </a:lnTo>
                  <a:lnTo>
                    <a:pt x="200" y="233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1"/>
                  </a:lnTo>
                  <a:lnTo>
                    <a:pt x="201" y="231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1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4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1" y="223"/>
                  </a:lnTo>
                  <a:lnTo>
                    <a:pt x="201" y="222"/>
                  </a:lnTo>
                  <a:lnTo>
                    <a:pt x="201" y="223"/>
                  </a:lnTo>
                  <a:lnTo>
                    <a:pt x="200" y="223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8" y="220"/>
                  </a:lnTo>
                  <a:lnTo>
                    <a:pt x="198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7"/>
                  </a:lnTo>
                  <a:lnTo>
                    <a:pt x="195" y="217"/>
                  </a:lnTo>
                  <a:lnTo>
                    <a:pt x="194" y="217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7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7"/>
                  </a:lnTo>
                  <a:lnTo>
                    <a:pt x="189" y="217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8" y="216"/>
                  </a:lnTo>
                  <a:lnTo>
                    <a:pt x="188" y="217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5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5"/>
                  </a:lnTo>
                  <a:lnTo>
                    <a:pt x="181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79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5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09"/>
                  </a:lnTo>
                  <a:lnTo>
                    <a:pt x="172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2" y="208"/>
                  </a:lnTo>
                  <a:lnTo>
                    <a:pt x="172" y="209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11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0" y="209"/>
                  </a:lnTo>
                  <a:lnTo>
                    <a:pt x="171" y="209"/>
                  </a:lnTo>
                  <a:lnTo>
                    <a:pt x="170" y="208"/>
                  </a:lnTo>
                  <a:lnTo>
                    <a:pt x="170" y="209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69" y="210"/>
                  </a:lnTo>
                  <a:lnTo>
                    <a:pt x="169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9" y="210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8"/>
                  </a:lnTo>
                  <a:lnTo>
                    <a:pt x="166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7"/>
                  </a:lnTo>
                  <a:lnTo>
                    <a:pt x="166" y="207"/>
                  </a:lnTo>
                  <a:lnTo>
                    <a:pt x="165" y="207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9"/>
                  </a:lnTo>
                  <a:lnTo>
                    <a:pt x="165" y="208"/>
                  </a:lnTo>
                  <a:lnTo>
                    <a:pt x="164" y="208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4" y="206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3" y="205"/>
                  </a:lnTo>
                  <a:lnTo>
                    <a:pt x="163" y="204"/>
                  </a:lnTo>
                  <a:lnTo>
                    <a:pt x="163" y="204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4" y="203"/>
                  </a:lnTo>
                  <a:lnTo>
                    <a:pt x="164" y="202"/>
                  </a:lnTo>
                  <a:lnTo>
                    <a:pt x="165" y="202"/>
                  </a:lnTo>
                  <a:lnTo>
                    <a:pt x="165" y="201"/>
                  </a:lnTo>
                  <a:lnTo>
                    <a:pt x="166" y="201"/>
                  </a:lnTo>
                  <a:lnTo>
                    <a:pt x="166" y="201"/>
                  </a:lnTo>
                  <a:lnTo>
                    <a:pt x="167" y="201"/>
                  </a:lnTo>
                  <a:lnTo>
                    <a:pt x="167" y="201"/>
                  </a:lnTo>
                  <a:lnTo>
                    <a:pt x="168" y="201"/>
                  </a:lnTo>
                  <a:lnTo>
                    <a:pt x="169" y="201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7" y="199"/>
                  </a:lnTo>
                  <a:lnTo>
                    <a:pt x="167" y="199"/>
                  </a:lnTo>
                  <a:lnTo>
                    <a:pt x="166" y="199"/>
                  </a:lnTo>
                  <a:lnTo>
                    <a:pt x="167" y="199"/>
                  </a:lnTo>
                  <a:lnTo>
                    <a:pt x="166" y="198"/>
                  </a:lnTo>
                  <a:lnTo>
                    <a:pt x="167" y="198"/>
                  </a:lnTo>
                  <a:lnTo>
                    <a:pt x="167" y="197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6" y="197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5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2"/>
                  </a:lnTo>
                  <a:lnTo>
                    <a:pt x="165" y="192"/>
                  </a:lnTo>
                  <a:lnTo>
                    <a:pt x="164" y="192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1"/>
                  </a:lnTo>
                  <a:lnTo>
                    <a:pt x="161" y="191"/>
                  </a:lnTo>
                  <a:lnTo>
                    <a:pt x="161" y="190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9" y="189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7" y="188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6" y="189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7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4" y="188"/>
                  </a:lnTo>
                  <a:lnTo>
                    <a:pt x="155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2" y="187"/>
                  </a:lnTo>
                  <a:lnTo>
                    <a:pt x="151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6" y="187"/>
                  </a:lnTo>
                  <a:lnTo>
                    <a:pt x="146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4" y="188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0" y="189"/>
                  </a:lnTo>
                  <a:lnTo>
                    <a:pt x="140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8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5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3" y="187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3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2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2" y="180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8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5"/>
                  </a:lnTo>
                  <a:lnTo>
                    <a:pt x="133" y="174"/>
                  </a:lnTo>
                  <a:lnTo>
                    <a:pt x="133" y="174"/>
                  </a:lnTo>
                  <a:lnTo>
                    <a:pt x="133" y="173"/>
                  </a:lnTo>
                  <a:lnTo>
                    <a:pt x="134" y="173"/>
                  </a:lnTo>
                  <a:lnTo>
                    <a:pt x="135" y="172"/>
                  </a:lnTo>
                  <a:lnTo>
                    <a:pt x="135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69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7" y="167"/>
                  </a:lnTo>
                  <a:lnTo>
                    <a:pt x="137" y="167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6" y="165"/>
                  </a:lnTo>
                  <a:lnTo>
                    <a:pt x="135" y="164"/>
                  </a:lnTo>
                  <a:lnTo>
                    <a:pt x="134" y="164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3" y="161"/>
                  </a:lnTo>
                  <a:lnTo>
                    <a:pt x="133" y="161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8"/>
                  </a:lnTo>
                  <a:lnTo>
                    <a:pt x="131" y="158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6"/>
                  </a:lnTo>
                  <a:lnTo>
                    <a:pt x="129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7" y="156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8" y="155"/>
                  </a:lnTo>
                  <a:lnTo>
                    <a:pt x="129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9" y="154"/>
                  </a:lnTo>
                  <a:lnTo>
                    <a:pt x="129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2"/>
                  </a:lnTo>
                  <a:lnTo>
                    <a:pt x="131" y="152"/>
                  </a:lnTo>
                  <a:lnTo>
                    <a:pt x="131" y="152"/>
                  </a:lnTo>
                  <a:lnTo>
                    <a:pt x="131" y="151"/>
                  </a:lnTo>
                  <a:lnTo>
                    <a:pt x="131" y="151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1" y="149"/>
                  </a:lnTo>
                  <a:lnTo>
                    <a:pt x="132" y="149"/>
                  </a:lnTo>
                  <a:lnTo>
                    <a:pt x="132" y="149"/>
                  </a:lnTo>
                  <a:lnTo>
                    <a:pt x="133" y="149"/>
                  </a:lnTo>
                  <a:lnTo>
                    <a:pt x="134" y="148"/>
                  </a:lnTo>
                  <a:lnTo>
                    <a:pt x="135" y="148"/>
                  </a:lnTo>
                  <a:lnTo>
                    <a:pt x="136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8" y="147"/>
                  </a:lnTo>
                  <a:lnTo>
                    <a:pt x="138" y="148"/>
                  </a:lnTo>
                  <a:lnTo>
                    <a:pt x="137" y="148"/>
                  </a:lnTo>
                  <a:lnTo>
                    <a:pt x="138" y="148"/>
                  </a:lnTo>
                  <a:lnTo>
                    <a:pt x="138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40" y="146"/>
                  </a:lnTo>
                  <a:lnTo>
                    <a:pt x="140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2" y="145"/>
                  </a:lnTo>
                  <a:lnTo>
                    <a:pt x="143" y="145"/>
                  </a:lnTo>
                  <a:lnTo>
                    <a:pt x="143" y="144"/>
                  </a:lnTo>
                  <a:lnTo>
                    <a:pt x="143" y="144"/>
                  </a:lnTo>
                  <a:lnTo>
                    <a:pt x="144" y="144"/>
                  </a:lnTo>
                  <a:lnTo>
                    <a:pt x="144" y="143"/>
                  </a:lnTo>
                  <a:lnTo>
                    <a:pt x="144" y="142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3" y="139"/>
                  </a:lnTo>
                  <a:lnTo>
                    <a:pt x="143" y="138"/>
                  </a:lnTo>
                  <a:lnTo>
                    <a:pt x="143" y="138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3" y="136"/>
                  </a:lnTo>
                  <a:lnTo>
                    <a:pt x="142" y="135"/>
                  </a:lnTo>
                  <a:lnTo>
                    <a:pt x="141" y="135"/>
                  </a:lnTo>
                  <a:lnTo>
                    <a:pt x="141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5" y="134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6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6"/>
                  </a:lnTo>
                  <a:lnTo>
                    <a:pt x="147" y="136"/>
                  </a:lnTo>
                  <a:lnTo>
                    <a:pt x="146" y="136"/>
                  </a:lnTo>
                  <a:lnTo>
                    <a:pt x="145" y="136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7" y="137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47" y="139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8" y="140"/>
                  </a:lnTo>
                  <a:lnTo>
                    <a:pt x="148" y="141"/>
                  </a:lnTo>
                  <a:lnTo>
                    <a:pt x="148" y="141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9" y="142"/>
                  </a:lnTo>
                  <a:lnTo>
                    <a:pt x="149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4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7" y="146"/>
                  </a:lnTo>
                  <a:lnTo>
                    <a:pt x="147" y="147"/>
                  </a:lnTo>
                  <a:lnTo>
                    <a:pt x="146" y="147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7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9"/>
                  </a:lnTo>
                  <a:lnTo>
                    <a:pt x="145" y="149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6" y="151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4"/>
                  </a:lnTo>
                  <a:lnTo>
                    <a:pt x="147" y="155"/>
                  </a:lnTo>
                  <a:lnTo>
                    <a:pt x="147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6"/>
                  </a:lnTo>
                  <a:lnTo>
                    <a:pt x="145" y="156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8"/>
                  </a:lnTo>
                  <a:lnTo>
                    <a:pt x="148" y="157"/>
                  </a:lnTo>
                  <a:lnTo>
                    <a:pt x="148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7" y="160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48" y="158"/>
                  </a:lnTo>
                  <a:lnTo>
                    <a:pt x="148" y="157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49" y="162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1" y="158"/>
                  </a:lnTo>
                  <a:lnTo>
                    <a:pt x="151" y="158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1" y="160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60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3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6" y="159"/>
                  </a:lnTo>
                  <a:lnTo>
                    <a:pt x="156" y="159"/>
                  </a:lnTo>
                  <a:lnTo>
                    <a:pt x="157" y="159"/>
                  </a:lnTo>
                  <a:lnTo>
                    <a:pt x="158" y="159"/>
                  </a:lnTo>
                  <a:lnTo>
                    <a:pt x="158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8" y="159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7" y="160"/>
                  </a:lnTo>
                  <a:lnTo>
                    <a:pt x="158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7" y="161"/>
                  </a:lnTo>
                  <a:lnTo>
                    <a:pt x="158" y="161"/>
                  </a:lnTo>
                  <a:lnTo>
                    <a:pt x="157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1"/>
                  </a:lnTo>
                  <a:lnTo>
                    <a:pt x="159" y="161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8" y="162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2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7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7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9" y="161"/>
                  </a:lnTo>
                  <a:lnTo>
                    <a:pt x="158" y="161"/>
                  </a:lnTo>
                  <a:lnTo>
                    <a:pt x="158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1" y="159"/>
                  </a:lnTo>
                  <a:lnTo>
                    <a:pt x="162" y="159"/>
                  </a:lnTo>
                  <a:lnTo>
                    <a:pt x="162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4" y="159"/>
                  </a:lnTo>
                  <a:lnTo>
                    <a:pt x="165" y="159"/>
                  </a:lnTo>
                  <a:lnTo>
                    <a:pt x="165" y="159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1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5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5" y="162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3" y="162"/>
                  </a:lnTo>
                  <a:lnTo>
                    <a:pt x="172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0" y="163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0" y="161"/>
                  </a:lnTo>
                  <a:lnTo>
                    <a:pt x="170" y="160"/>
                  </a:lnTo>
                  <a:lnTo>
                    <a:pt x="169" y="160"/>
                  </a:lnTo>
                  <a:lnTo>
                    <a:pt x="169" y="160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0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8"/>
                  </a:lnTo>
                  <a:lnTo>
                    <a:pt x="166" y="158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7" y="157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4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2" y="157"/>
                  </a:lnTo>
                  <a:lnTo>
                    <a:pt x="161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5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4" y="153"/>
                  </a:lnTo>
                  <a:lnTo>
                    <a:pt x="153" y="153"/>
                  </a:lnTo>
                  <a:lnTo>
                    <a:pt x="153" y="152"/>
                  </a:lnTo>
                  <a:lnTo>
                    <a:pt x="154" y="152"/>
                  </a:lnTo>
                  <a:lnTo>
                    <a:pt x="154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8"/>
                  </a:lnTo>
                  <a:lnTo>
                    <a:pt x="151" y="148"/>
                  </a:lnTo>
                  <a:lnTo>
                    <a:pt x="152" y="148"/>
                  </a:lnTo>
                  <a:lnTo>
                    <a:pt x="153" y="148"/>
                  </a:lnTo>
                  <a:lnTo>
                    <a:pt x="152" y="148"/>
                  </a:lnTo>
                  <a:lnTo>
                    <a:pt x="153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6" y="146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6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69" y="150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8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8" y="145"/>
                  </a:lnTo>
                  <a:lnTo>
                    <a:pt x="167" y="145"/>
                  </a:lnTo>
                  <a:lnTo>
                    <a:pt x="167" y="145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4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2" y="145"/>
                  </a:lnTo>
                  <a:lnTo>
                    <a:pt x="162" y="145"/>
                  </a:lnTo>
                  <a:lnTo>
                    <a:pt x="163" y="145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3"/>
                  </a:lnTo>
                  <a:lnTo>
                    <a:pt x="166" y="143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1"/>
                  </a:lnTo>
                  <a:lnTo>
                    <a:pt x="169" y="141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1"/>
                  </a:lnTo>
                  <a:lnTo>
                    <a:pt x="170" y="141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2" y="142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3" y="145"/>
                  </a:lnTo>
                  <a:lnTo>
                    <a:pt x="174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4" y="141"/>
                  </a:lnTo>
                  <a:lnTo>
                    <a:pt x="175" y="141"/>
                  </a:lnTo>
                  <a:lnTo>
                    <a:pt x="176" y="141"/>
                  </a:lnTo>
                  <a:lnTo>
                    <a:pt x="177" y="141"/>
                  </a:lnTo>
                  <a:lnTo>
                    <a:pt x="177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9" y="141"/>
                  </a:lnTo>
                  <a:lnTo>
                    <a:pt x="180" y="141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3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90" y="145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1" y="147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2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50"/>
                  </a:lnTo>
                  <a:lnTo>
                    <a:pt x="194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7" y="151"/>
                  </a:lnTo>
                  <a:lnTo>
                    <a:pt x="197" y="151"/>
                  </a:lnTo>
                  <a:lnTo>
                    <a:pt x="199" y="151"/>
                  </a:lnTo>
                  <a:lnTo>
                    <a:pt x="199" y="151"/>
                  </a:lnTo>
                  <a:lnTo>
                    <a:pt x="200" y="151"/>
                  </a:lnTo>
                  <a:lnTo>
                    <a:pt x="201" y="151"/>
                  </a:lnTo>
                  <a:lnTo>
                    <a:pt x="202" y="151"/>
                  </a:lnTo>
                  <a:lnTo>
                    <a:pt x="203" y="151"/>
                  </a:lnTo>
                  <a:lnTo>
                    <a:pt x="203" y="151"/>
                  </a:lnTo>
                  <a:lnTo>
                    <a:pt x="204" y="151"/>
                  </a:lnTo>
                  <a:lnTo>
                    <a:pt x="204" y="151"/>
                  </a:lnTo>
                  <a:lnTo>
                    <a:pt x="205" y="150"/>
                  </a:lnTo>
                  <a:lnTo>
                    <a:pt x="206" y="150"/>
                  </a:lnTo>
                  <a:lnTo>
                    <a:pt x="206" y="150"/>
                  </a:lnTo>
                  <a:lnTo>
                    <a:pt x="207" y="150"/>
                  </a:lnTo>
                  <a:lnTo>
                    <a:pt x="207" y="150"/>
                  </a:lnTo>
                  <a:lnTo>
                    <a:pt x="207" y="151"/>
                  </a:lnTo>
                  <a:lnTo>
                    <a:pt x="208" y="151"/>
                  </a:lnTo>
                  <a:lnTo>
                    <a:pt x="208" y="151"/>
                  </a:lnTo>
                  <a:lnTo>
                    <a:pt x="209" y="151"/>
                  </a:lnTo>
                  <a:lnTo>
                    <a:pt x="210" y="151"/>
                  </a:lnTo>
                  <a:lnTo>
                    <a:pt x="210" y="151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09" y="152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7" y="154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6"/>
                  </a:lnTo>
                  <a:lnTo>
                    <a:pt x="207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5" y="156"/>
                  </a:lnTo>
                  <a:lnTo>
                    <a:pt x="204" y="156"/>
                  </a:lnTo>
                  <a:lnTo>
                    <a:pt x="204" y="156"/>
                  </a:lnTo>
                  <a:lnTo>
                    <a:pt x="204" y="157"/>
                  </a:lnTo>
                  <a:lnTo>
                    <a:pt x="203" y="157"/>
                  </a:lnTo>
                  <a:lnTo>
                    <a:pt x="203" y="157"/>
                  </a:lnTo>
                  <a:lnTo>
                    <a:pt x="202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1"/>
                  </a:lnTo>
                  <a:lnTo>
                    <a:pt x="201" y="161"/>
                  </a:lnTo>
                  <a:lnTo>
                    <a:pt x="201" y="162"/>
                  </a:lnTo>
                  <a:lnTo>
                    <a:pt x="201" y="162"/>
                  </a:lnTo>
                  <a:lnTo>
                    <a:pt x="202" y="162"/>
                  </a:lnTo>
                  <a:lnTo>
                    <a:pt x="202" y="163"/>
                  </a:lnTo>
                  <a:lnTo>
                    <a:pt x="202" y="163"/>
                  </a:lnTo>
                  <a:lnTo>
                    <a:pt x="202" y="164"/>
                  </a:lnTo>
                  <a:lnTo>
                    <a:pt x="202" y="164"/>
                  </a:lnTo>
                  <a:lnTo>
                    <a:pt x="203" y="164"/>
                  </a:lnTo>
                  <a:lnTo>
                    <a:pt x="203" y="165"/>
                  </a:lnTo>
                  <a:lnTo>
                    <a:pt x="203" y="166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1" y="166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0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7" y="169"/>
                  </a:lnTo>
                  <a:lnTo>
                    <a:pt x="198" y="169"/>
                  </a:lnTo>
                  <a:lnTo>
                    <a:pt x="198" y="170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9" y="169"/>
                  </a:lnTo>
                  <a:lnTo>
                    <a:pt x="199" y="169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199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7" y="171"/>
                  </a:lnTo>
                  <a:lnTo>
                    <a:pt x="197" y="171"/>
                  </a:lnTo>
                  <a:lnTo>
                    <a:pt x="197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4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0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0"/>
                  </a:lnTo>
                  <a:lnTo>
                    <a:pt x="190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8" y="169"/>
                  </a:lnTo>
                  <a:lnTo>
                    <a:pt x="187" y="169"/>
                  </a:lnTo>
                  <a:lnTo>
                    <a:pt x="188" y="169"/>
                  </a:lnTo>
                  <a:lnTo>
                    <a:pt x="188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0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4" y="171"/>
                  </a:lnTo>
                  <a:lnTo>
                    <a:pt x="194" y="172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1" y="174"/>
                  </a:lnTo>
                  <a:lnTo>
                    <a:pt x="201" y="174"/>
                  </a:lnTo>
                  <a:lnTo>
                    <a:pt x="201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7"/>
                  </a:lnTo>
                  <a:lnTo>
                    <a:pt x="197" y="176"/>
                  </a:lnTo>
                  <a:lnTo>
                    <a:pt x="198" y="176"/>
                  </a:lnTo>
                  <a:lnTo>
                    <a:pt x="198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201" y="175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5" y="177"/>
                  </a:lnTo>
                  <a:lnTo>
                    <a:pt x="205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9" y="178"/>
                  </a:lnTo>
                  <a:lnTo>
                    <a:pt x="210" y="178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80"/>
                  </a:lnTo>
                  <a:lnTo>
                    <a:pt x="212" y="180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3" y="181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5" y="183"/>
                  </a:lnTo>
                  <a:lnTo>
                    <a:pt x="216" y="183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5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7" y="184"/>
                  </a:lnTo>
                  <a:lnTo>
                    <a:pt x="217" y="184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2"/>
                  </a:lnTo>
                  <a:lnTo>
                    <a:pt x="218" y="183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9" y="184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7" y="186"/>
                  </a:lnTo>
                  <a:lnTo>
                    <a:pt x="217" y="187"/>
                  </a:lnTo>
                  <a:lnTo>
                    <a:pt x="217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4" y="188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1"/>
                  </a:lnTo>
                  <a:lnTo>
                    <a:pt x="214" y="191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4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4" y="195"/>
                  </a:lnTo>
                  <a:lnTo>
                    <a:pt x="215" y="195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3" y="197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2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8"/>
                  </a:lnTo>
                  <a:lnTo>
                    <a:pt x="208" y="198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10" y="202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1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0"/>
                  </a:lnTo>
                  <a:lnTo>
                    <a:pt x="209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198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8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3" y="198"/>
                  </a:lnTo>
                  <a:lnTo>
                    <a:pt x="213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5" y="196"/>
                  </a:lnTo>
                  <a:lnTo>
                    <a:pt x="215" y="195"/>
                  </a:lnTo>
                  <a:lnTo>
                    <a:pt x="214" y="195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5" y="194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1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7" y="188"/>
                  </a:lnTo>
                  <a:lnTo>
                    <a:pt x="217" y="187"/>
                  </a:lnTo>
                  <a:lnTo>
                    <a:pt x="217" y="187"/>
                  </a:lnTo>
                  <a:lnTo>
                    <a:pt x="217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3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19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2" y="184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2" y="186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0" y="183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0" y="182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2" y="180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4" y="179"/>
                  </a:lnTo>
                  <a:lnTo>
                    <a:pt x="226" y="179"/>
                  </a:lnTo>
                  <a:lnTo>
                    <a:pt x="226" y="180"/>
                  </a:lnTo>
                  <a:lnTo>
                    <a:pt x="226" y="180"/>
                  </a:lnTo>
                  <a:lnTo>
                    <a:pt x="226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30" y="183"/>
                  </a:lnTo>
                  <a:lnTo>
                    <a:pt x="230" y="183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1" y="185"/>
                  </a:lnTo>
                  <a:lnTo>
                    <a:pt x="231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29" y="186"/>
                  </a:lnTo>
                  <a:lnTo>
                    <a:pt x="229" y="187"/>
                  </a:lnTo>
                  <a:lnTo>
                    <a:pt x="229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2" y="188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1" y="190"/>
                  </a:lnTo>
                  <a:lnTo>
                    <a:pt x="231" y="191"/>
                  </a:lnTo>
                  <a:lnTo>
                    <a:pt x="230" y="191"/>
                  </a:lnTo>
                  <a:lnTo>
                    <a:pt x="230" y="192"/>
                  </a:lnTo>
                  <a:lnTo>
                    <a:pt x="230" y="192"/>
                  </a:lnTo>
                  <a:lnTo>
                    <a:pt x="230" y="193"/>
                  </a:lnTo>
                  <a:lnTo>
                    <a:pt x="230" y="193"/>
                  </a:lnTo>
                  <a:lnTo>
                    <a:pt x="231" y="193"/>
                  </a:lnTo>
                  <a:lnTo>
                    <a:pt x="231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3" y="194"/>
                  </a:lnTo>
                  <a:lnTo>
                    <a:pt x="233" y="195"/>
                  </a:lnTo>
                  <a:lnTo>
                    <a:pt x="233" y="195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7"/>
                  </a:lnTo>
                  <a:lnTo>
                    <a:pt x="234" y="197"/>
                  </a:lnTo>
                  <a:lnTo>
                    <a:pt x="234" y="198"/>
                  </a:lnTo>
                  <a:lnTo>
                    <a:pt x="233" y="199"/>
                  </a:lnTo>
                  <a:lnTo>
                    <a:pt x="234" y="199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6" y="200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5" y="203"/>
                  </a:lnTo>
                  <a:lnTo>
                    <a:pt x="235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8" y="203"/>
                  </a:lnTo>
                  <a:lnTo>
                    <a:pt x="238" y="204"/>
                  </a:lnTo>
                  <a:lnTo>
                    <a:pt x="238" y="204"/>
                  </a:lnTo>
                  <a:lnTo>
                    <a:pt x="238" y="203"/>
                  </a:lnTo>
                  <a:lnTo>
                    <a:pt x="239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40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2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5" y="204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6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2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39" y="203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2"/>
                  </a:lnTo>
                  <a:lnTo>
                    <a:pt x="237" y="202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6" y="201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5" y="200"/>
                  </a:lnTo>
                  <a:lnTo>
                    <a:pt x="234" y="199"/>
                  </a:lnTo>
                  <a:lnTo>
                    <a:pt x="234" y="199"/>
                  </a:lnTo>
                  <a:lnTo>
                    <a:pt x="234" y="198"/>
                  </a:lnTo>
                  <a:lnTo>
                    <a:pt x="235" y="198"/>
                  </a:lnTo>
                  <a:lnTo>
                    <a:pt x="235" y="197"/>
                  </a:lnTo>
                  <a:lnTo>
                    <a:pt x="234" y="197"/>
                  </a:lnTo>
                  <a:lnTo>
                    <a:pt x="235" y="197"/>
                  </a:lnTo>
                  <a:lnTo>
                    <a:pt x="235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3" y="194"/>
                  </a:lnTo>
                  <a:lnTo>
                    <a:pt x="233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2" y="193"/>
                  </a:lnTo>
                  <a:lnTo>
                    <a:pt x="231" y="193"/>
                  </a:lnTo>
                  <a:lnTo>
                    <a:pt x="231" y="193"/>
                  </a:lnTo>
                  <a:lnTo>
                    <a:pt x="231" y="192"/>
                  </a:lnTo>
                  <a:lnTo>
                    <a:pt x="232" y="192"/>
                  </a:lnTo>
                  <a:lnTo>
                    <a:pt x="232" y="191"/>
                  </a:lnTo>
                  <a:lnTo>
                    <a:pt x="232" y="191"/>
                  </a:lnTo>
                  <a:lnTo>
                    <a:pt x="232" y="190"/>
                  </a:lnTo>
                  <a:lnTo>
                    <a:pt x="233" y="190"/>
                  </a:lnTo>
                  <a:lnTo>
                    <a:pt x="233" y="189"/>
                  </a:lnTo>
                  <a:lnTo>
                    <a:pt x="233" y="189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31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1" y="187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7" y="186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8" y="187"/>
                  </a:lnTo>
                  <a:lnTo>
                    <a:pt x="238" y="188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5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3"/>
                  </a:lnTo>
                  <a:lnTo>
                    <a:pt x="231" y="183"/>
                  </a:lnTo>
                  <a:lnTo>
                    <a:pt x="230" y="183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6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4" y="179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2" y="179"/>
                  </a:lnTo>
                  <a:lnTo>
                    <a:pt x="222" y="179"/>
                  </a:lnTo>
                  <a:lnTo>
                    <a:pt x="221" y="179"/>
                  </a:lnTo>
                  <a:lnTo>
                    <a:pt x="221" y="180"/>
                  </a:lnTo>
                  <a:lnTo>
                    <a:pt x="221" y="180"/>
                  </a:lnTo>
                  <a:lnTo>
                    <a:pt x="220" y="181"/>
                  </a:lnTo>
                  <a:lnTo>
                    <a:pt x="219" y="181"/>
                  </a:lnTo>
                  <a:lnTo>
                    <a:pt x="219" y="182"/>
                  </a:lnTo>
                  <a:lnTo>
                    <a:pt x="219" y="181"/>
                  </a:lnTo>
                  <a:lnTo>
                    <a:pt x="219" y="181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8" y="180"/>
                  </a:lnTo>
                  <a:lnTo>
                    <a:pt x="217" y="180"/>
                  </a:lnTo>
                  <a:lnTo>
                    <a:pt x="217" y="180"/>
                  </a:lnTo>
                  <a:lnTo>
                    <a:pt x="216" y="180"/>
                  </a:lnTo>
                  <a:lnTo>
                    <a:pt x="215" y="180"/>
                  </a:lnTo>
                  <a:lnTo>
                    <a:pt x="215" y="179"/>
                  </a:lnTo>
                  <a:lnTo>
                    <a:pt x="216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3" y="178"/>
                  </a:lnTo>
                  <a:lnTo>
                    <a:pt x="213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7"/>
                  </a:lnTo>
                  <a:lnTo>
                    <a:pt x="212" y="177"/>
                  </a:lnTo>
                  <a:lnTo>
                    <a:pt x="212" y="177"/>
                  </a:lnTo>
                  <a:lnTo>
                    <a:pt x="212" y="176"/>
                  </a:lnTo>
                  <a:lnTo>
                    <a:pt x="211" y="176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0" y="175"/>
                  </a:lnTo>
                  <a:lnTo>
                    <a:pt x="210" y="175"/>
                  </a:lnTo>
                  <a:lnTo>
                    <a:pt x="209" y="175"/>
                  </a:lnTo>
                  <a:lnTo>
                    <a:pt x="208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7" y="172"/>
                  </a:lnTo>
                  <a:lnTo>
                    <a:pt x="207" y="171"/>
                  </a:lnTo>
                  <a:lnTo>
                    <a:pt x="208" y="171"/>
                  </a:lnTo>
                  <a:lnTo>
                    <a:pt x="208" y="171"/>
                  </a:lnTo>
                  <a:lnTo>
                    <a:pt x="209" y="172"/>
                  </a:lnTo>
                  <a:lnTo>
                    <a:pt x="210" y="172"/>
                  </a:lnTo>
                  <a:lnTo>
                    <a:pt x="210" y="172"/>
                  </a:lnTo>
                  <a:lnTo>
                    <a:pt x="210" y="171"/>
                  </a:lnTo>
                  <a:lnTo>
                    <a:pt x="211" y="171"/>
                  </a:lnTo>
                  <a:lnTo>
                    <a:pt x="211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3" y="171"/>
                  </a:lnTo>
                  <a:lnTo>
                    <a:pt x="214" y="171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4" y="171"/>
                  </a:lnTo>
                  <a:lnTo>
                    <a:pt x="213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0"/>
                  </a:lnTo>
                  <a:lnTo>
                    <a:pt x="213" y="170"/>
                  </a:lnTo>
                  <a:lnTo>
                    <a:pt x="214" y="170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8"/>
                  </a:lnTo>
                  <a:lnTo>
                    <a:pt x="213" y="168"/>
                  </a:lnTo>
                  <a:lnTo>
                    <a:pt x="213" y="167"/>
                  </a:lnTo>
                  <a:lnTo>
                    <a:pt x="213" y="167"/>
                  </a:lnTo>
                  <a:lnTo>
                    <a:pt x="212" y="167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5"/>
                  </a:lnTo>
                  <a:lnTo>
                    <a:pt x="212" y="165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12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0" y="161"/>
                  </a:lnTo>
                  <a:lnTo>
                    <a:pt x="210" y="161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10" y="160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8"/>
                  </a:lnTo>
                  <a:lnTo>
                    <a:pt x="208" y="158"/>
                  </a:lnTo>
                  <a:lnTo>
                    <a:pt x="209" y="158"/>
                  </a:lnTo>
                  <a:lnTo>
                    <a:pt x="209" y="157"/>
                  </a:lnTo>
                  <a:lnTo>
                    <a:pt x="210" y="157"/>
                  </a:lnTo>
                  <a:lnTo>
                    <a:pt x="210" y="157"/>
                  </a:lnTo>
                  <a:lnTo>
                    <a:pt x="210" y="156"/>
                  </a:lnTo>
                  <a:lnTo>
                    <a:pt x="211" y="156"/>
                  </a:lnTo>
                  <a:lnTo>
                    <a:pt x="211" y="156"/>
                  </a:lnTo>
                  <a:lnTo>
                    <a:pt x="211" y="155"/>
                  </a:lnTo>
                  <a:lnTo>
                    <a:pt x="211" y="155"/>
                  </a:lnTo>
                  <a:lnTo>
                    <a:pt x="212" y="154"/>
                  </a:lnTo>
                  <a:lnTo>
                    <a:pt x="212" y="154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3" y="153"/>
                  </a:lnTo>
                  <a:lnTo>
                    <a:pt x="213" y="152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49"/>
                  </a:lnTo>
                  <a:lnTo>
                    <a:pt x="210" y="149"/>
                  </a:lnTo>
                  <a:lnTo>
                    <a:pt x="210" y="149"/>
                  </a:lnTo>
                  <a:lnTo>
                    <a:pt x="209" y="149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7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7"/>
                  </a:lnTo>
                  <a:lnTo>
                    <a:pt x="204" y="146"/>
                  </a:lnTo>
                  <a:lnTo>
                    <a:pt x="203" y="146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4" y="145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4"/>
                  </a:lnTo>
                  <a:lnTo>
                    <a:pt x="202" y="144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1" y="142"/>
                  </a:lnTo>
                  <a:lnTo>
                    <a:pt x="200" y="142"/>
                  </a:lnTo>
                  <a:lnTo>
                    <a:pt x="201" y="142"/>
                  </a:lnTo>
                  <a:lnTo>
                    <a:pt x="201" y="143"/>
                  </a:lnTo>
                  <a:lnTo>
                    <a:pt x="200" y="142"/>
                  </a:lnTo>
                  <a:lnTo>
                    <a:pt x="200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1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7" y="142"/>
                  </a:lnTo>
                  <a:lnTo>
                    <a:pt x="197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5" y="142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4" y="141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1" y="141"/>
                  </a:lnTo>
                  <a:lnTo>
                    <a:pt x="191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89" y="140"/>
                  </a:lnTo>
                  <a:lnTo>
                    <a:pt x="189" y="139"/>
                  </a:lnTo>
                  <a:lnTo>
                    <a:pt x="190" y="139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89" y="138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6"/>
                  </a:lnTo>
                  <a:lnTo>
                    <a:pt x="189" y="135"/>
                  </a:lnTo>
                  <a:lnTo>
                    <a:pt x="190" y="135"/>
                  </a:lnTo>
                  <a:lnTo>
                    <a:pt x="191" y="135"/>
                  </a:lnTo>
                  <a:lnTo>
                    <a:pt x="190" y="135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1" y="134"/>
                  </a:lnTo>
                  <a:lnTo>
                    <a:pt x="191" y="133"/>
                  </a:lnTo>
                  <a:lnTo>
                    <a:pt x="190" y="133"/>
                  </a:lnTo>
                  <a:lnTo>
                    <a:pt x="191" y="133"/>
                  </a:lnTo>
                  <a:lnTo>
                    <a:pt x="191" y="133"/>
                  </a:lnTo>
                  <a:lnTo>
                    <a:pt x="190" y="132"/>
                  </a:lnTo>
                  <a:lnTo>
                    <a:pt x="190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8" y="131"/>
                  </a:lnTo>
                  <a:lnTo>
                    <a:pt x="188" y="131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7" y="130"/>
                  </a:lnTo>
                  <a:lnTo>
                    <a:pt x="186" y="130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2" y="129"/>
                  </a:lnTo>
                  <a:lnTo>
                    <a:pt x="191" y="130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8" y="129"/>
                  </a:lnTo>
                  <a:lnTo>
                    <a:pt x="188" y="128"/>
                  </a:lnTo>
                  <a:lnTo>
                    <a:pt x="189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8" y="127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7" y="127"/>
                  </a:lnTo>
                  <a:lnTo>
                    <a:pt x="188" y="126"/>
                  </a:lnTo>
                  <a:lnTo>
                    <a:pt x="187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9" y="126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6"/>
                  </a:lnTo>
                  <a:lnTo>
                    <a:pt x="188" y="126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9" y="124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8" y="123"/>
                  </a:lnTo>
                  <a:lnTo>
                    <a:pt x="188" y="123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90" y="123"/>
                  </a:lnTo>
                  <a:lnTo>
                    <a:pt x="190" y="124"/>
                  </a:lnTo>
                  <a:lnTo>
                    <a:pt x="190" y="123"/>
                  </a:lnTo>
                  <a:lnTo>
                    <a:pt x="191" y="124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4" y="123"/>
                  </a:lnTo>
                  <a:lnTo>
                    <a:pt x="195" y="123"/>
                  </a:lnTo>
                  <a:lnTo>
                    <a:pt x="195" y="123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2"/>
                  </a:lnTo>
                  <a:lnTo>
                    <a:pt x="200" y="122"/>
                  </a:lnTo>
                  <a:lnTo>
                    <a:pt x="202" y="122"/>
                  </a:lnTo>
                  <a:lnTo>
                    <a:pt x="202" y="122"/>
                  </a:lnTo>
                  <a:lnTo>
                    <a:pt x="203" y="122"/>
                  </a:lnTo>
                  <a:lnTo>
                    <a:pt x="203" y="123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2" y="124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2"/>
                  </a:lnTo>
                  <a:lnTo>
                    <a:pt x="203" y="122"/>
                  </a:lnTo>
                  <a:lnTo>
                    <a:pt x="204" y="122"/>
                  </a:lnTo>
                  <a:lnTo>
                    <a:pt x="205" y="122"/>
                  </a:lnTo>
                  <a:lnTo>
                    <a:pt x="206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8" y="122"/>
                  </a:lnTo>
                  <a:lnTo>
                    <a:pt x="208" y="122"/>
                  </a:lnTo>
                  <a:lnTo>
                    <a:pt x="209" y="122"/>
                  </a:lnTo>
                  <a:lnTo>
                    <a:pt x="210" y="122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12" y="122"/>
                  </a:lnTo>
                  <a:lnTo>
                    <a:pt x="212" y="122"/>
                  </a:lnTo>
                  <a:lnTo>
                    <a:pt x="213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6" y="122"/>
                  </a:lnTo>
                  <a:lnTo>
                    <a:pt x="217" y="121"/>
                  </a:lnTo>
                  <a:lnTo>
                    <a:pt x="217" y="122"/>
                  </a:lnTo>
                  <a:lnTo>
                    <a:pt x="217" y="121"/>
                  </a:lnTo>
                  <a:lnTo>
                    <a:pt x="217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9" y="121"/>
                  </a:lnTo>
                  <a:lnTo>
                    <a:pt x="219" y="121"/>
                  </a:lnTo>
                  <a:lnTo>
                    <a:pt x="220" y="121"/>
                  </a:lnTo>
                  <a:lnTo>
                    <a:pt x="221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1"/>
                  </a:lnTo>
                  <a:lnTo>
                    <a:pt x="221" y="121"/>
                  </a:lnTo>
                  <a:lnTo>
                    <a:pt x="222" y="121"/>
                  </a:lnTo>
                  <a:lnTo>
                    <a:pt x="222" y="121"/>
                  </a:lnTo>
                  <a:lnTo>
                    <a:pt x="223" y="121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5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6" y="122"/>
                  </a:lnTo>
                  <a:lnTo>
                    <a:pt x="226" y="121"/>
                  </a:lnTo>
                  <a:lnTo>
                    <a:pt x="226" y="121"/>
                  </a:lnTo>
                  <a:lnTo>
                    <a:pt x="227" y="121"/>
                  </a:lnTo>
                  <a:lnTo>
                    <a:pt x="227" y="121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8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9" y="120"/>
                  </a:lnTo>
                  <a:lnTo>
                    <a:pt x="229" y="119"/>
                  </a:lnTo>
                  <a:lnTo>
                    <a:pt x="229" y="119"/>
                  </a:lnTo>
                  <a:lnTo>
                    <a:pt x="230" y="119"/>
                  </a:lnTo>
                  <a:lnTo>
                    <a:pt x="230" y="119"/>
                  </a:lnTo>
                  <a:lnTo>
                    <a:pt x="230" y="120"/>
                  </a:lnTo>
                  <a:lnTo>
                    <a:pt x="230" y="119"/>
                  </a:lnTo>
                  <a:lnTo>
                    <a:pt x="231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3" y="119"/>
                  </a:lnTo>
                  <a:lnTo>
                    <a:pt x="233" y="119"/>
                  </a:lnTo>
                  <a:lnTo>
                    <a:pt x="234" y="119"/>
                  </a:lnTo>
                  <a:lnTo>
                    <a:pt x="234" y="119"/>
                  </a:lnTo>
                  <a:lnTo>
                    <a:pt x="235" y="119"/>
                  </a:lnTo>
                  <a:lnTo>
                    <a:pt x="236" y="118"/>
                  </a:lnTo>
                  <a:lnTo>
                    <a:pt x="236" y="119"/>
                  </a:lnTo>
                  <a:lnTo>
                    <a:pt x="236" y="119"/>
                  </a:lnTo>
                  <a:lnTo>
                    <a:pt x="237" y="119"/>
                  </a:lnTo>
                  <a:lnTo>
                    <a:pt x="237" y="119"/>
                  </a:lnTo>
                  <a:lnTo>
                    <a:pt x="237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8" y="119"/>
                  </a:lnTo>
                  <a:lnTo>
                    <a:pt x="238" y="118"/>
                  </a:lnTo>
                  <a:lnTo>
                    <a:pt x="239" y="118"/>
                  </a:lnTo>
                  <a:lnTo>
                    <a:pt x="239" y="119"/>
                  </a:lnTo>
                  <a:lnTo>
                    <a:pt x="240" y="119"/>
                  </a:lnTo>
                  <a:lnTo>
                    <a:pt x="241" y="119"/>
                  </a:lnTo>
                  <a:lnTo>
                    <a:pt x="241" y="119"/>
                  </a:lnTo>
                  <a:lnTo>
                    <a:pt x="240" y="119"/>
                  </a:lnTo>
                  <a:lnTo>
                    <a:pt x="240" y="120"/>
                  </a:lnTo>
                  <a:lnTo>
                    <a:pt x="240" y="120"/>
                  </a:lnTo>
                  <a:lnTo>
                    <a:pt x="239" y="120"/>
                  </a:lnTo>
                  <a:lnTo>
                    <a:pt x="238" y="120"/>
                  </a:lnTo>
                  <a:lnTo>
                    <a:pt x="238" y="121"/>
                  </a:lnTo>
                  <a:lnTo>
                    <a:pt x="237" y="121"/>
                  </a:lnTo>
                  <a:lnTo>
                    <a:pt x="237" y="122"/>
                  </a:lnTo>
                  <a:lnTo>
                    <a:pt x="236" y="122"/>
                  </a:lnTo>
                  <a:lnTo>
                    <a:pt x="236" y="122"/>
                  </a:lnTo>
                  <a:lnTo>
                    <a:pt x="235" y="122"/>
                  </a:lnTo>
                  <a:lnTo>
                    <a:pt x="234" y="122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2" y="123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30" y="126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2" y="128"/>
                  </a:lnTo>
                  <a:lnTo>
                    <a:pt x="232" y="127"/>
                  </a:lnTo>
                  <a:lnTo>
                    <a:pt x="233" y="127"/>
                  </a:lnTo>
                  <a:lnTo>
                    <a:pt x="233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9"/>
                  </a:lnTo>
                  <a:lnTo>
                    <a:pt x="234" y="129"/>
                  </a:lnTo>
                  <a:lnTo>
                    <a:pt x="235" y="129"/>
                  </a:lnTo>
                  <a:lnTo>
                    <a:pt x="236" y="129"/>
                  </a:lnTo>
                  <a:lnTo>
                    <a:pt x="236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1"/>
                  </a:lnTo>
                  <a:lnTo>
                    <a:pt x="237" y="131"/>
                  </a:lnTo>
                  <a:lnTo>
                    <a:pt x="238" y="132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6" y="133"/>
                  </a:lnTo>
                  <a:lnTo>
                    <a:pt x="236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1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29" y="132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8" y="133"/>
                  </a:lnTo>
                  <a:lnTo>
                    <a:pt x="227" y="133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7"/>
                  </a:lnTo>
                  <a:lnTo>
                    <a:pt x="228" y="137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9" y="138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6" y="143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4" y="142"/>
                  </a:lnTo>
                  <a:lnTo>
                    <a:pt x="224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2" y="141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0" y="140"/>
                  </a:lnTo>
                  <a:lnTo>
                    <a:pt x="221" y="140"/>
                  </a:lnTo>
                  <a:lnTo>
                    <a:pt x="221" y="141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0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8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6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8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8" y="141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20" y="142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1" y="141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2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4" y="141"/>
                  </a:lnTo>
                  <a:lnTo>
                    <a:pt x="224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6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8" y="143"/>
                  </a:lnTo>
                  <a:lnTo>
                    <a:pt x="229" y="143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29" y="138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8" y="137"/>
                  </a:lnTo>
                  <a:lnTo>
                    <a:pt x="228" y="137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8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31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4" y="132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5" y="133"/>
                  </a:lnTo>
                  <a:lnTo>
                    <a:pt x="236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9" y="133"/>
                  </a:lnTo>
                  <a:lnTo>
                    <a:pt x="239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1" y="133"/>
                  </a:lnTo>
                  <a:lnTo>
                    <a:pt x="241" y="133"/>
                  </a:lnTo>
                  <a:lnTo>
                    <a:pt x="242" y="133"/>
                  </a:lnTo>
                  <a:lnTo>
                    <a:pt x="243" y="133"/>
                  </a:lnTo>
                  <a:lnTo>
                    <a:pt x="243" y="133"/>
                  </a:lnTo>
                  <a:lnTo>
                    <a:pt x="244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6" y="132"/>
                  </a:lnTo>
                  <a:lnTo>
                    <a:pt x="246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49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50" y="132"/>
                  </a:lnTo>
                  <a:lnTo>
                    <a:pt x="251" y="132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2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4" y="134"/>
                  </a:lnTo>
                  <a:lnTo>
                    <a:pt x="255" y="134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7" y="136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7" y="136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4"/>
                  </a:lnTo>
                  <a:lnTo>
                    <a:pt x="254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2" y="134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2"/>
                  </a:lnTo>
                  <a:lnTo>
                    <a:pt x="250" y="132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0" y="131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60" y="129"/>
                  </a:lnTo>
                  <a:lnTo>
                    <a:pt x="260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3" y="130"/>
                  </a:lnTo>
                  <a:lnTo>
                    <a:pt x="263" y="129"/>
                  </a:lnTo>
                  <a:lnTo>
                    <a:pt x="264" y="129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7" y="129"/>
                  </a:lnTo>
                  <a:lnTo>
                    <a:pt x="267" y="129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8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73" y="130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8"/>
                  </a:lnTo>
                  <a:lnTo>
                    <a:pt x="274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9"/>
                  </a:lnTo>
                  <a:lnTo>
                    <a:pt x="271" y="140"/>
                  </a:lnTo>
                  <a:lnTo>
                    <a:pt x="271" y="140"/>
                  </a:lnTo>
                  <a:lnTo>
                    <a:pt x="272" y="140"/>
                  </a:lnTo>
                  <a:lnTo>
                    <a:pt x="273" y="140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2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8" y="141"/>
                  </a:lnTo>
                  <a:lnTo>
                    <a:pt x="268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6"/>
                  </a:lnTo>
                  <a:lnTo>
                    <a:pt x="265" y="146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4" y="151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5" y="147"/>
                  </a:lnTo>
                  <a:lnTo>
                    <a:pt x="264" y="147"/>
                  </a:lnTo>
                  <a:lnTo>
                    <a:pt x="265" y="146"/>
                  </a:lnTo>
                  <a:lnTo>
                    <a:pt x="265" y="147"/>
                  </a:lnTo>
                  <a:lnTo>
                    <a:pt x="265" y="146"/>
                  </a:lnTo>
                  <a:lnTo>
                    <a:pt x="266" y="146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7" y="145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8" y="143"/>
                  </a:lnTo>
                  <a:lnTo>
                    <a:pt x="269" y="143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9" y="142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2" y="141"/>
                  </a:lnTo>
                  <a:lnTo>
                    <a:pt x="273" y="141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1" y="140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3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5" y="139"/>
                  </a:lnTo>
                  <a:lnTo>
                    <a:pt x="275" y="140"/>
                  </a:lnTo>
                  <a:lnTo>
                    <a:pt x="275" y="140"/>
                  </a:lnTo>
                  <a:lnTo>
                    <a:pt x="276" y="140"/>
                  </a:lnTo>
                  <a:lnTo>
                    <a:pt x="276" y="139"/>
                  </a:lnTo>
                  <a:lnTo>
                    <a:pt x="277" y="139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6" y="137"/>
                  </a:lnTo>
                  <a:lnTo>
                    <a:pt x="277" y="137"/>
                  </a:lnTo>
                  <a:lnTo>
                    <a:pt x="276" y="137"/>
                  </a:lnTo>
                  <a:lnTo>
                    <a:pt x="275" y="137"/>
                  </a:lnTo>
                  <a:lnTo>
                    <a:pt x="275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4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6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9" y="139"/>
                  </a:lnTo>
                  <a:lnTo>
                    <a:pt x="279" y="139"/>
                  </a:lnTo>
                  <a:lnTo>
                    <a:pt x="279" y="140"/>
                  </a:lnTo>
                  <a:lnTo>
                    <a:pt x="279" y="139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6" y="136"/>
                  </a:lnTo>
                  <a:lnTo>
                    <a:pt x="276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2" y="129"/>
                  </a:lnTo>
                  <a:lnTo>
                    <a:pt x="271" y="129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8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4" y="127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4"/>
                  </a:lnTo>
                  <a:lnTo>
                    <a:pt x="272" y="124"/>
                  </a:lnTo>
                  <a:lnTo>
                    <a:pt x="272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4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2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2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5" y="119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8" y="118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2" y="119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19"/>
                  </a:lnTo>
                  <a:lnTo>
                    <a:pt x="269" y="120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2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2" y="123"/>
                  </a:lnTo>
                  <a:lnTo>
                    <a:pt x="272" y="124"/>
                  </a:lnTo>
                  <a:lnTo>
                    <a:pt x="273" y="124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4" y="123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1" y="127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0" y="127"/>
                  </a:lnTo>
                  <a:lnTo>
                    <a:pt x="270" y="127"/>
                  </a:lnTo>
                  <a:lnTo>
                    <a:pt x="269" y="127"/>
                  </a:lnTo>
                  <a:lnTo>
                    <a:pt x="269" y="127"/>
                  </a:lnTo>
                  <a:lnTo>
                    <a:pt x="269" y="128"/>
                  </a:lnTo>
                  <a:lnTo>
                    <a:pt x="268" y="128"/>
                  </a:lnTo>
                  <a:lnTo>
                    <a:pt x="267" y="128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5" y="129"/>
                  </a:lnTo>
                  <a:lnTo>
                    <a:pt x="264" y="129"/>
                  </a:lnTo>
                  <a:lnTo>
                    <a:pt x="264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0" y="128"/>
                  </a:lnTo>
                  <a:lnTo>
                    <a:pt x="261" y="128"/>
                  </a:lnTo>
                  <a:lnTo>
                    <a:pt x="262" y="128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1" y="128"/>
                  </a:lnTo>
                  <a:lnTo>
                    <a:pt x="260" y="128"/>
                  </a:lnTo>
                  <a:lnTo>
                    <a:pt x="260" y="128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4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6" y="131"/>
                  </a:lnTo>
                  <a:lnTo>
                    <a:pt x="246" y="131"/>
                  </a:lnTo>
                  <a:lnTo>
                    <a:pt x="245" y="131"/>
                  </a:lnTo>
                  <a:lnTo>
                    <a:pt x="245" y="131"/>
                  </a:lnTo>
                  <a:lnTo>
                    <a:pt x="244" y="131"/>
                  </a:lnTo>
                  <a:lnTo>
                    <a:pt x="244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2"/>
                  </a:lnTo>
                  <a:lnTo>
                    <a:pt x="242" y="132"/>
                  </a:lnTo>
                  <a:lnTo>
                    <a:pt x="241" y="132"/>
                  </a:lnTo>
                  <a:lnTo>
                    <a:pt x="241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39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2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29"/>
                  </a:lnTo>
                  <a:lnTo>
                    <a:pt x="236" y="129"/>
                  </a:lnTo>
                  <a:lnTo>
                    <a:pt x="236" y="129"/>
                  </a:lnTo>
                  <a:lnTo>
                    <a:pt x="235" y="129"/>
                  </a:lnTo>
                  <a:lnTo>
                    <a:pt x="235" y="129"/>
                  </a:lnTo>
                  <a:lnTo>
                    <a:pt x="235" y="128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3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1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31" y="126"/>
                  </a:lnTo>
                  <a:lnTo>
                    <a:pt x="232" y="126"/>
                  </a:lnTo>
                  <a:lnTo>
                    <a:pt x="231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1" y="125"/>
                  </a:lnTo>
                  <a:lnTo>
                    <a:pt x="232" y="124"/>
                  </a:lnTo>
                  <a:lnTo>
                    <a:pt x="232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5" y="123"/>
                  </a:lnTo>
                  <a:lnTo>
                    <a:pt x="236" y="123"/>
                  </a:lnTo>
                  <a:lnTo>
                    <a:pt x="236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9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2"/>
                  </a:lnTo>
                  <a:lnTo>
                    <a:pt x="243" y="123"/>
                  </a:lnTo>
                  <a:lnTo>
                    <a:pt x="243" y="122"/>
                  </a:lnTo>
                  <a:lnTo>
                    <a:pt x="242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1"/>
                  </a:lnTo>
                  <a:lnTo>
                    <a:pt x="243" y="121"/>
                  </a:lnTo>
                  <a:lnTo>
                    <a:pt x="243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1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5" y="121"/>
                  </a:lnTo>
                  <a:lnTo>
                    <a:pt x="246" y="121"/>
                  </a:lnTo>
                  <a:lnTo>
                    <a:pt x="246" y="122"/>
                  </a:lnTo>
                  <a:lnTo>
                    <a:pt x="245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8" y="123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6" y="121"/>
                  </a:lnTo>
                  <a:lnTo>
                    <a:pt x="245" y="121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6" y="120"/>
                  </a:lnTo>
                  <a:lnTo>
                    <a:pt x="247" y="119"/>
                  </a:lnTo>
                  <a:lnTo>
                    <a:pt x="246" y="119"/>
                  </a:lnTo>
                  <a:lnTo>
                    <a:pt x="246" y="119"/>
                  </a:lnTo>
                  <a:lnTo>
                    <a:pt x="245" y="119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6" y="117"/>
                  </a:lnTo>
                  <a:lnTo>
                    <a:pt x="246" y="118"/>
                  </a:lnTo>
                  <a:lnTo>
                    <a:pt x="246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4" y="117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2" y="116"/>
                  </a:lnTo>
                  <a:lnTo>
                    <a:pt x="242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4"/>
                  </a:lnTo>
                  <a:lnTo>
                    <a:pt x="243" y="114"/>
                  </a:lnTo>
                  <a:lnTo>
                    <a:pt x="244" y="114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2" y="115"/>
                  </a:lnTo>
                  <a:lnTo>
                    <a:pt x="242" y="116"/>
                  </a:lnTo>
                  <a:lnTo>
                    <a:pt x="241" y="116"/>
                  </a:lnTo>
                  <a:lnTo>
                    <a:pt x="241" y="116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39" y="115"/>
                  </a:lnTo>
                  <a:lnTo>
                    <a:pt x="238" y="116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7" y="115"/>
                  </a:lnTo>
                  <a:lnTo>
                    <a:pt x="238" y="114"/>
                  </a:lnTo>
                  <a:lnTo>
                    <a:pt x="238" y="114"/>
                  </a:lnTo>
                  <a:lnTo>
                    <a:pt x="237" y="113"/>
                  </a:lnTo>
                  <a:lnTo>
                    <a:pt x="237" y="113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5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3" y="112"/>
                  </a:lnTo>
                  <a:lnTo>
                    <a:pt x="233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1" y="112"/>
                  </a:lnTo>
                  <a:lnTo>
                    <a:pt x="231" y="111"/>
                  </a:lnTo>
                  <a:lnTo>
                    <a:pt x="231" y="111"/>
                  </a:lnTo>
                  <a:lnTo>
                    <a:pt x="232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4" y="111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1"/>
                  </a:lnTo>
                  <a:lnTo>
                    <a:pt x="234" y="111"/>
                  </a:lnTo>
                  <a:lnTo>
                    <a:pt x="233" y="111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2" y="110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3" y="109"/>
                  </a:lnTo>
                  <a:lnTo>
                    <a:pt x="233" y="110"/>
                  </a:lnTo>
                  <a:lnTo>
                    <a:pt x="234" y="110"/>
                  </a:lnTo>
                  <a:lnTo>
                    <a:pt x="234" y="110"/>
                  </a:lnTo>
                  <a:lnTo>
                    <a:pt x="234" y="109"/>
                  </a:lnTo>
                  <a:lnTo>
                    <a:pt x="234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09"/>
                  </a:lnTo>
                  <a:lnTo>
                    <a:pt x="237" y="109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7" y="111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9" y="110"/>
                  </a:lnTo>
                  <a:lnTo>
                    <a:pt x="239" y="111"/>
                  </a:lnTo>
                  <a:lnTo>
                    <a:pt x="239" y="110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39" y="111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2"/>
                  </a:lnTo>
                  <a:lnTo>
                    <a:pt x="237" y="112"/>
                  </a:lnTo>
                  <a:lnTo>
                    <a:pt x="238" y="112"/>
                  </a:lnTo>
                  <a:lnTo>
                    <a:pt x="238" y="112"/>
                  </a:lnTo>
                  <a:lnTo>
                    <a:pt x="238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0" y="111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9" y="110"/>
                  </a:lnTo>
                  <a:lnTo>
                    <a:pt x="238" y="110"/>
                  </a:lnTo>
                  <a:lnTo>
                    <a:pt x="238" y="110"/>
                  </a:lnTo>
                  <a:lnTo>
                    <a:pt x="238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6" y="109"/>
                  </a:lnTo>
                  <a:lnTo>
                    <a:pt x="236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8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5" y="108"/>
                  </a:lnTo>
                  <a:lnTo>
                    <a:pt x="234" y="108"/>
                  </a:lnTo>
                  <a:lnTo>
                    <a:pt x="234" y="107"/>
                  </a:lnTo>
                  <a:lnTo>
                    <a:pt x="235" y="107"/>
                  </a:lnTo>
                  <a:lnTo>
                    <a:pt x="234" y="107"/>
                  </a:lnTo>
                  <a:lnTo>
                    <a:pt x="234" y="107"/>
                  </a:lnTo>
                  <a:lnTo>
                    <a:pt x="233" y="107"/>
                  </a:lnTo>
                  <a:lnTo>
                    <a:pt x="233" y="107"/>
                  </a:lnTo>
                  <a:lnTo>
                    <a:pt x="232" y="107"/>
                  </a:lnTo>
                  <a:lnTo>
                    <a:pt x="232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6"/>
                  </a:lnTo>
                  <a:lnTo>
                    <a:pt x="230" y="105"/>
                  </a:lnTo>
                  <a:lnTo>
                    <a:pt x="231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3" y="105"/>
                  </a:lnTo>
                  <a:lnTo>
                    <a:pt x="232" y="105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1" y="104"/>
                  </a:lnTo>
                  <a:lnTo>
                    <a:pt x="230" y="104"/>
                  </a:lnTo>
                  <a:lnTo>
                    <a:pt x="231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4" y="104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3" y="105"/>
                  </a:lnTo>
                  <a:lnTo>
                    <a:pt x="233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6"/>
                  </a:lnTo>
                  <a:lnTo>
                    <a:pt x="235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7" y="106"/>
                  </a:lnTo>
                  <a:lnTo>
                    <a:pt x="237" y="105"/>
                  </a:lnTo>
                  <a:lnTo>
                    <a:pt x="237" y="106"/>
                  </a:lnTo>
                  <a:lnTo>
                    <a:pt x="237" y="107"/>
                  </a:lnTo>
                  <a:lnTo>
                    <a:pt x="236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39" y="108"/>
                  </a:lnTo>
                  <a:lnTo>
                    <a:pt x="239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40" y="107"/>
                  </a:lnTo>
                  <a:lnTo>
                    <a:pt x="239" y="107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8" y="107"/>
                  </a:lnTo>
                  <a:lnTo>
                    <a:pt x="238" y="106"/>
                  </a:lnTo>
                  <a:lnTo>
                    <a:pt x="237" y="106"/>
                  </a:lnTo>
                  <a:lnTo>
                    <a:pt x="238" y="106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9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1" y="104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3" y="103"/>
                  </a:lnTo>
                  <a:lnTo>
                    <a:pt x="243" y="102"/>
                  </a:lnTo>
                  <a:lnTo>
                    <a:pt x="242" y="102"/>
                  </a:lnTo>
                  <a:lnTo>
                    <a:pt x="241" y="102"/>
                  </a:lnTo>
                  <a:lnTo>
                    <a:pt x="241" y="102"/>
                  </a:lnTo>
                  <a:lnTo>
                    <a:pt x="241" y="101"/>
                  </a:lnTo>
                  <a:lnTo>
                    <a:pt x="241" y="101"/>
                  </a:lnTo>
                  <a:lnTo>
                    <a:pt x="242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4" y="102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4" y="102"/>
                  </a:lnTo>
                  <a:lnTo>
                    <a:pt x="245" y="102"/>
                  </a:lnTo>
                  <a:lnTo>
                    <a:pt x="245" y="102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6" y="101"/>
                  </a:lnTo>
                  <a:lnTo>
                    <a:pt x="246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2" y="101"/>
                  </a:lnTo>
                  <a:lnTo>
                    <a:pt x="241" y="101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0" y="100"/>
                  </a:lnTo>
                  <a:lnTo>
                    <a:pt x="240" y="100"/>
                  </a:lnTo>
                  <a:lnTo>
                    <a:pt x="239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9" y="99"/>
                  </a:lnTo>
                  <a:lnTo>
                    <a:pt x="240" y="99"/>
                  </a:lnTo>
                  <a:lnTo>
                    <a:pt x="241" y="99"/>
                  </a:lnTo>
                  <a:lnTo>
                    <a:pt x="241" y="99"/>
                  </a:lnTo>
                  <a:lnTo>
                    <a:pt x="242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4" y="100"/>
                  </a:lnTo>
                  <a:lnTo>
                    <a:pt x="245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9" y="99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99"/>
                  </a:lnTo>
                  <a:lnTo>
                    <a:pt x="250" y="99"/>
                  </a:lnTo>
                  <a:lnTo>
                    <a:pt x="250" y="98"/>
                  </a:lnTo>
                  <a:lnTo>
                    <a:pt x="249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1" y="98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7" y="96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9" y="97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7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4" y="95"/>
                  </a:lnTo>
                  <a:lnTo>
                    <a:pt x="254" y="96"/>
                  </a:lnTo>
                  <a:lnTo>
                    <a:pt x="254" y="95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4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4"/>
                  </a:lnTo>
                  <a:lnTo>
                    <a:pt x="256" y="95"/>
                  </a:lnTo>
                  <a:lnTo>
                    <a:pt x="256" y="94"/>
                  </a:lnTo>
                  <a:lnTo>
                    <a:pt x="256" y="94"/>
                  </a:lnTo>
                  <a:lnTo>
                    <a:pt x="257" y="94"/>
                  </a:lnTo>
                  <a:lnTo>
                    <a:pt x="257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5"/>
                  </a:lnTo>
                  <a:lnTo>
                    <a:pt x="260" y="94"/>
                  </a:lnTo>
                  <a:lnTo>
                    <a:pt x="260" y="95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1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3" y="93"/>
                  </a:lnTo>
                  <a:lnTo>
                    <a:pt x="263" y="94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5" y="94"/>
                  </a:lnTo>
                  <a:lnTo>
                    <a:pt x="266" y="94"/>
                  </a:lnTo>
                  <a:lnTo>
                    <a:pt x="265" y="94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3" y="93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4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7" y="92"/>
                  </a:lnTo>
                  <a:lnTo>
                    <a:pt x="267" y="92"/>
                  </a:lnTo>
                  <a:lnTo>
                    <a:pt x="268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70" y="92"/>
                  </a:lnTo>
                  <a:lnTo>
                    <a:pt x="270" y="92"/>
                  </a:lnTo>
                  <a:lnTo>
                    <a:pt x="271" y="92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3"/>
                  </a:lnTo>
                  <a:lnTo>
                    <a:pt x="271" y="92"/>
                  </a:lnTo>
                  <a:lnTo>
                    <a:pt x="272" y="92"/>
                  </a:lnTo>
                  <a:lnTo>
                    <a:pt x="272" y="92"/>
                  </a:lnTo>
                  <a:lnTo>
                    <a:pt x="273" y="92"/>
                  </a:lnTo>
                  <a:lnTo>
                    <a:pt x="273" y="91"/>
                  </a:lnTo>
                  <a:lnTo>
                    <a:pt x="273" y="91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4" y="92"/>
                  </a:lnTo>
                  <a:lnTo>
                    <a:pt x="273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5" y="92"/>
                  </a:lnTo>
                  <a:lnTo>
                    <a:pt x="275" y="92"/>
                  </a:lnTo>
                  <a:lnTo>
                    <a:pt x="275" y="91"/>
                  </a:lnTo>
                  <a:lnTo>
                    <a:pt x="276" y="92"/>
                  </a:lnTo>
                  <a:lnTo>
                    <a:pt x="275" y="92"/>
                  </a:lnTo>
                  <a:lnTo>
                    <a:pt x="276" y="92"/>
                  </a:lnTo>
                  <a:lnTo>
                    <a:pt x="277" y="92"/>
                  </a:lnTo>
                  <a:lnTo>
                    <a:pt x="277" y="92"/>
                  </a:lnTo>
                  <a:lnTo>
                    <a:pt x="277" y="91"/>
                  </a:lnTo>
                  <a:lnTo>
                    <a:pt x="277" y="91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2" y="90"/>
                  </a:lnTo>
                  <a:lnTo>
                    <a:pt x="282" y="90"/>
                  </a:lnTo>
                  <a:lnTo>
                    <a:pt x="283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89"/>
                  </a:lnTo>
                  <a:lnTo>
                    <a:pt x="284" y="89"/>
                  </a:lnTo>
                  <a:lnTo>
                    <a:pt x="285" y="89"/>
                  </a:lnTo>
                  <a:lnTo>
                    <a:pt x="285" y="89"/>
                  </a:lnTo>
                  <a:lnTo>
                    <a:pt x="286" y="89"/>
                  </a:lnTo>
                  <a:lnTo>
                    <a:pt x="286" y="89"/>
                  </a:lnTo>
                  <a:lnTo>
                    <a:pt x="287" y="89"/>
                  </a:lnTo>
                  <a:lnTo>
                    <a:pt x="288" y="89"/>
                  </a:lnTo>
                  <a:lnTo>
                    <a:pt x="288" y="89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90" y="89"/>
                  </a:lnTo>
                  <a:lnTo>
                    <a:pt x="290" y="89"/>
                  </a:lnTo>
                  <a:lnTo>
                    <a:pt x="291" y="89"/>
                  </a:lnTo>
                  <a:lnTo>
                    <a:pt x="292" y="89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4" y="88"/>
                  </a:lnTo>
                  <a:lnTo>
                    <a:pt x="294" y="87"/>
                  </a:lnTo>
                  <a:lnTo>
                    <a:pt x="295" y="87"/>
                  </a:lnTo>
                  <a:lnTo>
                    <a:pt x="295" y="88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4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2" y="87"/>
                  </a:lnTo>
                  <a:lnTo>
                    <a:pt x="291" y="87"/>
                  </a:lnTo>
                  <a:lnTo>
                    <a:pt x="290" y="87"/>
                  </a:lnTo>
                  <a:lnTo>
                    <a:pt x="290" y="87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6" y="87"/>
                  </a:lnTo>
                  <a:lnTo>
                    <a:pt x="287" y="87"/>
                  </a:lnTo>
                  <a:lnTo>
                    <a:pt x="287" y="87"/>
                  </a:lnTo>
                  <a:lnTo>
                    <a:pt x="287" y="86"/>
                  </a:lnTo>
                  <a:lnTo>
                    <a:pt x="286" y="86"/>
                  </a:lnTo>
                  <a:lnTo>
                    <a:pt x="287" y="86"/>
                  </a:lnTo>
                  <a:lnTo>
                    <a:pt x="288" y="86"/>
                  </a:lnTo>
                  <a:lnTo>
                    <a:pt x="288" y="86"/>
                  </a:lnTo>
                  <a:lnTo>
                    <a:pt x="288" y="85"/>
                  </a:lnTo>
                  <a:lnTo>
                    <a:pt x="287" y="85"/>
                  </a:lnTo>
                  <a:lnTo>
                    <a:pt x="288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89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4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0" y="85"/>
                  </a:lnTo>
                  <a:lnTo>
                    <a:pt x="291" y="85"/>
                  </a:lnTo>
                  <a:lnTo>
                    <a:pt x="291" y="85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4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4" y="85"/>
                  </a:lnTo>
                  <a:lnTo>
                    <a:pt x="293" y="84"/>
                  </a:lnTo>
                  <a:lnTo>
                    <a:pt x="294" y="84"/>
                  </a:lnTo>
                  <a:lnTo>
                    <a:pt x="295" y="84"/>
                  </a:lnTo>
                  <a:lnTo>
                    <a:pt x="295" y="84"/>
                  </a:lnTo>
                  <a:lnTo>
                    <a:pt x="296" y="84"/>
                  </a:lnTo>
                  <a:lnTo>
                    <a:pt x="296" y="84"/>
                  </a:lnTo>
                  <a:lnTo>
                    <a:pt x="297" y="84"/>
                  </a:lnTo>
                  <a:lnTo>
                    <a:pt x="297" y="83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8" y="84"/>
                  </a:lnTo>
                  <a:lnTo>
                    <a:pt x="299" y="84"/>
                  </a:lnTo>
                  <a:lnTo>
                    <a:pt x="299" y="84"/>
                  </a:lnTo>
                  <a:lnTo>
                    <a:pt x="300" y="84"/>
                  </a:lnTo>
                  <a:lnTo>
                    <a:pt x="300" y="85"/>
                  </a:lnTo>
                  <a:lnTo>
                    <a:pt x="300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4"/>
                  </a:lnTo>
                  <a:lnTo>
                    <a:pt x="301" y="84"/>
                  </a:lnTo>
                  <a:lnTo>
                    <a:pt x="302" y="84"/>
                  </a:lnTo>
                  <a:lnTo>
                    <a:pt x="303" y="84"/>
                  </a:lnTo>
                  <a:lnTo>
                    <a:pt x="302" y="84"/>
                  </a:lnTo>
                  <a:lnTo>
                    <a:pt x="302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0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2" y="83"/>
                  </a:lnTo>
                  <a:lnTo>
                    <a:pt x="303" y="83"/>
                  </a:lnTo>
                  <a:lnTo>
                    <a:pt x="303" y="83"/>
                  </a:lnTo>
                  <a:lnTo>
                    <a:pt x="303" y="84"/>
                  </a:lnTo>
                  <a:lnTo>
                    <a:pt x="304" y="84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06" y="84"/>
                  </a:lnTo>
                  <a:lnTo>
                    <a:pt x="307" y="84"/>
                  </a:lnTo>
                  <a:lnTo>
                    <a:pt x="307" y="83"/>
                  </a:lnTo>
                  <a:lnTo>
                    <a:pt x="307" y="83"/>
                  </a:lnTo>
                  <a:lnTo>
                    <a:pt x="308" y="83"/>
                  </a:lnTo>
                  <a:lnTo>
                    <a:pt x="308" y="83"/>
                  </a:lnTo>
                  <a:lnTo>
                    <a:pt x="309" y="83"/>
                  </a:lnTo>
                  <a:lnTo>
                    <a:pt x="310" y="83"/>
                  </a:lnTo>
                  <a:lnTo>
                    <a:pt x="310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1" y="84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13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1" y="86"/>
                  </a:lnTo>
                  <a:lnTo>
                    <a:pt x="311" y="86"/>
                  </a:lnTo>
                  <a:lnTo>
                    <a:pt x="311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9" y="87"/>
                  </a:lnTo>
                  <a:lnTo>
                    <a:pt x="309" y="88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90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2" y="87"/>
                  </a:lnTo>
                  <a:lnTo>
                    <a:pt x="312" y="87"/>
                  </a:lnTo>
                  <a:lnTo>
                    <a:pt x="312" y="86"/>
                  </a:lnTo>
                  <a:lnTo>
                    <a:pt x="313" y="86"/>
                  </a:lnTo>
                  <a:lnTo>
                    <a:pt x="313" y="87"/>
                  </a:lnTo>
                  <a:lnTo>
                    <a:pt x="314" y="87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4" y="87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7" y="86"/>
                  </a:lnTo>
                  <a:lnTo>
                    <a:pt x="318" y="86"/>
                  </a:lnTo>
                  <a:lnTo>
                    <a:pt x="317" y="86"/>
                  </a:lnTo>
                  <a:lnTo>
                    <a:pt x="317" y="87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7" y="87"/>
                  </a:lnTo>
                  <a:lnTo>
                    <a:pt x="318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20" y="87"/>
                  </a:lnTo>
                  <a:lnTo>
                    <a:pt x="320" y="86"/>
                  </a:lnTo>
                  <a:lnTo>
                    <a:pt x="319" y="86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5"/>
                  </a:lnTo>
                  <a:lnTo>
                    <a:pt x="323" y="85"/>
                  </a:lnTo>
                  <a:lnTo>
                    <a:pt x="323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1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7"/>
                  </a:lnTo>
                  <a:lnTo>
                    <a:pt x="321" y="87"/>
                  </a:lnTo>
                  <a:lnTo>
                    <a:pt x="322" y="87"/>
                  </a:lnTo>
                  <a:lnTo>
                    <a:pt x="322" y="87"/>
                  </a:lnTo>
                  <a:lnTo>
                    <a:pt x="322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4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6" y="86"/>
                  </a:lnTo>
                  <a:lnTo>
                    <a:pt x="326" y="86"/>
                  </a:lnTo>
                  <a:lnTo>
                    <a:pt x="327" y="86"/>
                  </a:lnTo>
                  <a:lnTo>
                    <a:pt x="326" y="86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4"/>
                  </a:lnTo>
                  <a:lnTo>
                    <a:pt x="330" y="85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9" y="84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8" y="85"/>
                  </a:lnTo>
                  <a:lnTo>
                    <a:pt x="328" y="84"/>
                  </a:lnTo>
                  <a:lnTo>
                    <a:pt x="327" y="84"/>
                  </a:lnTo>
                  <a:lnTo>
                    <a:pt x="328" y="84"/>
                  </a:lnTo>
                  <a:lnTo>
                    <a:pt x="329" y="83"/>
                  </a:lnTo>
                  <a:lnTo>
                    <a:pt x="328" y="83"/>
                  </a:lnTo>
                  <a:lnTo>
                    <a:pt x="329" y="83"/>
                  </a:lnTo>
                  <a:lnTo>
                    <a:pt x="329" y="84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30" y="83"/>
                  </a:lnTo>
                  <a:lnTo>
                    <a:pt x="330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2" y="83"/>
                  </a:lnTo>
                  <a:lnTo>
                    <a:pt x="333" y="82"/>
                  </a:lnTo>
                  <a:lnTo>
                    <a:pt x="333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5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3"/>
                  </a:lnTo>
                  <a:lnTo>
                    <a:pt x="335" y="83"/>
                  </a:lnTo>
                  <a:lnTo>
                    <a:pt x="335" y="82"/>
                  </a:lnTo>
                  <a:lnTo>
                    <a:pt x="335" y="83"/>
                  </a:lnTo>
                  <a:lnTo>
                    <a:pt x="336" y="83"/>
                  </a:lnTo>
                  <a:lnTo>
                    <a:pt x="336" y="82"/>
                  </a:lnTo>
                  <a:lnTo>
                    <a:pt x="336" y="82"/>
                  </a:lnTo>
                  <a:lnTo>
                    <a:pt x="337" y="82"/>
                  </a:lnTo>
                  <a:lnTo>
                    <a:pt x="337" y="82"/>
                  </a:lnTo>
                  <a:lnTo>
                    <a:pt x="337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9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4"/>
                  </a:lnTo>
                  <a:lnTo>
                    <a:pt x="338" y="84"/>
                  </a:lnTo>
                  <a:lnTo>
                    <a:pt x="339" y="84"/>
                  </a:lnTo>
                  <a:lnTo>
                    <a:pt x="339" y="83"/>
                  </a:lnTo>
                  <a:lnTo>
                    <a:pt x="340" y="83"/>
                  </a:lnTo>
                  <a:lnTo>
                    <a:pt x="340" y="84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1" y="84"/>
                  </a:lnTo>
                  <a:lnTo>
                    <a:pt x="340" y="84"/>
                  </a:lnTo>
                  <a:lnTo>
                    <a:pt x="340" y="84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39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2" y="85"/>
                  </a:lnTo>
                  <a:lnTo>
                    <a:pt x="342" y="85"/>
                  </a:lnTo>
                  <a:lnTo>
                    <a:pt x="343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1" y="86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8"/>
                  </a:lnTo>
                  <a:lnTo>
                    <a:pt x="340" y="88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38" y="89"/>
                  </a:lnTo>
                  <a:lnTo>
                    <a:pt x="338" y="89"/>
                  </a:lnTo>
                  <a:lnTo>
                    <a:pt x="338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1"/>
                  </a:lnTo>
                  <a:lnTo>
                    <a:pt x="337" y="91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8" y="93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5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2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0" y="96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29" y="95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8" y="96"/>
                  </a:lnTo>
                  <a:lnTo>
                    <a:pt x="327" y="96"/>
                  </a:lnTo>
                  <a:lnTo>
                    <a:pt x="327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4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7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4" y="96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7" y="97"/>
                  </a:lnTo>
                  <a:lnTo>
                    <a:pt x="327" y="97"/>
                  </a:lnTo>
                  <a:lnTo>
                    <a:pt x="327" y="96"/>
                  </a:lnTo>
                  <a:lnTo>
                    <a:pt x="328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5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30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2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5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7" y="96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9" y="93"/>
                  </a:lnTo>
                  <a:lnTo>
                    <a:pt x="339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1" y="96"/>
                  </a:lnTo>
                  <a:lnTo>
                    <a:pt x="341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3" y="96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5" y="99"/>
                  </a:lnTo>
                  <a:lnTo>
                    <a:pt x="345" y="99"/>
                  </a:lnTo>
                  <a:lnTo>
                    <a:pt x="344" y="99"/>
                  </a:lnTo>
                  <a:lnTo>
                    <a:pt x="345" y="99"/>
                  </a:lnTo>
                  <a:lnTo>
                    <a:pt x="344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1"/>
                  </a:lnTo>
                  <a:lnTo>
                    <a:pt x="345" y="101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7" y="101"/>
                  </a:lnTo>
                  <a:lnTo>
                    <a:pt x="347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9" y="101"/>
                  </a:lnTo>
                  <a:lnTo>
                    <a:pt x="348" y="101"/>
                  </a:lnTo>
                  <a:lnTo>
                    <a:pt x="349" y="101"/>
                  </a:lnTo>
                  <a:lnTo>
                    <a:pt x="349" y="102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2"/>
                  </a:lnTo>
                  <a:lnTo>
                    <a:pt x="346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5" y="103"/>
                  </a:lnTo>
                  <a:lnTo>
                    <a:pt x="345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7" y="104"/>
                  </a:lnTo>
                  <a:lnTo>
                    <a:pt x="348" y="104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7" y="106"/>
                  </a:lnTo>
                  <a:lnTo>
                    <a:pt x="348" y="106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9" y="107"/>
                  </a:lnTo>
                  <a:lnTo>
                    <a:pt x="349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9"/>
                  </a:lnTo>
                  <a:lnTo>
                    <a:pt x="348" y="109"/>
                  </a:lnTo>
                  <a:lnTo>
                    <a:pt x="348" y="108"/>
                  </a:lnTo>
                  <a:lnTo>
                    <a:pt x="347" y="108"/>
                  </a:lnTo>
                  <a:lnTo>
                    <a:pt x="347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10"/>
                  </a:lnTo>
                  <a:lnTo>
                    <a:pt x="345" y="110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2" y="111"/>
                  </a:lnTo>
                  <a:lnTo>
                    <a:pt x="342" y="110"/>
                  </a:lnTo>
                  <a:lnTo>
                    <a:pt x="342" y="110"/>
                  </a:lnTo>
                  <a:lnTo>
                    <a:pt x="341" y="110"/>
                  </a:lnTo>
                  <a:lnTo>
                    <a:pt x="341" y="110"/>
                  </a:lnTo>
                  <a:lnTo>
                    <a:pt x="340" y="110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0"/>
                  </a:lnTo>
                  <a:lnTo>
                    <a:pt x="339" y="110"/>
                  </a:lnTo>
                  <a:lnTo>
                    <a:pt x="338" y="110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8" y="110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1" y="112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3" y="111"/>
                  </a:lnTo>
                  <a:lnTo>
                    <a:pt x="344" y="111"/>
                  </a:lnTo>
                  <a:lnTo>
                    <a:pt x="343" y="112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1" y="112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8" y="115"/>
                  </a:lnTo>
                  <a:lnTo>
                    <a:pt x="338" y="114"/>
                  </a:lnTo>
                  <a:lnTo>
                    <a:pt x="338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6" y="115"/>
                  </a:lnTo>
                  <a:lnTo>
                    <a:pt x="336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29" y="115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2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5" y="115"/>
                  </a:lnTo>
                  <a:lnTo>
                    <a:pt x="335" y="115"/>
                  </a:lnTo>
                  <a:lnTo>
                    <a:pt x="336" y="114"/>
                  </a:lnTo>
                  <a:lnTo>
                    <a:pt x="336" y="115"/>
                  </a:lnTo>
                  <a:lnTo>
                    <a:pt x="336" y="115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8" y="115"/>
                  </a:lnTo>
                  <a:lnTo>
                    <a:pt x="338" y="115"/>
                  </a:lnTo>
                  <a:lnTo>
                    <a:pt x="339" y="115"/>
                  </a:lnTo>
                  <a:lnTo>
                    <a:pt x="340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4"/>
                  </a:lnTo>
                  <a:lnTo>
                    <a:pt x="342" y="115"/>
                  </a:lnTo>
                  <a:lnTo>
                    <a:pt x="341" y="115"/>
                  </a:lnTo>
                  <a:lnTo>
                    <a:pt x="342" y="115"/>
                  </a:lnTo>
                  <a:lnTo>
                    <a:pt x="341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4"/>
                  </a:lnTo>
                  <a:lnTo>
                    <a:pt x="341" y="114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3" y="112"/>
                  </a:lnTo>
                  <a:lnTo>
                    <a:pt x="344" y="112"/>
                  </a:lnTo>
                  <a:lnTo>
                    <a:pt x="344" y="112"/>
                  </a:lnTo>
                  <a:lnTo>
                    <a:pt x="345" y="112"/>
                  </a:lnTo>
                  <a:lnTo>
                    <a:pt x="345" y="112"/>
                  </a:lnTo>
                  <a:lnTo>
                    <a:pt x="346" y="112"/>
                  </a:lnTo>
                  <a:lnTo>
                    <a:pt x="346" y="112"/>
                  </a:lnTo>
                  <a:lnTo>
                    <a:pt x="347" y="112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50" y="112"/>
                  </a:lnTo>
                  <a:lnTo>
                    <a:pt x="350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3"/>
                  </a:lnTo>
                  <a:lnTo>
                    <a:pt x="352" y="113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5"/>
                  </a:lnTo>
                  <a:lnTo>
                    <a:pt x="352" y="115"/>
                  </a:lnTo>
                  <a:lnTo>
                    <a:pt x="353" y="115"/>
                  </a:lnTo>
                  <a:lnTo>
                    <a:pt x="353" y="116"/>
                  </a:lnTo>
                  <a:lnTo>
                    <a:pt x="353" y="116"/>
                  </a:lnTo>
                  <a:lnTo>
                    <a:pt x="354" y="116"/>
                  </a:lnTo>
                  <a:lnTo>
                    <a:pt x="354" y="116"/>
                  </a:lnTo>
                  <a:lnTo>
                    <a:pt x="353" y="116"/>
                  </a:lnTo>
                  <a:lnTo>
                    <a:pt x="353" y="117"/>
                  </a:lnTo>
                  <a:lnTo>
                    <a:pt x="353" y="117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3" y="119"/>
                  </a:lnTo>
                  <a:lnTo>
                    <a:pt x="353" y="119"/>
                  </a:lnTo>
                  <a:lnTo>
                    <a:pt x="354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6" y="119"/>
                  </a:lnTo>
                  <a:lnTo>
                    <a:pt x="356" y="119"/>
                  </a:lnTo>
                  <a:lnTo>
                    <a:pt x="357" y="119"/>
                  </a:lnTo>
                  <a:lnTo>
                    <a:pt x="357" y="119"/>
                  </a:lnTo>
                  <a:lnTo>
                    <a:pt x="357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7"/>
                  </a:lnTo>
                  <a:lnTo>
                    <a:pt x="357" y="117"/>
                  </a:lnTo>
                  <a:lnTo>
                    <a:pt x="356" y="117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5" y="116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4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3" y="113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2" y="110"/>
                  </a:lnTo>
                  <a:lnTo>
                    <a:pt x="352" y="111"/>
                  </a:lnTo>
                  <a:lnTo>
                    <a:pt x="352" y="111"/>
                  </a:lnTo>
                  <a:lnTo>
                    <a:pt x="351" y="111"/>
                  </a:lnTo>
                  <a:lnTo>
                    <a:pt x="351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9" y="110"/>
                  </a:lnTo>
                  <a:lnTo>
                    <a:pt x="349" y="110"/>
                  </a:lnTo>
                  <a:lnTo>
                    <a:pt x="350" y="110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09"/>
                  </a:lnTo>
                  <a:lnTo>
                    <a:pt x="352" y="109"/>
                  </a:lnTo>
                  <a:lnTo>
                    <a:pt x="352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4" y="109"/>
                  </a:lnTo>
                  <a:lnTo>
                    <a:pt x="355" y="109"/>
                  </a:lnTo>
                  <a:lnTo>
                    <a:pt x="355" y="109"/>
                  </a:lnTo>
                  <a:lnTo>
                    <a:pt x="355" y="110"/>
                  </a:lnTo>
                  <a:lnTo>
                    <a:pt x="355" y="110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6" y="111"/>
                  </a:lnTo>
                  <a:lnTo>
                    <a:pt x="356" y="111"/>
                  </a:lnTo>
                  <a:lnTo>
                    <a:pt x="356" y="112"/>
                  </a:lnTo>
                  <a:lnTo>
                    <a:pt x="357" y="112"/>
                  </a:lnTo>
                  <a:lnTo>
                    <a:pt x="357" y="112"/>
                  </a:lnTo>
                  <a:lnTo>
                    <a:pt x="358" y="113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3"/>
                  </a:lnTo>
                  <a:lnTo>
                    <a:pt x="362" y="113"/>
                  </a:lnTo>
                  <a:lnTo>
                    <a:pt x="362" y="114"/>
                  </a:lnTo>
                  <a:lnTo>
                    <a:pt x="362" y="114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3"/>
                  </a:lnTo>
                  <a:lnTo>
                    <a:pt x="361" y="112"/>
                  </a:lnTo>
                  <a:lnTo>
                    <a:pt x="362" y="112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0"/>
                  </a:lnTo>
                  <a:lnTo>
                    <a:pt x="360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60" y="109"/>
                  </a:lnTo>
                  <a:lnTo>
                    <a:pt x="360" y="108"/>
                  </a:lnTo>
                  <a:lnTo>
                    <a:pt x="361" y="108"/>
                  </a:lnTo>
                  <a:lnTo>
                    <a:pt x="361" y="109"/>
                  </a:lnTo>
                  <a:lnTo>
                    <a:pt x="362" y="109"/>
                  </a:lnTo>
                  <a:lnTo>
                    <a:pt x="362" y="108"/>
                  </a:lnTo>
                  <a:lnTo>
                    <a:pt x="362" y="108"/>
                  </a:lnTo>
                  <a:lnTo>
                    <a:pt x="363" y="108"/>
                  </a:lnTo>
                  <a:lnTo>
                    <a:pt x="363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1" y="111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5" y="115"/>
                  </a:lnTo>
                  <a:lnTo>
                    <a:pt x="376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6" y="116"/>
                  </a:lnTo>
                  <a:lnTo>
                    <a:pt x="375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2"/>
                  </a:lnTo>
                  <a:lnTo>
                    <a:pt x="373" y="113"/>
                  </a:lnTo>
                  <a:lnTo>
                    <a:pt x="372" y="113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69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8" y="110"/>
                  </a:lnTo>
                  <a:lnTo>
                    <a:pt x="367" y="110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7" y="108"/>
                  </a:lnTo>
                  <a:lnTo>
                    <a:pt x="367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9" y="108"/>
                  </a:lnTo>
                  <a:lnTo>
                    <a:pt x="370" y="108"/>
                  </a:lnTo>
                  <a:lnTo>
                    <a:pt x="370" y="108"/>
                  </a:lnTo>
                  <a:lnTo>
                    <a:pt x="371" y="108"/>
                  </a:lnTo>
                  <a:lnTo>
                    <a:pt x="371" y="108"/>
                  </a:lnTo>
                  <a:lnTo>
                    <a:pt x="372" y="108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3" y="107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6" y="107"/>
                  </a:lnTo>
                  <a:lnTo>
                    <a:pt x="376" y="108"/>
                  </a:lnTo>
                  <a:lnTo>
                    <a:pt x="376" y="107"/>
                  </a:lnTo>
                  <a:lnTo>
                    <a:pt x="377" y="107"/>
                  </a:lnTo>
                  <a:lnTo>
                    <a:pt x="377" y="107"/>
                  </a:lnTo>
                  <a:lnTo>
                    <a:pt x="376" y="107"/>
                  </a:lnTo>
                  <a:lnTo>
                    <a:pt x="376" y="106"/>
                  </a:lnTo>
                  <a:lnTo>
                    <a:pt x="376" y="105"/>
                  </a:lnTo>
                  <a:lnTo>
                    <a:pt x="377" y="105"/>
                  </a:lnTo>
                  <a:lnTo>
                    <a:pt x="377" y="105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8" y="106"/>
                  </a:lnTo>
                  <a:lnTo>
                    <a:pt x="378" y="106"/>
                  </a:lnTo>
                  <a:lnTo>
                    <a:pt x="379" y="106"/>
                  </a:lnTo>
                  <a:lnTo>
                    <a:pt x="379" y="105"/>
                  </a:lnTo>
                  <a:lnTo>
                    <a:pt x="379" y="105"/>
                  </a:lnTo>
                  <a:lnTo>
                    <a:pt x="380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2" y="105"/>
                  </a:lnTo>
                  <a:lnTo>
                    <a:pt x="382" y="105"/>
                  </a:lnTo>
                  <a:lnTo>
                    <a:pt x="382" y="104"/>
                  </a:lnTo>
                  <a:lnTo>
                    <a:pt x="383" y="104"/>
                  </a:lnTo>
                  <a:lnTo>
                    <a:pt x="383" y="105"/>
                  </a:lnTo>
                  <a:lnTo>
                    <a:pt x="383" y="105"/>
                  </a:lnTo>
                  <a:lnTo>
                    <a:pt x="384" y="105"/>
                  </a:lnTo>
                  <a:lnTo>
                    <a:pt x="385" y="105"/>
                  </a:lnTo>
                  <a:lnTo>
                    <a:pt x="385" y="105"/>
                  </a:lnTo>
                  <a:lnTo>
                    <a:pt x="386" y="105"/>
                  </a:lnTo>
                  <a:lnTo>
                    <a:pt x="386" y="105"/>
                  </a:lnTo>
                  <a:lnTo>
                    <a:pt x="387" y="105"/>
                  </a:lnTo>
                  <a:lnTo>
                    <a:pt x="388" y="105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1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5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5"/>
                  </a:lnTo>
                  <a:lnTo>
                    <a:pt x="396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6"/>
                  </a:lnTo>
                  <a:lnTo>
                    <a:pt x="397" y="106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7" y="106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7" y="103"/>
                  </a:lnTo>
                  <a:lnTo>
                    <a:pt x="397" y="103"/>
                  </a:lnTo>
                  <a:lnTo>
                    <a:pt x="397" y="102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9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3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2" y="97"/>
                  </a:lnTo>
                  <a:lnTo>
                    <a:pt x="402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5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5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5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5" y="97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3" y="98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399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7" y="100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2"/>
                  </a:lnTo>
                  <a:lnTo>
                    <a:pt x="396" y="102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7" y="101"/>
                  </a:lnTo>
                  <a:lnTo>
                    <a:pt x="396" y="101"/>
                  </a:lnTo>
                  <a:lnTo>
                    <a:pt x="396" y="100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7"/>
                  </a:lnTo>
                  <a:lnTo>
                    <a:pt x="391" y="97"/>
                  </a:lnTo>
                  <a:lnTo>
                    <a:pt x="390" y="97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90" y="97"/>
                  </a:lnTo>
                  <a:lnTo>
                    <a:pt x="391" y="97"/>
                  </a:lnTo>
                  <a:lnTo>
                    <a:pt x="391" y="97"/>
                  </a:lnTo>
                  <a:lnTo>
                    <a:pt x="392" y="97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2"/>
                  </a:lnTo>
                  <a:lnTo>
                    <a:pt x="397" y="102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6" y="103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5" y="104"/>
                  </a:lnTo>
                  <a:lnTo>
                    <a:pt x="395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1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7" y="104"/>
                  </a:lnTo>
                  <a:lnTo>
                    <a:pt x="386" y="104"/>
                  </a:lnTo>
                  <a:lnTo>
                    <a:pt x="386" y="104"/>
                  </a:lnTo>
                  <a:lnTo>
                    <a:pt x="385" y="104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1"/>
                  </a:lnTo>
                  <a:lnTo>
                    <a:pt x="381" y="101"/>
                  </a:lnTo>
                  <a:lnTo>
                    <a:pt x="381" y="101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0" y="100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101"/>
                  </a:lnTo>
                  <a:lnTo>
                    <a:pt x="378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6" y="101"/>
                  </a:lnTo>
                  <a:lnTo>
                    <a:pt x="375" y="101"/>
                  </a:lnTo>
                  <a:lnTo>
                    <a:pt x="375" y="101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6" y="103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9" y="103"/>
                  </a:lnTo>
                  <a:lnTo>
                    <a:pt x="379" y="103"/>
                  </a:lnTo>
                  <a:lnTo>
                    <a:pt x="380" y="103"/>
                  </a:lnTo>
                  <a:lnTo>
                    <a:pt x="379" y="104"/>
                  </a:lnTo>
                  <a:lnTo>
                    <a:pt x="379" y="104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6" y="104"/>
                  </a:lnTo>
                  <a:lnTo>
                    <a:pt x="375" y="104"/>
                  </a:lnTo>
                  <a:lnTo>
                    <a:pt x="375" y="104"/>
                  </a:lnTo>
                  <a:lnTo>
                    <a:pt x="375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6"/>
                  </a:lnTo>
                  <a:lnTo>
                    <a:pt x="373" y="106"/>
                  </a:lnTo>
                  <a:lnTo>
                    <a:pt x="372" y="106"/>
                  </a:lnTo>
                  <a:lnTo>
                    <a:pt x="372" y="106"/>
                  </a:lnTo>
                  <a:lnTo>
                    <a:pt x="372" y="107"/>
                  </a:lnTo>
                  <a:lnTo>
                    <a:pt x="371" y="107"/>
                  </a:lnTo>
                  <a:lnTo>
                    <a:pt x="371" y="106"/>
                  </a:lnTo>
                  <a:lnTo>
                    <a:pt x="371" y="106"/>
                  </a:lnTo>
                  <a:lnTo>
                    <a:pt x="371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6" y="107"/>
                  </a:lnTo>
                  <a:lnTo>
                    <a:pt x="366" y="107"/>
                  </a:lnTo>
                  <a:lnTo>
                    <a:pt x="365" y="107"/>
                  </a:lnTo>
                  <a:lnTo>
                    <a:pt x="365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2" y="107"/>
                  </a:lnTo>
                  <a:lnTo>
                    <a:pt x="362" y="107"/>
                  </a:lnTo>
                  <a:lnTo>
                    <a:pt x="361" y="107"/>
                  </a:lnTo>
                  <a:lnTo>
                    <a:pt x="360" y="107"/>
                  </a:lnTo>
                  <a:lnTo>
                    <a:pt x="360" y="107"/>
                  </a:lnTo>
                  <a:lnTo>
                    <a:pt x="359" y="107"/>
                  </a:lnTo>
                  <a:lnTo>
                    <a:pt x="358" y="107"/>
                  </a:lnTo>
                  <a:lnTo>
                    <a:pt x="357" y="107"/>
                  </a:lnTo>
                  <a:lnTo>
                    <a:pt x="357" y="107"/>
                  </a:lnTo>
                  <a:lnTo>
                    <a:pt x="356" y="107"/>
                  </a:lnTo>
                  <a:lnTo>
                    <a:pt x="356" y="107"/>
                  </a:lnTo>
                  <a:lnTo>
                    <a:pt x="355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3" y="107"/>
                  </a:lnTo>
                  <a:lnTo>
                    <a:pt x="353" y="107"/>
                  </a:lnTo>
                  <a:lnTo>
                    <a:pt x="352" y="107"/>
                  </a:lnTo>
                  <a:lnTo>
                    <a:pt x="352" y="106"/>
                  </a:lnTo>
                  <a:lnTo>
                    <a:pt x="352" y="106"/>
                  </a:lnTo>
                  <a:lnTo>
                    <a:pt x="351" y="105"/>
                  </a:lnTo>
                  <a:lnTo>
                    <a:pt x="351" y="105"/>
                  </a:lnTo>
                  <a:lnTo>
                    <a:pt x="350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8" y="104"/>
                  </a:lnTo>
                  <a:lnTo>
                    <a:pt x="349" y="104"/>
                  </a:lnTo>
                  <a:lnTo>
                    <a:pt x="349" y="104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7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5" y="100"/>
                  </a:lnTo>
                  <a:lnTo>
                    <a:pt x="346" y="100"/>
                  </a:lnTo>
                  <a:lnTo>
                    <a:pt x="346" y="99"/>
                  </a:lnTo>
                  <a:lnTo>
                    <a:pt x="345" y="99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4" y="96"/>
                  </a:lnTo>
                  <a:lnTo>
                    <a:pt x="343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3" y="95"/>
                  </a:lnTo>
                  <a:lnTo>
                    <a:pt x="344" y="95"/>
                  </a:lnTo>
                  <a:lnTo>
                    <a:pt x="343" y="95"/>
                  </a:lnTo>
                  <a:lnTo>
                    <a:pt x="342" y="95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39" y="94"/>
                  </a:lnTo>
                  <a:lnTo>
                    <a:pt x="339" y="93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8" y="92"/>
                  </a:lnTo>
                  <a:lnTo>
                    <a:pt x="338" y="91"/>
                  </a:lnTo>
                  <a:lnTo>
                    <a:pt x="338" y="91"/>
                  </a:lnTo>
                  <a:lnTo>
                    <a:pt x="339" y="91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3" y="89"/>
                  </a:lnTo>
                  <a:lnTo>
                    <a:pt x="343" y="89"/>
                  </a:lnTo>
                  <a:lnTo>
                    <a:pt x="344" y="89"/>
                  </a:lnTo>
                  <a:lnTo>
                    <a:pt x="343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2" y="87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3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3" y="88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3" y="85"/>
                  </a:lnTo>
                  <a:lnTo>
                    <a:pt x="343" y="85"/>
                  </a:lnTo>
                  <a:lnTo>
                    <a:pt x="342" y="85"/>
                  </a:lnTo>
                  <a:lnTo>
                    <a:pt x="342" y="84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1" y="83"/>
                  </a:lnTo>
                  <a:lnTo>
                    <a:pt x="341" y="83"/>
                  </a:lnTo>
                  <a:lnTo>
                    <a:pt x="341" y="82"/>
                  </a:lnTo>
                  <a:lnTo>
                    <a:pt x="341" y="82"/>
                  </a:lnTo>
                  <a:lnTo>
                    <a:pt x="340" y="82"/>
                  </a:lnTo>
                  <a:lnTo>
                    <a:pt x="340" y="82"/>
                  </a:lnTo>
                  <a:lnTo>
                    <a:pt x="339" y="82"/>
                  </a:lnTo>
                  <a:lnTo>
                    <a:pt x="339" y="81"/>
                  </a:lnTo>
                  <a:lnTo>
                    <a:pt x="338" y="81"/>
                  </a:lnTo>
                  <a:lnTo>
                    <a:pt x="338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6" y="80"/>
                  </a:lnTo>
                  <a:lnTo>
                    <a:pt x="336" y="79"/>
                  </a:lnTo>
                  <a:lnTo>
                    <a:pt x="336" y="79"/>
                  </a:lnTo>
                  <a:lnTo>
                    <a:pt x="335" y="79"/>
                  </a:lnTo>
                  <a:lnTo>
                    <a:pt x="335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8" y="78"/>
                  </a:lnTo>
                  <a:lnTo>
                    <a:pt x="338" y="79"/>
                  </a:lnTo>
                  <a:lnTo>
                    <a:pt x="339" y="79"/>
                  </a:lnTo>
                  <a:lnTo>
                    <a:pt x="340" y="79"/>
                  </a:lnTo>
                  <a:lnTo>
                    <a:pt x="340" y="79"/>
                  </a:lnTo>
                  <a:lnTo>
                    <a:pt x="341" y="79"/>
                  </a:lnTo>
                  <a:lnTo>
                    <a:pt x="341" y="79"/>
                  </a:lnTo>
                  <a:lnTo>
                    <a:pt x="342" y="79"/>
                  </a:lnTo>
                  <a:lnTo>
                    <a:pt x="344" y="79"/>
                  </a:lnTo>
                  <a:lnTo>
                    <a:pt x="344" y="79"/>
                  </a:lnTo>
                  <a:lnTo>
                    <a:pt x="345" y="78"/>
                  </a:lnTo>
                  <a:lnTo>
                    <a:pt x="346" y="79"/>
                  </a:lnTo>
                  <a:lnTo>
                    <a:pt x="347" y="79"/>
                  </a:lnTo>
                  <a:lnTo>
                    <a:pt x="348" y="79"/>
                  </a:lnTo>
                  <a:lnTo>
                    <a:pt x="348" y="78"/>
                  </a:lnTo>
                  <a:lnTo>
                    <a:pt x="349" y="78"/>
                  </a:lnTo>
                  <a:lnTo>
                    <a:pt x="350" y="78"/>
                  </a:lnTo>
                  <a:lnTo>
                    <a:pt x="351" y="78"/>
                  </a:lnTo>
                  <a:lnTo>
                    <a:pt x="351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8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4" y="79"/>
                  </a:lnTo>
                  <a:lnTo>
                    <a:pt x="355" y="79"/>
                  </a:lnTo>
                  <a:lnTo>
                    <a:pt x="355" y="79"/>
                  </a:lnTo>
                  <a:lnTo>
                    <a:pt x="356" y="79"/>
                  </a:lnTo>
                  <a:lnTo>
                    <a:pt x="356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80"/>
                  </a:lnTo>
                  <a:lnTo>
                    <a:pt x="360" y="80"/>
                  </a:lnTo>
                  <a:lnTo>
                    <a:pt x="360" y="80"/>
                  </a:lnTo>
                  <a:lnTo>
                    <a:pt x="360" y="81"/>
                  </a:lnTo>
                  <a:lnTo>
                    <a:pt x="362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2" y="79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4" y="80"/>
                  </a:lnTo>
                  <a:lnTo>
                    <a:pt x="365" y="80"/>
                  </a:lnTo>
                  <a:lnTo>
                    <a:pt x="366" y="79"/>
                  </a:lnTo>
                  <a:lnTo>
                    <a:pt x="365" y="79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3" y="79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3" y="81"/>
                  </a:lnTo>
                  <a:lnTo>
                    <a:pt x="363" y="80"/>
                  </a:lnTo>
                  <a:lnTo>
                    <a:pt x="362" y="80"/>
                  </a:lnTo>
                  <a:lnTo>
                    <a:pt x="362" y="80"/>
                  </a:lnTo>
                  <a:lnTo>
                    <a:pt x="361" y="80"/>
                  </a:lnTo>
                  <a:lnTo>
                    <a:pt x="360" y="80"/>
                  </a:lnTo>
                  <a:lnTo>
                    <a:pt x="360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6" y="79"/>
                  </a:lnTo>
                  <a:lnTo>
                    <a:pt x="356" y="78"/>
                  </a:lnTo>
                  <a:lnTo>
                    <a:pt x="356" y="78"/>
                  </a:lnTo>
                  <a:lnTo>
                    <a:pt x="355" y="78"/>
                  </a:lnTo>
                  <a:lnTo>
                    <a:pt x="355" y="78"/>
                  </a:lnTo>
                  <a:lnTo>
                    <a:pt x="354" y="78"/>
                  </a:lnTo>
                  <a:lnTo>
                    <a:pt x="353" y="78"/>
                  </a:lnTo>
                  <a:lnTo>
                    <a:pt x="353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2" y="77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3" y="77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2" y="74"/>
                  </a:lnTo>
                  <a:lnTo>
                    <a:pt x="352" y="73"/>
                  </a:lnTo>
                  <a:lnTo>
                    <a:pt x="352" y="72"/>
                  </a:lnTo>
                  <a:lnTo>
                    <a:pt x="351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1"/>
                  </a:lnTo>
                  <a:lnTo>
                    <a:pt x="352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5" y="71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4" y="70"/>
                  </a:lnTo>
                  <a:lnTo>
                    <a:pt x="354" y="69"/>
                  </a:lnTo>
                  <a:lnTo>
                    <a:pt x="355" y="69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6" y="68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8" y="67"/>
                  </a:lnTo>
                  <a:lnTo>
                    <a:pt x="358" y="66"/>
                  </a:lnTo>
                  <a:lnTo>
                    <a:pt x="359" y="66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3" y="65"/>
                  </a:lnTo>
                  <a:lnTo>
                    <a:pt x="362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5" y="62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6" y="63"/>
                  </a:lnTo>
                  <a:lnTo>
                    <a:pt x="366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7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9" y="60"/>
                  </a:lnTo>
                  <a:lnTo>
                    <a:pt x="370" y="60"/>
                  </a:lnTo>
                  <a:lnTo>
                    <a:pt x="370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2" y="60"/>
                  </a:lnTo>
                  <a:lnTo>
                    <a:pt x="373" y="60"/>
                  </a:lnTo>
                  <a:lnTo>
                    <a:pt x="374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6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60"/>
                  </a:lnTo>
                  <a:lnTo>
                    <a:pt x="379" y="60"/>
                  </a:lnTo>
                  <a:lnTo>
                    <a:pt x="380" y="60"/>
                  </a:lnTo>
                  <a:lnTo>
                    <a:pt x="381" y="6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82" y="59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close/>
                  <a:moveTo>
                    <a:pt x="246" y="117"/>
                  </a:moveTo>
                  <a:lnTo>
                    <a:pt x="247" y="117"/>
                  </a:lnTo>
                  <a:lnTo>
                    <a:pt x="246" y="117"/>
                  </a:lnTo>
                  <a:lnTo>
                    <a:pt x="247" y="117"/>
                  </a:lnTo>
                  <a:lnTo>
                    <a:pt x="246" y="117"/>
                  </a:lnTo>
                  <a:close/>
                  <a:moveTo>
                    <a:pt x="245" y="117"/>
                  </a:moveTo>
                  <a:lnTo>
                    <a:pt x="246" y="117"/>
                  </a:lnTo>
                  <a:lnTo>
                    <a:pt x="245" y="117"/>
                  </a:lnTo>
                  <a:close/>
                  <a:moveTo>
                    <a:pt x="245" y="116"/>
                  </a:moveTo>
                  <a:lnTo>
                    <a:pt x="245" y="117"/>
                  </a:lnTo>
                  <a:lnTo>
                    <a:pt x="245" y="116"/>
                  </a:lnTo>
                  <a:close/>
                  <a:moveTo>
                    <a:pt x="215" y="122"/>
                  </a:move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5" y="122"/>
                  </a:lnTo>
                  <a:close/>
                  <a:moveTo>
                    <a:pt x="210" y="204"/>
                  </a:move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4"/>
                  </a:lnTo>
                  <a:close/>
                  <a:moveTo>
                    <a:pt x="149" y="186"/>
                  </a:moveTo>
                  <a:lnTo>
                    <a:pt x="150" y="186"/>
                  </a:lnTo>
                  <a:lnTo>
                    <a:pt x="149" y="186"/>
                  </a:lnTo>
                  <a:lnTo>
                    <a:pt x="150" y="186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50" y="186"/>
                  </a:lnTo>
                  <a:lnTo>
                    <a:pt x="149" y="186"/>
                  </a:lnTo>
                  <a:close/>
                  <a:moveTo>
                    <a:pt x="179" y="181"/>
                  </a:moveTo>
                  <a:lnTo>
                    <a:pt x="179" y="181"/>
                  </a:lnTo>
                  <a:lnTo>
                    <a:pt x="179" y="181"/>
                  </a:lnTo>
                  <a:close/>
                  <a:moveTo>
                    <a:pt x="190" y="170"/>
                  </a:moveTo>
                  <a:lnTo>
                    <a:pt x="190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0" y="170"/>
                  </a:lnTo>
                  <a:close/>
                  <a:moveTo>
                    <a:pt x="189" y="170"/>
                  </a:move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close/>
                  <a:moveTo>
                    <a:pt x="189" y="170"/>
                  </a:moveTo>
                  <a:lnTo>
                    <a:pt x="190" y="170"/>
                  </a:lnTo>
                  <a:lnTo>
                    <a:pt x="189" y="170"/>
                  </a:lnTo>
                  <a:close/>
                  <a:moveTo>
                    <a:pt x="176" y="146"/>
                  </a:moveTo>
                  <a:lnTo>
                    <a:pt x="176" y="14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close/>
                  <a:moveTo>
                    <a:pt x="155" y="188"/>
                  </a:moveTo>
                  <a:lnTo>
                    <a:pt x="156" y="188"/>
                  </a:lnTo>
                  <a:lnTo>
                    <a:pt x="155" y="188"/>
                  </a:lnTo>
                  <a:close/>
                  <a:moveTo>
                    <a:pt x="508" y="208"/>
                  </a:move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4" y="208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8" y="208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9" y="206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8"/>
                  </a:lnTo>
                  <a:close/>
                  <a:moveTo>
                    <a:pt x="534" y="233"/>
                  </a:moveTo>
                  <a:lnTo>
                    <a:pt x="534" y="234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close/>
                  <a:moveTo>
                    <a:pt x="72" y="246"/>
                  </a:moveTo>
                  <a:lnTo>
                    <a:pt x="71" y="246"/>
                  </a:lnTo>
                  <a:lnTo>
                    <a:pt x="72" y="246"/>
                  </a:lnTo>
                  <a:close/>
                  <a:moveTo>
                    <a:pt x="66" y="244"/>
                  </a:moveTo>
                  <a:lnTo>
                    <a:pt x="67" y="244"/>
                  </a:lnTo>
                  <a:lnTo>
                    <a:pt x="66" y="244"/>
                  </a:lnTo>
                  <a:close/>
                  <a:moveTo>
                    <a:pt x="69" y="240"/>
                  </a:moveTo>
                  <a:lnTo>
                    <a:pt x="69" y="241"/>
                  </a:lnTo>
                  <a:lnTo>
                    <a:pt x="69" y="240"/>
                  </a:lnTo>
                  <a:lnTo>
                    <a:pt x="69" y="241"/>
                  </a:lnTo>
                  <a:lnTo>
                    <a:pt x="69" y="240"/>
                  </a:lnTo>
                  <a:close/>
                  <a:moveTo>
                    <a:pt x="76" y="231"/>
                  </a:moveTo>
                  <a:lnTo>
                    <a:pt x="76" y="231"/>
                  </a:lnTo>
                  <a:lnTo>
                    <a:pt x="76" y="231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1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1"/>
                  </a:lnTo>
                  <a:lnTo>
                    <a:pt x="76" y="232"/>
                  </a:lnTo>
                  <a:lnTo>
                    <a:pt x="76" y="231"/>
                  </a:lnTo>
                  <a:close/>
                  <a:moveTo>
                    <a:pt x="76" y="230"/>
                  </a:moveTo>
                  <a:lnTo>
                    <a:pt x="76" y="230"/>
                  </a:lnTo>
                  <a:lnTo>
                    <a:pt x="76" y="230"/>
                  </a:lnTo>
                  <a:close/>
                  <a:moveTo>
                    <a:pt x="76" y="230"/>
                  </a:moveTo>
                  <a:lnTo>
                    <a:pt x="75" y="230"/>
                  </a:lnTo>
                  <a:lnTo>
                    <a:pt x="76" y="230"/>
                  </a:lnTo>
                  <a:close/>
                  <a:moveTo>
                    <a:pt x="102" y="226"/>
                  </a:moveTo>
                  <a:lnTo>
                    <a:pt x="102" y="227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close/>
                  <a:moveTo>
                    <a:pt x="103" y="226"/>
                  </a:moveTo>
                  <a:lnTo>
                    <a:pt x="103" y="227"/>
                  </a:lnTo>
                  <a:lnTo>
                    <a:pt x="103" y="226"/>
                  </a:lnTo>
                  <a:close/>
                  <a:moveTo>
                    <a:pt x="77" y="226"/>
                  </a:moveTo>
                  <a:lnTo>
                    <a:pt x="77" y="226"/>
                  </a:lnTo>
                  <a:lnTo>
                    <a:pt x="77" y="226"/>
                  </a:lnTo>
                  <a:close/>
                  <a:moveTo>
                    <a:pt x="77" y="226"/>
                  </a:moveTo>
                  <a:lnTo>
                    <a:pt x="76" y="226"/>
                  </a:lnTo>
                  <a:lnTo>
                    <a:pt x="77" y="226"/>
                  </a:lnTo>
                  <a:close/>
                  <a:moveTo>
                    <a:pt x="76" y="226"/>
                  </a:moveTo>
                  <a:lnTo>
                    <a:pt x="75" y="226"/>
                  </a:lnTo>
                  <a:lnTo>
                    <a:pt x="76" y="226"/>
                  </a:lnTo>
                  <a:close/>
                  <a:moveTo>
                    <a:pt x="73" y="236"/>
                  </a:moveTo>
                  <a:lnTo>
                    <a:pt x="72" y="236"/>
                  </a:lnTo>
                  <a:lnTo>
                    <a:pt x="73" y="236"/>
                  </a:lnTo>
                  <a:close/>
                  <a:moveTo>
                    <a:pt x="73" y="249"/>
                  </a:moveTo>
                  <a:lnTo>
                    <a:pt x="73" y="250"/>
                  </a:lnTo>
                  <a:lnTo>
                    <a:pt x="73" y="249"/>
                  </a:lnTo>
                  <a:close/>
                  <a:moveTo>
                    <a:pt x="72" y="257"/>
                  </a:moveTo>
                  <a:lnTo>
                    <a:pt x="72" y="257"/>
                  </a:lnTo>
                  <a:lnTo>
                    <a:pt x="72" y="257"/>
                  </a:lnTo>
                  <a:close/>
                  <a:moveTo>
                    <a:pt x="80" y="263"/>
                  </a:moveTo>
                  <a:lnTo>
                    <a:pt x="80" y="263"/>
                  </a:lnTo>
                  <a:lnTo>
                    <a:pt x="80" y="263"/>
                  </a:lnTo>
                  <a:lnTo>
                    <a:pt x="79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9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6" y="262"/>
                  </a:lnTo>
                  <a:lnTo>
                    <a:pt x="86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close/>
                  <a:moveTo>
                    <a:pt x="74" y="263"/>
                  </a:moveTo>
                  <a:lnTo>
                    <a:pt x="74" y="263"/>
                  </a:lnTo>
                  <a:lnTo>
                    <a:pt x="74" y="263"/>
                  </a:lnTo>
                  <a:close/>
                  <a:moveTo>
                    <a:pt x="76" y="263"/>
                  </a:moveTo>
                  <a:lnTo>
                    <a:pt x="76" y="263"/>
                  </a:lnTo>
                  <a:lnTo>
                    <a:pt x="76" y="263"/>
                  </a:lnTo>
                  <a:close/>
                  <a:moveTo>
                    <a:pt x="77" y="263"/>
                  </a:moveTo>
                  <a:lnTo>
                    <a:pt x="76" y="263"/>
                  </a:lnTo>
                  <a:lnTo>
                    <a:pt x="77" y="263"/>
                  </a:lnTo>
                  <a:close/>
                  <a:moveTo>
                    <a:pt x="70" y="264"/>
                  </a:moveTo>
                  <a:lnTo>
                    <a:pt x="69" y="264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4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9" y="264"/>
                  </a:move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7" y="268"/>
                  </a:moveTo>
                  <a:lnTo>
                    <a:pt x="68" y="268"/>
                  </a:lnTo>
                  <a:lnTo>
                    <a:pt x="67" y="268"/>
                  </a:lnTo>
                  <a:close/>
                  <a:moveTo>
                    <a:pt x="84" y="292"/>
                  </a:moveTo>
                  <a:lnTo>
                    <a:pt x="84" y="292"/>
                  </a:lnTo>
                  <a:lnTo>
                    <a:pt x="84" y="292"/>
                  </a:lnTo>
                  <a:close/>
                  <a:moveTo>
                    <a:pt x="84" y="292"/>
                  </a:moveTo>
                  <a:lnTo>
                    <a:pt x="83" y="292"/>
                  </a:lnTo>
                  <a:lnTo>
                    <a:pt x="84" y="292"/>
                  </a:lnTo>
                  <a:close/>
                  <a:moveTo>
                    <a:pt x="64" y="276"/>
                  </a:moveTo>
                  <a:lnTo>
                    <a:pt x="64" y="275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3" y="276"/>
                  </a:lnTo>
                  <a:lnTo>
                    <a:pt x="64" y="276"/>
                  </a:lnTo>
                  <a:close/>
                  <a:moveTo>
                    <a:pt x="62" y="274"/>
                  </a:moveTo>
                  <a:lnTo>
                    <a:pt x="62" y="274"/>
                  </a:lnTo>
                  <a:lnTo>
                    <a:pt x="62" y="274"/>
                  </a:lnTo>
                  <a:close/>
                  <a:moveTo>
                    <a:pt x="59" y="272"/>
                  </a:move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close/>
                  <a:moveTo>
                    <a:pt x="58" y="261"/>
                  </a:moveTo>
                  <a:lnTo>
                    <a:pt x="58" y="261"/>
                  </a:lnTo>
                  <a:lnTo>
                    <a:pt x="58" y="261"/>
                  </a:lnTo>
                  <a:close/>
                  <a:moveTo>
                    <a:pt x="65" y="248"/>
                  </a:moveTo>
                  <a:lnTo>
                    <a:pt x="65" y="248"/>
                  </a:lnTo>
                  <a:lnTo>
                    <a:pt x="65" y="248"/>
                  </a:lnTo>
                  <a:close/>
                  <a:moveTo>
                    <a:pt x="64" y="249"/>
                  </a:moveTo>
                  <a:lnTo>
                    <a:pt x="64" y="249"/>
                  </a:lnTo>
                  <a:lnTo>
                    <a:pt x="64" y="249"/>
                  </a:lnTo>
                  <a:close/>
                  <a:moveTo>
                    <a:pt x="58" y="249"/>
                  </a:move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9"/>
                  </a:lnTo>
                  <a:close/>
                  <a:moveTo>
                    <a:pt x="62" y="249"/>
                  </a:moveTo>
                  <a:lnTo>
                    <a:pt x="62" y="248"/>
                  </a:lnTo>
                  <a:lnTo>
                    <a:pt x="62" y="249"/>
                  </a:lnTo>
                  <a:close/>
                  <a:moveTo>
                    <a:pt x="52" y="246"/>
                  </a:moveTo>
                  <a:lnTo>
                    <a:pt x="51" y="246"/>
                  </a:lnTo>
                  <a:lnTo>
                    <a:pt x="51" y="245"/>
                  </a:lnTo>
                  <a:lnTo>
                    <a:pt x="52" y="245"/>
                  </a:lnTo>
                  <a:lnTo>
                    <a:pt x="51" y="245"/>
                  </a:lnTo>
                  <a:lnTo>
                    <a:pt x="51" y="246"/>
                  </a:lnTo>
                  <a:lnTo>
                    <a:pt x="52" y="246"/>
                  </a:lnTo>
                  <a:close/>
                  <a:moveTo>
                    <a:pt x="52" y="245"/>
                  </a:moveTo>
                  <a:lnTo>
                    <a:pt x="51" y="245"/>
                  </a:lnTo>
                  <a:lnTo>
                    <a:pt x="52" y="245"/>
                  </a:lnTo>
                  <a:close/>
                  <a:moveTo>
                    <a:pt x="51" y="245"/>
                  </a:moveTo>
                  <a:lnTo>
                    <a:pt x="51" y="245"/>
                  </a:lnTo>
                  <a:lnTo>
                    <a:pt x="51" y="245"/>
                  </a:lnTo>
                  <a:close/>
                  <a:moveTo>
                    <a:pt x="61" y="241"/>
                  </a:moveTo>
                  <a:lnTo>
                    <a:pt x="61" y="240"/>
                  </a:lnTo>
                  <a:lnTo>
                    <a:pt x="61" y="241"/>
                  </a:lnTo>
                  <a:close/>
                  <a:moveTo>
                    <a:pt x="64" y="236"/>
                  </a:moveTo>
                  <a:lnTo>
                    <a:pt x="64" y="236"/>
                  </a:lnTo>
                  <a:lnTo>
                    <a:pt x="64" y="236"/>
                  </a:lnTo>
                  <a:close/>
                  <a:moveTo>
                    <a:pt x="70" y="229"/>
                  </a:moveTo>
                  <a:lnTo>
                    <a:pt x="70" y="229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29"/>
                  </a:lnTo>
                  <a:close/>
                  <a:moveTo>
                    <a:pt x="93" y="221"/>
                  </a:moveTo>
                  <a:lnTo>
                    <a:pt x="93" y="221"/>
                  </a:lnTo>
                  <a:lnTo>
                    <a:pt x="93" y="221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4" y="221"/>
                  </a:lnTo>
                  <a:lnTo>
                    <a:pt x="94" y="220"/>
                  </a:lnTo>
                  <a:lnTo>
                    <a:pt x="93" y="220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3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1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5" y="220"/>
                  </a:move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5" y="220"/>
                  </a:lnTo>
                  <a:lnTo>
                    <a:pt x="96" y="219"/>
                  </a:lnTo>
                  <a:lnTo>
                    <a:pt x="95" y="219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6" y="220"/>
                  </a:lnTo>
                  <a:lnTo>
                    <a:pt x="95" y="220"/>
                  </a:lnTo>
                  <a:close/>
                  <a:moveTo>
                    <a:pt x="98" y="189"/>
                  </a:move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close/>
                  <a:moveTo>
                    <a:pt x="92" y="174"/>
                  </a:moveTo>
                  <a:lnTo>
                    <a:pt x="92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close/>
                  <a:moveTo>
                    <a:pt x="119" y="135"/>
                  </a:moveTo>
                  <a:lnTo>
                    <a:pt x="119" y="135"/>
                  </a:lnTo>
                  <a:lnTo>
                    <a:pt x="119" y="135"/>
                  </a:lnTo>
                  <a:close/>
                  <a:moveTo>
                    <a:pt x="81" y="170"/>
                  </a:move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close/>
                  <a:moveTo>
                    <a:pt x="948" y="285"/>
                  </a:moveTo>
                  <a:lnTo>
                    <a:pt x="948" y="284"/>
                  </a:lnTo>
                  <a:lnTo>
                    <a:pt x="948" y="285"/>
                  </a:lnTo>
                  <a:close/>
                  <a:moveTo>
                    <a:pt x="844" y="329"/>
                  </a:moveTo>
                  <a:lnTo>
                    <a:pt x="845" y="329"/>
                  </a:lnTo>
                  <a:lnTo>
                    <a:pt x="844" y="329"/>
                  </a:lnTo>
                  <a:close/>
                  <a:moveTo>
                    <a:pt x="795" y="357"/>
                  </a:moveTo>
                  <a:lnTo>
                    <a:pt x="794" y="357"/>
                  </a:lnTo>
                  <a:lnTo>
                    <a:pt x="795" y="357"/>
                  </a:lnTo>
                  <a:close/>
                  <a:moveTo>
                    <a:pt x="795" y="358"/>
                  </a:moveTo>
                  <a:lnTo>
                    <a:pt x="794" y="358"/>
                  </a:lnTo>
                  <a:lnTo>
                    <a:pt x="795" y="358"/>
                  </a:lnTo>
                  <a:lnTo>
                    <a:pt x="794" y="358"/>
                  </a:lnTo>
                  <a:lnTo>
                    <a:pt x="794" y="357"/>
                  </a:lnTo>
                  <a:lnTo>
                    <a:pt x="794" y="358"/>
                  </a:lnTo>
                  <a:lnTo>
                    <a:pt x="795" y="358"/>
                  </a:lnTo>
                  <a:close/>
                  <a:moveTo>
                    <a:pt x="973" y="260"/>
                  </a:moveTo>
                  <a:lnTo>
                    <a:pt x="973" y="260"/>
                  </a:lnTo>
                  <a:lnTo>
                    <a:pt x="973" y="260"/>
                  </a:lnTo>
                  <a:close/>
                  <a:moveTo>
                    <a:pt x="974" y="259"/>
                  </a:moveTo>
                  <a:lnTo>
                    <a:pt x="973" y="259"/>
                  </a:lnTo>
                  <a:lnTo>
                    <a:pt x="974" y="259"/>
                  </a:lnTo>
                  <a:close/>
                  <a:moveTo>
                    <a:pt x="916" y="249"/>
                  </a:moveTo>
                  <a:lnTo>
                    <a:pt x="917" y="249"/>
                  </a:lnTo>
                  <a:lnTo>
                    <a:pt x="916" y="249"/>
                  </a:lnTo>
                  <a:lnTo>
                    <a:pt x="917" y="250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20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2" y="247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5"/>
                  </a:lnTo>
                  <a:lnTo>
                    <a:pt x="923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4" y="244"/>
                  </a:lnTo>
                  <a:lnTo>
                    <a:pt x="924" y="244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3" y="245"/>
                  </a:lnTo>
                  <a:lnTo>
                    <a:pt x="922" y="245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0" y="247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50"/>
                  </a:lnTo>
                  <a:lnTo>
                    <a:pt x="916" y="249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6" y="249"/>
                  </a:lnTo>
                  <a:close/>
                  <a:moveTo>
                    <a:pt x="925" y="243"/>
                  </a:moveTo>
                  <a:lnTo>
                    <a:pt x="926" y="243"/>
                  </a:lnTo>
                  <a:lnTo>
                    <a:pt x="925" y="243"/>
                  </a:lnTo>
                  <a:close/>
                  <a:moveTo>
                    <a:pt x="926" y="243"/>
                  </a:moveTo>
                  <a:lnTo>
                    <a:pt x="925" y="243"/>
                  </a:lnTo>
                  <a:lnTo>
                    <a:pt x="926" y="243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61" y="245"/>
                  </a:moveTo>
                  <a:lnTo>
                    <a:pt x="961" y="245"/>
                  </a:lnTo>
                  <a:lnTo>
                    <a:pt x="960" y="245"/>
                  </a:lnTo>
                  <a:lnTo>
                    <a:pt x="961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2" y="245"/>
                  </a:lnTo>
                  <a:lnTo>
                    <a:pt x="961" y="245"/>
                  </a:lnTo>
                  <a:close/>
                  <a:moveTo>
                    <a:pt x="965" y="247"/>
                  </a:moveTo>
                  <a:lnTo>
                    <a:pt x="966" y="249"/>
                  </a:lnTo>
                  <a:lnTo>
                    <a:pt x="966" y="248"/>
                  </a:lnTo>
                  <a:lnTo>
                    <a:pt x="967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7"/>
                  </a:lnTo>
                  <a:lnTo>
                    <a:pt x="967" y="247"/>
                  </a:lnTo>
                  <a:lnTo>
                    <a:pt x="966" y="247"/>
                  </a:lnTo>
                  <a:lnTo>
                    <a:pt x="966" y="247"/>
                  </a:lnTo>
                  <a:lnTo>
                    <a:pt x="965" y="247"/>
                  </a:lnTo>
                  <a:close/>
                  <a:moveTo>
                    <a:pt x="967" y="249"/>
                  </a:move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close/>
                  <a:moveTo>
                    <a:pt x="967" y="249"/>
                  </a:moveTo>
                  <a:lnTo>
                    <a:pt x="967" y="250"/>
                  </a:lnTo>
                  <a:lnTo>
                    <a:pt x="967" y="249"/>
                  </a:lnTo>
                  <a:lnTo>
                    <a:pt x="967" y="249"/>
                  </a:lnTo>
                  <a:close/>
                  <a:moveTo>
                    <a:pt x="985" y="243"/>
                  </a:moveTo>
                  <a:lnTo>
                    <a:pt x="985" y="243"/>
                  </a:lnTo>
                  <a:lnTo>
                    <a:pt x="985" y="243"/>
                  </a:lnTo>
                  <a:lnTo>
                    <a:pt x="984" y="243"/>
                  </a:lnTo>
                  <a:lnTo>
                    <a:pt x="985" y="243"/>
                  </a:lnTo>
                  <a:close/>
                  <a:moveTo>
                    <a:pt x="936" y="243"/>
                  </a:moveTo>
                  <a:lnTo>
                    <a:pt x="935" y="243"/>
                  </a:lnTo>
                  <a:lnTo>
                    <a:pt x="936" y="243"/>
                  </a:lnTo>
                  <a:close/>
                  <a:moveTo>
                    <a:pt x="985" y="243"/>
                  </a:moveTo>
                  <a:lnTo>
                    <a:pt x="985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5" y="243"/>
                  </a:lnTo>
                  <a:close/>
                  <a:moveTo>
                    <a:pt x="935" y="242"/>
                  </a:moveTo>
                  <a:lnTo>
                    <a:pt x="935" y="242"/>
                  </a:lnTo>
                  <a:lnTo>
                    <a:pt x="935" y="242"/>
                  </a:lnTo>
                  <a:close/>
                  <a:moveTo>
                    <a:pt x="935" y="242"/>
                  </a:moveTo>
                  <a:lnTo>
                    <a:pt x="934" y="242"/>
                  </a:lnTo>
                  <a:lnTo>
                    <a:pt x="935" y="242"/>
                  </a:lnTo>
                  <a:close/>
                  <a:moveTo>
                    <a:pt x="935" y="241"/>
                  </a:move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0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39"/>
                  </a:lnTo>
                  <a:lnTo>
                    <a:pt x="932" y="239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2" y="236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2" y="237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1" y="239"/>
                  </a:lnTo>
                  <a:lnTo>
                    <a:pt x="932" y="239"/>
                  </a:lnTo>
                  <a:lnTo>
                    <a:pt x="931" y="240"/>
                  </a:lnTo>
                  <a:lnTo>
                    <a:pt x="931" y="239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29" y="240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6" y="242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close/>
                  <a:moveTo>
                    <a:pt x="933" y="240"/>
                  </a:moveTo>
                  <a:lnTo>
                    <a:pt x="933" y="240"/>
                  </a:lnTo>
                  <a:lnTo>
                    <a:pt x="932" y="240"/>
                  </a:lnTo>
                  <a:lnTo>
                    <a:pt x="933" y="240"/>
                  </a:lnTo>
                  <a:lnTo>
                    <a:pt x="933" y="240"/>
                  </a:lnTo>
                  <a:close/>
                  <a:moveTo>
                    <a:pt x="932" y="238"/>
                  </a:moveTo>
                  <a:lnTo>
                    <a:pt x="932" y="238"/>
                  </a:lnTo>
                  <a:lnTo>
                    <a:pt x="932" y="238"/>
                  </a:lnTo>
                  <a:close/>
                  <a:moveTo>
                    <a:pt x="933" y="234"/>
                  </a:move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4" y="233"/>
                  </a:lnTo>
                  <a:lnTo>
                    <a:pt x="933" y="233"/>
                  </a:lnTo>
                  <a:lnTo>
                    <a:pt x="933" y="234"/>
                  </a:lnTo>
                  <a:close/>
                  <a:moveTo>
                    <a:pt x="934" y="233"/>
                  </a:move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1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close/>
                  <a:moveTo>
                    <a:pt x="935" y="231"/>
                  </a:moveTo>
                  <a:lnTo>
                    <a:pt x="935" y="231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5" y="227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1"/>
                  </a:lnTo>
                  <a:close/>
                  <a:moveTo>
                    <a:pt x="936" y="227"/>
                  </a:moveTo>
                  <a:lnTo>
                    <a:pt x="937" y="227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7"/>
                  </a:lnTo>
                  <a:lnTo>
                    <a:pt x="936" y="227"/>
                  </a:lnTo>
                  <a:close/>
                  <a:moveTo>
                    <a:pt x="934" y="234"/>
                  </a:moveTo>
                  <a:lnTo>
                    <a:pt x="933" y="234"/>
                  </a:lnTo>
                  <a:lnTo>
                    <a:pt x="934" y="234"/>
                  </a:lnTo>
                  <a:close/>
                  <a:moveTo>
                    <a:pt x="933" y="234"/>
                  </a:moveTo>
                  <a:lnTo>
                    <a:pt x="934" y="234"/>
                  </a:lnTo>
                  <a:lnTo>
                    <a:pt x="933" y="234"/>
                  </a:lnTo>
                  <a:close/>
                  <a:moveTo>
                    <a:pt x="913" y="195"/>
                  </a:moveTo>
                  <a:lnTo>
                    <a:pt x="912" y="195"/>
                  </a:lnTo>
                  <a:lnTo>
                    <a:pt x="913" y="195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5"/>
                  </a:lnTo>
                  <a:lnTo>
                    <a:pt x="912" y="195"/>
                  </a:lnTo>
                  <a:lnTo>
                    <a:pt x="913" y="195"/>
                  </a:lnTo>
                  <a:close/>
                  <a:moveTo>
                    <a:pt x="982" y="188"/>
                  </a:moveTo>
                  <a:lnTo>
                    <a:pt x="982" y="188"/>
                  </a:lnTo>
                  <a:lnTo>
                    <a:pt x="982" y="188"/>
                  </a:lnTo>
                  <a:close/>
                  <a:moveTo>
                    <a:pt x="965" y="182"/>
                  </a:move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close/>
                  <a:moveTo>
                    <a:pt x="939" y="181"/>
                  </a:moveTo>
                  <a:lnTo>
                    <a:pt x="939" y="180"/>
                  </a:lnTo>
                  <a:lnTo>
                    <a:pt x="939" y="181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1"/>
                  </a:lnTo>
                  <a:lnTo>
                    <a:pt x="939" y="181"/>
                  </a:lnTo>
                  <a:close/>
                  <a:moveTo>
                    <a:pt x="937" y="178"/>
                  </a:move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close/>
                  <a:moveTo>
                    <a:pt x="881" y="189"/>
                  </a:moveTo>
                  <a:lnTo>
                    <a:pt x="881" y="189"/>
                  </a:lnTo>
                  <a:lnTo>
                    <a:pt x="882" y="189"/>
                  </a:lnTo>
                  <a:lnTo>
                    <a:pt x="883" y="189"/>
                  </a:lnTo>
                  <a:lnTo>
                    <a:pt x="882" y="189"/>
                  </a:lnTo>
                  <a:lnTo>
                    <a:pt x="881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80" y="189"/>
                  </a:lnTo>
                  <a:lnTo>
                    <a:pt x="881" y="189"/>
                  </a:lnTo>
                  <a:close/>
                  <a:moveTo>
                    <a:pt x="891" y="184"/>
                  </a:moveTo>
                  <a:lnTo>
                    <a:pt x="892" y="184"/>
                  </a:lnTo>
                  <a:lnTo>
                    <a:pt x="891" y="184"/>
                  </a:lnTo>
                  <a:close/>
                  <a:moveTo>
                    <a:pt x="828" y="181"/>
                  </a:move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close/>
                  <a:moveTo>
                    <a:pt x="725" y="173"/>
                  </a:moveTo>
                  <a:lnTo>
                    <a:pt x="725" y="173"/>
                  </a:lnTo>
                  <a:lnTo>
                    <a:pt x="725" y="173"/>
                  </a:lnTo>
                  <a:close/>
                  <a:moveTo>
                    <a:pt x="545" y="213"/>
                  </a:moveTo>
                  <a:lnTo>
                    <a:pt x="546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4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close/>
                  <a:moveTo>
                    <a:pt x="724" y="179"/>
                  </a:moveTo>
                  <a:lnTo>
                    <a:pt x="725" y="179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4" y="179"/>
                  </a:lnTo>
                  <a:close/>
                  <a:moveTo>
                    <a:pt x="740" y="156"/>
                  </a:moveTo>
                  <a:lnTo>
                    <a:pt x="739" y="156"/>
                  </a:lnTo>
                  <a:lnTo>
                    <a:pt x="740" y="156"/>
                  </a:lnTo>
                  <a:lnTo>
                    <a:pt x="740" y="156"/>
                  </a:lnTo>
                  <a:lnTo>
                    <a:pt x="740" y="156"/>
                  </a:lnTo>
                  <a:close/>
                  <a:moveTo>
                    <a:pt x="631" y="160"/>
                  </a:moveTo>
                  <a:lnTo>
                    <a:pt x="631" y="160"/>
                  </a:lnTo>
                  <a:lnTo>
                    <a:pt x="632" y="160"/>
                  </a:lnTo>
                  <a:lnTo>
                    <a:pt x="631" y="160"/>
                  </a:lnTo>
                  <a:lnTo>
                    <a:pt x="631" y="160"/>
                  </a:lnTo>
                  <a:close/>
                  <a:moveTo>
                    <a:pt x="631" y="160"/>
                  </a:moveTo>
                  <a:lnTo>
                    <a:pt x="631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1" y="159"/>
                  </a:lnTo>
                  <a:lnTo>
                    <a:pt x="631" y="160"/>
                  </a:lnTo>
                  <a:close/>
                  <a:moveTo>
                    <a:pt x="628" y="158"/>
                  </a:moveTo>
                  <a:lnTo>
                    <a:pt x="627" y="158"/>
                  </a:lnTo>
                  <a:lnTo>
                    <a:pt x="628" y="158"/>
                  </a:lnTo>
                  <a:close/>
                  <a:moveTo>
                    <a:pt x="605" y="160"/>
                  </a:moveTo>
                  <a:lnTo>
                    <a:pt x="605" y="161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1"/>
                  </a:lnTo>
                  <a:lnTo>
                    <a:pt x="605" y="161"/>
                  </a:lnTo>
                  <a:lnTo>
                    <a:pt x="605" y="160"/>
                  </a:lnTo>
                  <a:close/>
                  <a:moveTo>
                    <a:pt x="411" y="137"/>
                  </a:moveTo>
                  <a:lnTo>
                    <a:pt x="410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4" y="137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6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8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1" y="138"/>
                  </a:lnTo>
                  <a:lnTo>
                    <a:pt x="421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9" y="143"/>
                  </a:lnTo>
                  <a:lnTo>
                    <a:pt x="430" y="143"/>
                  </a:lnTo>
                  <a:lnTo>
                    <a:pt x="429" y="143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1" y="139"/>
                  </a:lnTo>
                  <a:lnTo>
                    <a:pt x="421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6" y="138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4" y="138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close/>
                  <a:moveTo>
                    <a:pt x="331" y="162"/>
                  </a:move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0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2"/>
                  </a:lnTo>
                  <a:close/>
                  <a:moveTo>
                    <a:pt x="329" y="161"/>
                  </a:moveTo>
                  <a:lnTo>
                    <a:pt x="329" y="160"/>
                  </a:lnTo>
                  <a:lnTo>
                    <a:pt x="329" y="161"/>
                  </a:lnTo>
                  <a:close/>
                  <a:moveTo>
                    <a:pt x="324" y="19"/>
                  </a:moveTo>
                  <a:lnTo>
                    <a:pt x="325" y="19"/>
                  </a:lnTo>
                  <a:lnTo>
                    <a:pt x="325" y="19"/>
                  </a:lnTo>
                  <a:lnTo>
                    <a:pt x="326" y="19"/>
                  </a:lnTo>
                  <a:lnTo>
                    <a:pt x="326" y="19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8" y="20"/>
                  </a:lnTo>
                  <a:lnTo>
                    <a:pt x="329" y="20"/>
                  </a:lnTo>
                  <a:lnTo>
                    <a:pt x="329" y="21"/>
                  </a:lnTo>
                  <a:lnTo>
                    <a:pt x="328" y="21"/>
                  </a:lnTo>
                  <a:lnTo>
                    <a:pt x="327" y="22"/>
                  </a:lnTo>
                  <a:lnTo>
                    <a:pt x="328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3"/>
                  </a:lnTo>
                  <a:lnTo>
                    <a:pt x="327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8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30" y="23"/>
                  </a:lnTo>
                  <a:lnTo>
                    <a:pt x="330" y="24"/>
                  </a:lnTo>
                  <a:lnTo>
                    <a:pt x="330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1" y="22"/>
                  </a:lnTo>
                  <a:lnTo>
                    <a:pt x="332" y="22"/>
                  </a:lnTo>
                  <a:lnTo>
                    <a:pt x="332" y="21"/>
                  </a:lnTo>
                  <a:lnTo>
                    <a:pt x="333" y="21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3" y="20"/>
                  </a:lnTo>
                  <a:lnTo>
                    <a:pt x="334" y="21"/>
                  </a:lnTo>
                  <a:lnTo>
                    <a:pt x="334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7" y="21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8" y="22"/>
                  </a:lnTo>
                  <a:lnTo>
                    <a:pt x="338" y="22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40" y="22"/>
                  </a:lnTo>
                  <a:lnTo>
                    <a:pt x="339" y="22"/>
                  </a:lnTo>
                  <a:lnTo>
                    <a:pt x="338" y="22"/>
                  </a:lnTo>
                  <a:lnTo>
                    <a:pt x="339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1" y="22"/>
                  </a:lnTo>
                  <a:lnTo>
                    <a:pt x="340" y="22"/>
                  </a:lnTo>
                  <a:lnTo>
                    <a:pt x="340" y="23"/>
                  </a:lnTo>
                  <a:lnTo>
                    <a:pt x="341" y="23"/>
                  </a:lnTo>
                  <a:lnTo>
                    <a:pt x="341" y="22"/>
                  </a:lnTo>
                  <a:lnTo>
                    <a:pt x="341" y="22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3" y="23"/>
                  </a:lnTo>
                  <a:lnTo>
                    <a:pt x="343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5" y="24"/>
                  </a:lnTo>
                  <a:lnTo>
                    <a:pt x="345" y="25"/>
                  </a:lnTo>
                  <a:lnTo>
                    <a:pt x="344" y="25"/>
                  </a:lnTo>
                  <a:lnTo>
                    <a:pt x="345" y="25"/>
                  </a:lnTo>
                  <a:lnTo>
                    <a:pt x="344" y="26"/>
                  </a:lnTo>
                  <a:lnTo>
                    <a:pt x="344" y="26"/>
                  </a:lnTo>
                  <a:lnTo>
                    <a:pt x="343" y="26"/>
                  </a:lnTo>
                  <a:lnTo>
                    <a:pt x="342" y="26"/>
                  </a:lnTo>
                  <a:lnTo>
                    <a:pt x="343" y="26"/>
                  </a:lnTo>
                  <a:lnTo>
                    <a:pt x="344" y="26"/>
                  </a:lnTo>
                  <a:lnTo>
                    <a:pt x="343" y="27"/>
                  </a:lnTo>
                  <a:lnTo>
                    <a:pt x="344" y="27"/>
                  </a:lnTo>
                  <a:lnTo>
                    <a:pt x="343" y="27"/>
                  </a:lnTo>
                  <a:lnTo>
                    <a:pt x="342" y="28"/>
                  </a:lnTo>
                  <a:lnTo>
                    <a:pt x="342" y="28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30"/>
                  </a:lnTo>
                  <a:lnTo>
                    <a:pt x="343" y="30"/>
                  </a:lnTo>
                  <a:lnTo>
                    <a:pt x="342" y="30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4"/>
                  </a:lnTo>
                  <a:lnTo>
                    <a:pt x="342" y="34"/>
                  </a:lnTo>
                  <a:lnTo>
                    <a:pt x="342" y="33"/>
                  </a:lnTo>
                  <a:lnTo>
                    <a:pt x="341" y="33"/>
                  </a:lnTo>
                  <a:lnTo>
                    <a:pt x="341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0" y="34"/>
                  </a:lnTo>
                  <a:lnTo>
                    <a:pt x="339" y="33"/>
                  </a:lnTo>
                  <a:lnTo>
                    <a:pt x="338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7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1" y="35"/>
                  </a:lnTo>
                  <a:lnTo>
                    <a:pt x="342" y="35"/>
                  </a:lnTo>
                  <a:lnTo>
                    <a:pt x="341" y="35"/>
                  </a:lnTo>
                  <a:lnTo>
                    <a:pt x="341" y="35"/>
                  </a:lnTo>
                  <a:lnTo>
                    <a:pt x="340" y="36"/>
                  </a:lnTo>
                  <a:lnTo>
                    <a:pt x="341" y="36"/>
                  </a:lnTo>
                  <a:lnTo>
                    <a:pt x="341" y="36"/>
                  </a:lnTo>
                  <a:lnTo>
                    <a:pt x="342" y="37"/>
                  </a:lnTo>
                  <a:lnTo>
                    <a:pt x="343" y="37"/>
                  </a:lnTo>
                  <a:lnTo>
                    <a:pt x="343" y="37"/>
                  </a:lnTo>
                  <a:lnTo>
                    <a:pt x="343" y="38"/>
                  </a:lnTo>
                  <a:lnTo>
                    <a:pt x="344" y="38"/>
                  </a:lnTo>
                  <a:lnTo>
                    <a:pt x="343" y="38"/>
                  </a:lnTo>
                  <a:lnTo>
                    <a:pt x="344" y="39"/>
                  </a:lnTo>
                  <a:lnTo>
                    <a:pt x="343" y="39"/>
                  </a:lnTo>
                  <a:lnTo>
                    <a:pt x="342" y="39"/>
                  </a:lnTo>
                  <a:lnTo>
                    <a:pt x="342" y="39"/>
                  </a:lnTo>
                  <a:lnTo>
                    <a:pt x="342" y="40"/>
                  </a:lnTo>
                  <a:lnTo>
                    <a:pt x="341" y="40"/>
                  </a:lnTo>
                  <a:lnTo>
                    <a:pt x="341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7" y="41"/>
                  </a:lnTo>
                  <a:lnTo>
                    <a:pt x="337" y="41"/>
                  </a:lnTo>
                  <a:lnTo>
                    <a:pt x="336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4" y="41"/>
                  </a:lnTo>
                  <a:lnTo>
                    <a:pt x="334" y="41"/>
                  </a:lnTo>
                  <a:lnTo>
                    <a:pt x="333" y="41"/>
                  </a:lnTo>
                  <a:lnTo>
                    <a:pt x="332" y="41"/>
                  </a:lnTo>
                  <a:lnTo>
                    <a:pt x="332" y="42"/>
                  </a:lnTo>
                  <a:lnTo>
                    <a:pt x="331" y="42"/>
                  </a:lnTo>
                  <a:lnTo>
                    <a:pt x="331" y="42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8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5" y="41"/>
                  </a:lnTo>
                  <a:lnTo>
                    <a:pt x="325" y="41"/>
                  </a:lnTo>
                  <a:lnTo>
                    <a:pt x="324" y="41"/>
                  </a:lnTo>
                  <a:lnTo>
                    <a:pt x="323" y="41"/>
                  </a:lnTo>
                  <a:lnTo>
                    <a:pt x="323" y="41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2" y="40"/>
                  </a:lnTo>
                  <a:lnTo>
                    <a:pt x="322" y="39"/>
                  </a:lnTo>
                  <a:lnTo>
                    <a:pt x="321" y="39"/>
                  </a:lnTo>
                  <a:lnTo>
                    <a:pt x="321" y="40"/>
                  </a:lnTo>
                  <a:lnTo>
                    <a:pt x="321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7" y="38"/>
                  </a:lnTo>
                  <a:lnTo>
                    <a:pt x="317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6" y="37"/>
                  </a:lnTo>
                  <a:lnTo>
                    <a:pt x="306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8"/>
                  </a:lnTo>
                  <a:lnTo>
                    <a:pt x="304" y="38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3" y="37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1" y="36"/>
                  </a:lnTo>
                  <a:lnTo>
                    <a:pt x="302" y="37"/>
                  </a:lnTo>
                  <a:lnTo>
                    <a:pt x="301" y="37"/>
                  </a:lnTo>
                  <a:lnTo>
                    <a:pt x="301" y="36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2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0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8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3" y="29"/>
                  </a:lnTo>
                  <a:lnTo>
                    <a:pt x="294" y="29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7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2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0" y="31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89" y="29"/>
                  </a:lnTo>
                  <a:lnTo>
                    <a:pt x="289" y="29"/>
                  </a:lnTo>
                  <a:lnTo>
                    <a:pt x="288" y="29"/>
                  </a:lnTo>
                  <a:lnTo>
                    <a:pt x="289" y="29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9"/>
                  </a:lnTo>
                  <a:lnTo>
                    <a:pt x="287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9" y="28"/>
                  </a:lnTo>
                  <a:lnTo>
                    <a:pt x="289" y="29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90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4" y="27"/>
                  </a:lnTo>
                  <a:lnTo>
                    <a:pt x="293" y="28"/>
                  </a:lnTo>
                  <a:lnTo>
                    <a:pt x="293" y="27"/>
                  </a:lnTo>
                  <a:lnTo>
                    <a:pt x="294" y="27"/>
                  </a:lnTo>
                  <a:lnTo>
                    <a:pt x="295" y="27"/>
                  </a:lnTo>
                  <a:lnTo>
                    <a:pt x="295" y="26"/>
                  </a:lnTo>
                  <a:lnTo>
                    <a:pt x="295" y="26"/>
                  </a:lnTo>
                  <a:lnTo>
                    <a:pt x="296" y="26"/>
                  </a:lnTo>
                  <a:lnTo>
                    <a:pt x="296" y="26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8" y="25"/>
                  </a:lnTo>
                  <a:lnTo>
                    <a:pt x="299" y="25"/>
                  </a:lnTo>
                  <a:lnTo>
                    <a:pt x="300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1" y="25"/>
                  </a:lnTo>
                  <a:lnTo>
                    <a:pt x="301" y="24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300" y="22"/>
                  </a:lnTo>
                  <a:lnTo>
                    <a:pt x="300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2" y="22"/>
                  </a:lnTo>
                  <a:lnTo>
                    <a:pt x="302" y="21"/>
                  </a:lnTo>
                  <a:lnTo>
                    <a:pt x="303" y="21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1"/>
                  </a:lnTo>
                  <a:lnTo>
                    <a:pt x="306" y="21"/>
                  </a:lnTo>
                  <a:lnTo>
                    <a:pt x="307" y="21"/>
                  </a:lnTo>
                  <a:lnTo>
                    <a:pt x="307" y="20"/>
                  </a:lnTo>
                  <a:lnTo>
                    <a:pt x="307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09" y="20"/>
                  </a:lnTo>
                  <a:lnTo>
                    <a:pt x="310" y="20"/>
                  </a:lnTo>
                  <a:lnTo>
                    <a:pt x="310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6" y="20"/>
                  </a:lnTo>
                  <a:lnTo>
                    <a:pt x="316" y="20"/>
                  </a:lnTo>
                  <a:lnTo>
                    <a:pt x="317" y="19"/>
                  </a:lnTo>
                  <a:lnTo>
                    <a:pt x="316" y="19"/>
                  </a:lnTo>
                  <a:lnTo>
                    <a:pt x="317" y="19"/>
                  </a:lnTo>
                  <a:lnTo>
                    <a:pt x="317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19"/>
                  </a:lnTo>
                  <a:lnTo>
                    <a:pt x="318" y="20"/>
                  </a:lnTo>
                  <a:lnTo>
                    <a:pt x="319" y="20"/>
                  </a:lnTo>
                  <a:lnTo>
                    <a:pt x="319" y="19"/>
                  </a:lnTo>
                  <a:lnTo>
                    <a:pt x="320" y="19"/>
                  </a:lnTo>
                  <a:lnTo>
                    <a:pt x="320" y="19"/>
                  </a:lnTo>
                  <a:lnTo>
                    <a:pt x="321" y="19"/>
                  </a:lnTo>
                  <a:lnTo>
                    <a:pt x="322" y="19"/>
                  </a:lnTo>
                  <a:lnTo>
                    <a:pt x="322" y="19"/>
                  </a:lnTo>
                  <a:lnTo>
                    <a:pt x="323" y="19"/>
                  </a:lnTo>
                  <a:lnTo>
                    <a:pt x="323" y="19"/>
                  </a:lnTo>
                  <a:lnTo>
                    <a:pt x="324" y="19"/>
                  </a:lnTo>
                  <a:close/>
                  <a:moveTo>
                    <a:pt x="310" y="0"/>
                  </a:moveTo>
                  <a:lnTo>
                    <a:pt x="311" y="1"/>
                  </a:lnTo>
                  <a:lnTo>
                    <a:pt x="311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1" y="1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3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3"/>
                  </a:lnTo>
                  <a:lnTo>
                    <a:pt x="314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6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20" y="6"/>
                  </a:lnTo>
                  <a:lnTo>
                    <a:pt x="320" y="6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5" y="8"/>
                  </a:lnTo>
                  <a:lnTo>
                    <a:pt x="326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8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5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4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1" y="11"/>
                  </a:lnTo>
                  <a:lnTo>
                    <a:pt x="321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2"/>
                  </a:lnTo>
                  <a:lnTo>
                    <a:pt x="321" y="12"/>
                  </a:lnTo>
                  <a:lnTo>
                    <a:pt x="321" y="12"/>
                  </a:lnTo>
                  <a:lnTo>
                    <a:pt x="321" y="13"/>
                  </a:lnTo>
                  <a:lnTo>
                    <a:pt x="320" y="13"/>
                  </a:lnTo>
                  <a:lnTo>
                    <a:pt x="321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2" y="14"/>
                  </a:lnTo>
                  <a:lnTo>
                    <a:pt x="321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4" y="16"/>
                  </a:lnTo>
                  <a:lnTo>
                    <a:pt x="324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2" y="18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1" y="17"/>
                  </a:lnTo>
                  <a:lnTo>
                    <a:pt x="320" y="17"/>
                  </a:lnTo>
                  <a:lnTo>
                    <a:pt x="320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8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5" y="18"/>
                  </a:lnTo>
                  <a:lnTo>
                    <a:pt x="315" y="18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13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1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09" y="18"/>
                  </a:lnTo>
                  <a:lnTo>
                    <a:pt x="308" y="18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7" y="19"/>
                  </a:lnTo>
                  <a:lnTo>
                    <a:pt x="307" y="19"/>
                  </a:lnTo>
                  <a:lnTo>
                    <a:pt x="306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4" y="19"/>
                  </a:lnTo>
                  <a:lnTo>
                    <a:pt x="304" y="19"/>
                  </a:lnTo>
                  <a:lnTo>
                    <a:pt x="303" y="19"/>
                  </a:lnTo>
                  <a:lnTo>
                    <a:pt x="303" y="19"/>
                  </a:lnTo>
                  <a:lnTo>
                    <a:pt x="302" y="20"/>
                  </a:lnTo>
                  <a:lnTo>
                    <a:pt x="301" y="20"/>
                  </a:lnTo>
                  <a:lnTo>
                    <a:pt x="301" y="19"/>
                  </a:lnTo>
                  <a:lnTo>
                    <a:pt x="301" y="19"/>
                  </a:lnTo>
                  <a:lnTo>
                    <a:pt x="300" y="19"/>
                  </a:lnTo>
                  <a:lnTo>
                    <a:pt x="301" y="19"/>
                  </a:lnTo>
                  <a:lnTo>
                    <a:pt x="301" y="20"/>
                  </a:lnTo>
                  <a:lnTo>
                    <a:pt x="300" y="20"/>
                  </a:lnTo>
                  <a:lnTo>
                    <a:pt x="299" y="20"/>
                  </a:lnTo>
                  <a:lnTo>
                    <a:pt x="298" y="20"/>
                  </a:lnTo>
                  <a:lnTo>
                    <a:pt x="297" y="21"/>
                  </a:lnTo>
                  <a:lnTo>
                    <a:pt x="297" y="21"/>
                  </a:lnTo>
                  <a:lnTo>
                    <a:pt x="296" y="21"/>
                  </a:lnTo>
                  <a:lnTo>
                    <a:pt x="296" y="21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5" y="22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5" y="22"/>
                  </a:lnTo>
                  <a:lnTo>
                    <a:pt x="294" y="22"/>
                  </a:lnTo>
                  <a:lnTo>
                    <a:pt x="293" y="22"/>
                  </a:lnTo>
                  <a:lnTo>
                    <a:pt x="293" y="22"/>
                  </a:lnTo>
                  <a:lnTo>
                    <a:pt x="292" y="22"/>
                  </a:lnTo>
                  <a:lnTo>
                    <a:pt x="292" y="21"/>
                  </a:lnTo>
                  <a:lnTo>
                    <a:pt x="292" y="21"/>
                  </a:lnTo>
                  <a:lnTo>
                    <a:pt x="291" y="21"/>
                  </a:lnTo>
                  <a:lnTo>
                    <a:pt x="289" y="20"/>
                  </a:lnTo>
                  <a:lnTo>
                    <a:pt x="289" y="20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2" y="19"/>
                  </a:lnTo>
                  <a:lnTo>
                    <a:pt x="282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18"/>
                  </a:lnTo>
                  <a:lnTo>
                    <a:pt x="283" y="18"/>
                  </a:lnTo>
                  <a:lnTo>
                    <a:pt x="283" y="19"/>
                  </a:lnTo>
                  <a:lnTo>
                    <a:pt x="284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6" y="19"/>
                  </a:lnTo>
                  <a:lnTo>
                    <a:pt x="287" y="19"/>
                  </a:lnTo>
                  <a:lnTo>
                    <a:pt x="288" y="19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6" y="19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4" y="18"/>
                  </a:lnTo>
                  <a:lnTo>
                    <a:pt x="284" y="18"/>
                  </a:lnTo>
                  <a:lnTo>
                    <a:pt x="283" y="18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4" y="17"/>
                  </a:lnTo>
                  <a:lnTo>
                    <a:pt x="284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7" y="16"/>
                  </a:lnTo>
                  <a:lnTo>
                    <a:pt x="288" y="16"/>
                  </a:lnTo>
                  <a:lnTo>
                    <a:pt x="288" y="17"/>
                  </a:lnTo>
                  <a:lnTo>
                    <a:pt x="288" y="17"/>
                  </a:lnTo>
                  <a:lnTo>
                    <a:pt x="289" y="17"/>
                  </a:lnTo>
                  <a:lnTo>
                    <a:pt x="289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2" y="17"/>
                  </a:lnTo>
                  <a:lnTo>
                    <a:pt x="291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89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7" y="16"/>
                  </a:lnTo>
                  <a:lnTo>
                    <a:pt x="286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4" y="17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0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8" y="17"/>
                  </a:lnTo>
                  <a:lnTo>
                    <a:pt x="278" y="17"/>
                  </a:lnTo>
                  <a:lnTo>
                    <a:pt x="277" y="17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76" y="17"/>
                  </a:lnTo>
                  <a:lnTo>
                    <a:pt x="275" y="17"/>
                  </a:lnTo>
                  <a:lnTo>
                    <a:pt x="276" y="17"/>
                  </a:lnTo>
                  <a:lnTo>
                    <a:pt x="277" y="17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8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79" y="16"/>
                  </a:lnTo>
                  <a:lnTo>
                    <a:pt x="280" y="16"/>
                  </a:lnTo>
                  <a:lnTo>
                    <a:pt x="281" y="16"/>
                  </a:lnTo>
                  <a:lnTo>
                    <a:pt x="281" y="16"/>
                  </a:lnTo>
                  <a:lnTo>
                    <a:pt x="282" y="16"/>
                  </a:lnTo>
                  <a:lnTo>
                    <a:pt x="281" y="16"/>
                  </a:lnTo>
                  <a:lnTo>
                    <a:pt x="281" y="15"/>
                  </a:lnTo>
                  <a:lnTo>
                    <a:pt x="280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3" y="15"/>
                  </a:lnTo>
                  <a:lnTo>
                    <a:pt x="284" y="15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5" y="16"/>
                  </a:lnTo>
                  <a:lnTo>
                    <a:pt x="285" y="16"/>
                  </a:lnTo>
                  <a:lnTo>
                    <a:pt x="285" y="15"/>
                  </a:lnTo>
                  <a:lnTo>
                    <a:pt x="284" y="15"/>
                  </a:lnTo>
                  <a:lnTo>
                    <a:pt x="282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80" y="14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2" y="14"/>
                  </a:lnTo>
                  <a:lnTo>
                    <a:pt x="282" y="14"/>
                  </a:lnTo>
                  <a:lnTo>
                    <a:pt x="283" y="14"/>
                  </a:lnTo>
                  <a:lnTo>
                    <a:pt x="284" y="13"/>
                  </a:lnTo>
                  <a:lnTo>
                    <a:pt x="284" y="13"/>
                  </a:lnTo>
                  <a:lnTo>
                    <a:pt x="286" y="13"/>
                  </a:lnTo>
                  <a:lnTo>
                    <a:pt x="286" y="13"/>
                  </a:lnTo>
                  <a:lnTo>
                    <a:pt x="287" y="13"/>
                  </a:lnTo>
                  <a:lnTo>
                    <a:pt x="287" y="13"/>
                  </a:lnTo>
                  <a:lnTo>
                    <a:pt x="287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2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89" y="9"/>
                  </a:lnTo>
                  <a:lnTo>
                    <a:pt x="288" y="9"/>
                  </a:lnTo>
                  <a:lnTo>
                    <a:pt x="287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4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8" y="8"/>
                  </a:lnTo>
                  <a:lnTo>
                    <a:pt x="287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9" y="7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89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6" y="5"/>
                  </a:lnTo>
                  <a:lnTo>
                    <a:pt x="296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8" y="4"/>
                  </a:lnTo>
                  <a:lnTo>
                    <a:pt x="298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300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2" y="4"/>
                  </a:lnTo>
                  <a:lnTo>
                    <a:pt x="303" y="3"/>
                  </a:lnTo>
                  <a:lnTo>
                    <a:pt x="303" y="3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6" y="2"/>
                  </a:lnTo>
                  <a:lnTo>
                    <a:pt x="307" y="1"/>
                  </a:lnTo>
                  <a:lnTo>
                    <a:pt x="307" y="2"/>
                  </a:lnTo>
                  <a:lnTo>
                    <a:pt x="308" y="2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1"/>
                  </a:lnTo>
                  <a:lnTo>
                    <a:pt x="310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7" y="1"/>
                  </a:lnTo>
                  <a:lnTo>
                    <a:pt x="307" y="1"/>
                  </a:lnTo>
                  <a:lnTo>
                    <a:pt x="306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4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6" y="1"/>
                  </a:lnTo>
                  <a:lnTo>
                    <a:pt x="307" y="0"/>
                  </a:lnTo>
                  <a:lnTo>
                    <a:pt x="307" y="0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close/>
                  <a:moveTo>
                    <a:pt x="63" y="271"/>
                  </a:moveTo>
                  <a:lnTo>
                    <a:pt x="63" y="272"/>
                  </a:lnTo>
                  <a:lnTo>
                    <a:pt x="63" y="271"/>
                  </a:lnTo>
                  <a:close/>
                  <a:moveTo>
                    <a:pt x="63" y="271"/>
                  </a:moveTo>
                  <a:lnTo>
                    <a:pt x="63" y="270"/>
                  </a:lnTo>
                  <a:lnTo>
                    <a:pt x="63" y="271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6" y="260"/>
                  </a:moveTo>
                  <a:lnTo>
                    <a:pt x="67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7" y="260"/>
                  </a:moveTo>
                  <a:lnTo>
                    <a:pt x="66" y="260"/>
                  </a:lnTo>
                  <a:lnTo>
                    <a:pt x="67" y="260"/>
                  </a:lnTo>
                  <a:close/>
                  <a:moveTo>
                    <a:pt x="72" y="256"/>
                  </a:moveTo>
                  <a:lnTo>
                    <a:pt x="71" y="256"/>
                  </a:lnTo>
                  <a:lnTo>
                    <a:pt x="72" y="256"/>
                  </a:lnTo>
                  <a:close/>
                  <a:moveTo>
                    <a:pt x="66" y="252"/>
                  </a:moveTo>
                  <a:lnTo>
                    <a:pt x="65" y="252"/>
                  </a:lnTo>
                  <a:lnTo>
                    <a:pt x="66" y="252"/>
                  </a:lnTo>
                  <a:close/>
                  <a:moveTo>
                    <a:pt x="66" y="251"/>
                  </a:moveTo>
                  <a:lnTo>
                    <a:pt x="66" y="252"/>
                  </a:lnTo>
                  <a:lnTo>
                    <a:pt x="66" y="251"/>
                  </a:lnTo>
                  <a:close/>
                  <a:moveTo>
                    <a:pt x="63" y="249"/>
                  </a:moveTo>
                  <a:lnTo>
                    <a:pt x="64" y="249"/>
                  </a:lnTo>
                  <a:lnTo>
                    <a:pt x="63" y="249"/>
                  </a:lnTo>
                  <a:close/>
                  <a:moveTo>
                    <a:pt x="133" y="244"/>
                  </a:move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close/>
                  <a:moveTo>
                    <a:pt x="131" y="244"/>
                  </a:moveTo>
                  <a:lnTo>
                    <a:pt x="130" y="243"/>
                  </a:lnTo>
                  <a:lnTo>
                    <a:pt x="131" y="243"/>
                  </a:lnTo>
                  <a:lnTo>
                    <a:pt x="131" y="244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4" y="242"/>
                  </a:moveTo>
                  <a:lnTo>
                    <a:pt x="65" y="242"/>
                  </a:lnTo>
                  <a:lnTo>
                    <a:pt x="64" y="242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5" y="241"/>
                  </a:moveTo>
                  <a:lnTo>
                    <a:pt x="65" y="242"/>
                  </a:lnTo>
                  <a:lnTo>
                    <a:pt x="65" y="241"/>
                  </a:lnTo>
                  <a:close/>
                  <a:moveTo>
                    <a:pt x="64" y="241"/>
                  </a:moveTo>
                  <a:lnTo>
                    <a:pt x="65" y="241"/>
                  </a:lnTo>
                  <a:lnTo>
                    <a:pt x="64" y="241"/>
                  </a:lnTo>
                  <a:close/>
                  <a:moveTo>
                    <a:pt x="125" y="238"/>
                  </a:move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close/>
                  <a:moveTo>
                    <a:pt x="63" y="237"/>
                  </a:move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close/>
                  <a:moveTo>
                    <a:pt x="64" y="237"/>
                  </a:move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496" y="125"/>
                  </a:moveTo>
                  <a:lnTo>
                    <a:pt x="496" y="125"/>
                  </a:lnTo>
                  <a:lnTo>
                    <a:pt x="496" y="125"/>
                  </a:lnTo>
                  <a:close/>
                  <a:moveTo>
                    <a:pt x="271" y="120"/>
                  </a:moveTo>
                  <a:lnTo>
                    <a:pt x="270" y="120"/>
                  </a:lnTo>
                  <a:lnTo>
                    <a:pt x="270" y="119"/>
                  </a:lnTo>
                  <a:lnTo>
                    <a:pt x="271" y="119"/>
                  </a:lnTo>
                  <a:lnTo>
                    <a:pt x="271" y="120"/>
                  </a:lnTo>
                  <a:lnTo>
                    <a:pt x="270" y="120"/>
                  </a:lnTo>
                  <a:lnTo>
                    <a:pt x="271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9" name="Freeform 95"/>
            <p:cNvSpPr>
              <a:spLocks noEditPoints="1"/>
            </p:cNvSpPr>
            <p:nvPr/>
          </p:nvSpPr>
          <p:spPr bwMode="auto">
            <a:xfrm>
              <a:off x="6248665" y="3059024"/>
              <a:ext cx="195799" cy="267299"/>
            </a:xfrm>
            <a:custGeom>
              <a:avLst/>
              <a:gdLst>
                <a:gd name="T0" fmla="*/ 26 w 150"/>
                <a:gd name="T1" fmla="*/ 189 h 194"/>
                <a:gd name="T2" fmla="*/ 25 w 150"/>
                <a:gd name="T3" fmla="*/ 190 h 194"/>
                <a:gd name="T4" fmla="*/ 24 w 150"/>
                <a:gd name="T5" fmla="*/ 191 h 194"/>
                <a:gd name="T6" fmla="*/ 23 w 150"/>
                <a:gd name="T7" fmla="*/ 192 h 194"/>
                <a:gd name="T8" fmla="*/ 18 w 150"/>
                <a:gd name="T9" fmla="*/ 193 h 194"/>
                <a:gd name="T10" fmla="*/ 16 w 150"/>
                <a:gd name="T11" fmla="*/ 193 h 194"/>
                <a:gd name="T12" fmla="*/ 15 w 150"/>
                <a:gd name="T13" fmla="*/ 193 h 194"/>
                <a:gd name="T14" fmla="*/ 12 w 150"/>
                <a:gd name="T15" fmla="*/ 191 h 194"/>
                <a:gd name="T16" fmla="*/ 13 w 150"/>
                <a:gd name="T17" fmla="*/ 193 h 194"/>
                <a:gd name="T18" fmla="*/ 13 w 150"/>
                <a:gd name="T19" fmla="*/ 186 h 194"/>
                <a:gd name="T20" fmla="*/ 19 w 150"/>
                <a:gd name="T21" fmla="*/ 182 h 194"/>
                <a:gd name="T22" fmla="*/ 25 w 150"/>
                <a:gd name="T23" fmla="*/ 185 h 194"/>
                <a:gd name="T24" fmla="*/ 27 w 150"/>
                <a:gd name="T25" fmla="*/ 189 h 194"/>
                <a:gd name="T26" fmla="*/ 27 w 150"/>
                <a:gd name="T27" fmla="*/ 188 h 194"/>
                <a:gd name="T28" fmla="*/ 104 w 150"/>
                <a:gd name="T29" fmla="*/ 173 h 194"/>
                <a:gd name="T30" fmla="*/ 110 w 150"/>
                <a:gd name="T31" fmla="*/ 176 h 194"/>
                <a:gd name="T32" fmla="*/ 108 w 150"/>
                <a:gd name="T33" fmla="*/ 179 h 194"/>
                <a:gd name="T34" fmla="*/ 104 w 150"/>
                <a:gd name="T35" fmla="*/ 178 h 194"/>
                <a:gd name="T36" fmla="*/ 99 w 150"/>
                <a:gd name="T37" fmla="*/ 176 h 194"/>
                <a:gd name="T38" fmla="*/ 96 w 150"/>
                <a:gd name="T39" fmla="*/ 175 h 194"/>
                <a:gd name="T40" fmla="*/ 94 w 150"/>
                <a:gd name="T41" fmla="*/ 173 h 194"/>
                <a:gd name="T42" fmla="*/ 94 w 150"/>
                <a:gd name="T43" fmla="*/ 172 h 194"/>
                <a:gd name="T44" fmla="*/ 96 w 150"/>
                <a:gd name="T45" fmla="*/ 171 h 194"/>
                <a:gd name="T46" fmla="*/ 99 w 150"/>
                <a:gd name="T47" fmla="*/ 169 h 194"/>
                <a:gd name="T48" fmla="*/ 124 w 150"/>
                <a:gd name="T49" fmla="*/ 8 h 194"/>
                <a:gd name="T50" fmla="*/ 120 w 150"/>
                <a:gd name="T51" fmla="*/ 12 h 194"/>
                <a:gd name="T52" fmla="*/ 112 w 150"/>
                <a:gd name="T53" fmla="*/ 14 h 194"/>
                <a:gd name="T54" fmla="*/ 103 w 150"/>
                <a:gd name="T55" fmla="*/ 14 h 194"/>
                <a:gd name="T56" fmla="*/ 102 w 150"/>
                <a:gd name="T57" fmla="*/ 9 h 194"/>
                <a:gd name="T58" fmla="*/ 106 w 150"/>
                <a:gd name="T59" fmla="*/ 7 h 194"/>
                <a:gd name="T60" fmla="*/ 109 w 150"/>
                <a:gd name="T61" fmla="*/ 8 h 194"/>
                <a:gd name="T62" fmla="*/ 119 w 150"/>
                <a:gd name="T63" fmla="*/ 7 h 194"/>
                <a:gd name="T64" fmla="*/ 30 w 150"/>
                <a:gd name="T65" fmla="*/ 7 h 194"/>
                <a:gd name="T66" fmla="*/ 30 w 150"/>
                <a:gd name="T67" fmla="*/ 8 h 194"/>
                <a:gd name="T68" fmla="*/ 37 w 150"/>
                <a:gd name="T69" fmla="*/ 7 h 194"/>
                <a:gd name="T70" fmla="*/ 37 w 150"/>
                <a:gd name="T71" fmla="*/ 10 h 194"/>
                <a:gd name="T72" fmla="*/ 27 w 150"/>
                <a:gd name="T73" fmla="*/ 12 h 194"/>
                <a:gd name="T74" fmla="*/ 23 w 150"/>
                <a:gd name="T75" fmla="*/ 15 h 194"/>
                <a:gd name="T76" fmla="*/ 16 w 150"/>
                <a:gd name="T77" fmla="*/ 15 h 194"/>
                <a:gd name="T78" fmla="*/ 18 w 150"/>
                <a:gd name="T79" fmla="*/ 16 h 194"/>
                <a:gd name="T80" fmla="*/ 16 w 150"/>
                <a:gd name="T81" fmla="*/ 18 h 194"/>
                <a:gd name="T82" fmla="*/ 11 w 150"/>
                <a:gd name="T83" fmla="*/ 19 h 194"/>
                <a:gd name="T84" fmla="*/ 12 w 150"/>
                <a:gd name="T85" fmla="*/ 17 h 194"/>
                <a:gd name="T86" fmla="*/ 6 w 150"/>
                <a:gd name="T87" fmla="*/ 16 h 194"/>
                <a:gd name="T88" fmla="*/ 2 w 150"/>
                <a:gd name="T89" fmla="*/ 16 h 194"/>
                <a:gd name="T90" fmla="*/ 5 w 150"/>
                <a:gd name="T91" fmla="*/ 15 h 194"/>
                <a:gd name="T92" fmla="*/ 12 w 150"/>
                <a:gd name="T93" fmla="*/ 15 h 194"/>
                <a:gd name="T94" fmla="*/ 12 w 150"/>
                <a:gd name="T95" fmla="*/ 14 h 194"/>
                <a:gd name="T96" fmla="*/ 6 w 150"/>
                <a:gd name="T97" fmla="*/ 12 h 194"/>
                <a:gd name="T98" fmla="*/ 16 w 150"/>
                <a:gd name="T99" fmla="*/ 12 h 194"/>
                <a:gd name="T100" fmla="*/ 20 w 150"/>
                <a:gd name="T101" fmla="*/ 11 h 194"/>
                <a:gd name="T102" fmla="*/ 23 w 150"/>
                <a:gd name="T103" fmla="*/ 9 h 194"/>
                <a:gd name="T104" fmla="*/ 20 w 150"/>
                <a:gd name="T105" fmla="*/ 8 h 194"/>
                <a:gd name="T106" fmla="*/ 22 w 150"/>
                <a:gd name="T107" fmla="*/ 7 h 194"/>
                <a:gd name="T108" fmla="*/ 30 w 150"/>
                <a:gd name="T109" fmla="*/ 5 h 194"/>
                <a:gd name="T110" fmla="*/ 28 w 150"/>
                <a:gd name="T111" fmla="*/ 6 h 194"/>
                <a:gd name="T112" fmla="*/ 145 w 150"/>
                <a:gd name="T113" fmla="*/ 1 h 194"/>
                <a:gd name="T114" fmla="*/ 149 w 150"/>
                <a:gd name="T115" fmla="*/ 4 h 194"/>
                <a:gd name="T116" fmla="*/ 145 w 150"/>
                <a:gd name="T117" fmla="*/ 8 h 194"/>
                <a:gd name="T118" fmla="*/ 136 w 150"/>
                <a:gd name="T119" fmla="*/ 9 h 194"/>
                <a:gd name="T120" fmla="*/ 129 w 150"/>
                <a:gd name="T121" fmla="*/ 8 h 194"/>
                <a:gd name="T122" fmla="*/ 132 w 150"/>
                <a:gd name="T123" fmla="*/ 4 h 194"/>
                <a:gd name="T124" fmla="*/ 140 w 150"/>
                <a:gd name="T125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194">
                  <a:moveTo>
                    <a:pt x="27" y="188"/>
                  </a:move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1"/>
                  </a:lnTo>
                  <a:lnTo>
                    <a:pt x="24" y="190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1" y="192"/>
                  </a:lnTo>
                  <a:lnTo>
                    <a:pt x="20" y="192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19" y="193"/>
                  </a:lnTo>
                  <a:lnTo>
                    <a:pt x="19" y="193"/>
                  </a:lnTo>
                  <a:lnTo>
                    <a:pt x="18" y="193"/>
                  </a:lnTo>
                  <a:lnTo>
                    <a:pt x="18" y="193"/>
                  </a:lnTo>
                  <a:lnTo>
                    <a:pt x="17" y="193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8" y="194"/>
                  </a:lnTo>
                  <a:lnTo>
                    <a:pt x="17" y="194"/>
                  </a:lnTo>
                  <a:lnTo>
                    <a:pt x="16" y="193"/>
                  </a:lnTo>
                  <a:lnTo>
                    <a:pt x="17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3" y="192"/>
                  </a:lnTo>
                  <a:lnTo>
                    <a:pt x="13" y="191"/>
                  </a:lnTo>
                  <a:lnTo>
                    <a:pt x="12" y="191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0"/>
                  </a:lnTo>
                  <a:lnTo>
                    <a:pt x="12" y="189"/>
                  </a:lnTo>
                  <a:lnTo>
                    <a:pt x="12" y="189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7"/>
                  </a:lnTo>
                  <a:lnTo>
                    <a:pt x="13" y="186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4" y="185"/>
                  </a:lnTo>
                  <a:lnTo>
                    <a:pt x="14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7" y="183"/>
                  </a:lnTo>
                  <a:lnTo>
                    <a:pt x="17" y="183"/>
                  </a:lnTo>
                  <a:lnTo>
                    <a:pt x="18" y="183"/>
                  </a:lnTo>
                  <a:lnTo>
                    <a:pt x="18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9" y="182"/>
                  </a:lnTo>
                  <a:lnTo>
                    <a:pt x="20" y="182"/>
                  </a:lnTo>
                  <a:lnTo>
                    <a:pt x="20" y="183"/>
                  </a:lnTo>
                  <a:lnTo>
                    <a:pt x="20" y="182"/>
                  </a:lnTo>
                  <a:lnTo>
                    <a:pt x="21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3" y="183"/>
                  </a:lnTo>
                  <a:lnTo>
                    <a:pt x="23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5" y="184"/>
                  </a:lnTo>
                  <a:lnTo>
                    <a:pt x="25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7" y="185"/>
                  </a:lnTo>
                  <a:lnTo>
                    <a:pt x="27" y="185"/>
                  </a:lnTo>
                  <a:lnTo>
                    <a:pt x="27" y="186"/>
                  </a:lnTo>
                  <a:lnTo>
                    <a:pt x="28" y="186"/>
                  </a:lnTo>
                  <a:lnTo>
                    <a:pt x="28" y="187"/>
                  </a:lnTo>
                  <a:lnTo>
                    <a:pt x="28" y="187"/>
                  </a:lnTo>
                  <a:lnTo>
                    <a:pt x="29" y="187"/>
                  </a:lnTo>
                  <a:lnTo>
                    <a:pt x="29" y="188"/>
                  </a:lnTo>
                  <a:lnTo>
                    <a:pt x="29" y="188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7" y="188"/>
                  </a:lnTo>
                  <a:lnTo>
                    <a:pt x="28" y="188"/>
                  </a:lnTo>
                  <a:lnTo>
                    <a:pt x="27" y="188"/>
                  </a:lnTo>
                  <a:close/>
                  <a:moveTo>
                    <a:pt x="100" y="169"/>
                  </a:moveTo>
                  <a:lnTo>
                    <a:pt x="99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102" y="171"/>
                  </a:lnTo>
                  <a:lnTo>
                    <a:pt x="103" y="171"/>
                  </a:lnTo>
                  <a:lnTo>
                    <a:pt x="103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6" y="173"/>
                  </a:lnTo>
                  <a:lnTo>
                    <a:pt x="106" y="174"/>
                  </a:lnTo>
                  <a:lnTo>
                    <a:pt x="106" y="174"/>
                  </a:lnTo>
                  <a:lnTo>
                    <a:pt x="107" y="174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75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1" y="177"/>
                  </a:lnTo>
                  <a:lnTo>
                    <a:pt x="111" y="178"/>
                  </a:lnTo>
                  <a:lnTo>
                    <a:pt x="110" y="178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09" y="179"/>
                  </a:lnTo>
                  <a:lnTo>
                    <a:pt x="109" y="180"/>
                  </a:lnTo>
                  <a:lnTo>
                    <a:pt x="109" y="180"/>
                  </a:lnTo>
                  <a:lnTo>
                    <a:pt x="108" y="180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7" y="180"/>
                  </a:lnTo>
                  <a:lnTo>
                    <a:pt x="106" y="179"/>
                  </a:lnTo>
                  <a:lnTo>
                    <a:pt x="106" y="180"/>
                  </a:lnTo>
                  <a:lnTo>
                    <a:pt x="106" y="180"/>
                  </a:lnTo>
                  <a:lnTo>
                    <a:pt x="105" y="180"/>
                  </a:lnTo>
                  <a:lnTo>
                    <a:pt x="105" y="180"/>
                  </a:lnTo>
                  <a:lnTo>
                    <a:pt x="105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6"/>
                  </a:lnTo>
                  <a:lnTo>
                    <a:pt x="100" y="176"/>
                  </a:lnTo>
                  <a:lnTo>
                    <a:pt x="100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8" y="176"/>
                  </a:lnTo>
                  <a:lnTo>
                    <a:pt x="99" y="176"/>
                  </a:lnTo>
                  <a:lnTo>
                    <a:pt x="100" y="176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6" y="175"/>
                  </a:lnTo>
                  <a:lnTo>
                    <a:pt x="96" y="174"/>
                  </a:lnTo>
                  <a:lnTo>
                    <a:pt x="95" y="174"/>
                  </a:lnTo>
                  <a:lnTo>
                    <a:pt x="95" y="173"/>
                  </a:lnTo>
                  <a:lnTo>
                    <a:pt x="96" y="174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6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1"/>
                  </a:lnTo>
                  <a:lnTo>
                    <a:pt x="96" y="171"/>
                  </a:lnTo>
                  <a:lnTo>
                    <a:pt x="95" y="171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7" y="170"/>
                  </a:lnTo>
                  <a:lnTo>
                    <a:pt x="97" y="170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100" y="169"/>
                  </a:lnTo>
                  <a:close/>
                  <a:moveTo>
                    <a:pt x="121" y="6"/>
                  </a:move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9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3" y="10"/>
                  </a:lnTo>
                  <a:lnTo>
                    <a:pt x="123" y="11"/>
                  </a:lnTo>
                  <a:lnTo>
                    <a:pt x="124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2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0" y="11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6" y="14"/>
                  </a:lnTo>
                  <a:lnTo>
                    <a:pt x="116" y="15"/>
                  </a:lnTo>
                  <a:lnTo>
                    <a:pt x="115" y="14"/>
                  </a:lnTo>
                  <a:lnTo>
                    <a:pt x="114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0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7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5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3" y="14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9"/>
                  </a:lnTo>
                  <a:lnTo>
                    <a:pt x="103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4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6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8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6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21" y="6"/>
                  </a:lnTo>
                  <a:lnTo>
                    <a:pt x="121" y="6"/>
                  </a:lnTo>
                  <a:close/>
                  <a:moveTo>
                    <a:pt x="34" y="6"/>
                  </a:moveTo>
                  <a:lnTo>
                    <a:pt x="34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close/>
                  <a:moveTo>
                    <a:pt x="144" y="0"/>
                  </a:moveTo>
                  <a:lnTo>
                    <a:pt x="145" y="1"/>
                  </a:lnTo>
                  <a:lnTo>
                    <a:pt x="145" y="1"/>
                  </a:lnTo>
                  <a:lnTo>
                    <a:pt x="146" y="1"/>
                  </a:lnTo>
                  <a:lnTo>
                    <a:pt x="146" y="1"/>
                  </a:lnTo>
                  <a:lnTo>
                    <a:pt x="147" y="1"/>
                  </a:lnTo>
                  <a:lnTo>
                    <a:pt x="147" y="1"/>
                  </a:lnTo>
                  <a:lnTo>
                    <a:pt x="148" y="1"/>
                  </a:lnTo>
                  <a:lnTo>
                    <a:pt x="149" y="1"/>
                  </a:lnTo>
                  <a:lnTo>
                    <a:pt x="149" y="1"/>
                  </a:lnTo>
                  <a:lnTo>
                    <a:pt x="149" y="2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0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50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6"/>
                  </a:lnTo>
                  <a:lnTo>
                    <a:pt x="149" y="7"/>
                  </a:lnTo>
                  <a:lnTo>
                    <a:pt x="148" y="7"/>
                  </a:lnTo>
                  <a:lnTo>
                    <a:pt x="147" y="7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4" y="8"/>
                  </a:lnTo>
                  <a:lnTo>
                    <a:pt x="143" y="8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0" y="9"/>
                  </a:lnTo>
                  <a:lnTo>
                    <a:pt x="139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7" y="10"/>
                  </a:lnTo>
                  <a:lnTo>
                    <a:pt x="136" y="10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5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9"/>
                  </a:lnTo>
                  <a:lnTo>
                    <a:pt x="129" y="8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7" y="8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8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30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4"/>
                  </a:lnTo>
                  <a:lnTo>
                    <a:pt x="133" y="5"/>
                  </a:lnTo>
                  <a:lnTo>
                    <a:pt x="133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5" y="4"/>
                  </a:lnTo>
                  <a:lnTo>
                    <a:pt x="135" y="4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1" y="4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2"/>
                  </a:lnTo>
                  <a:lnTo>
                    <a:pt x="141" y="2"/>
                  </a:lnTo>
                  <a:lnTo>
                    <a:pt x="141" y="1"/>
                  </a:lnTo>
                  <a:lnTo>
                    <a:pt x="141" y="1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0" name="Freeform 96"/>
            <p:cNvSpPr>
              <a:spLocks noEditPoints="1"/>
            </p:cNvSpPr>
            <p:nvPr/>
          </p:nvSpPr>
          <p:spPr bwMode="auto">
            <a:xfrm>
              <a:off x="6230390" y="3043868"/>
              <a:ext cx="197104" cy="235609"/>
            </a:xfrm>
            <a:custGeom>
              <a:avLst/>
              <a:gdLst>
                <a:gd name="T0" fmla="*/ 64 w 151"/>
                <a:gd name="T1" fmla="*/ 170 h 171"/>
                <a:gd name="T2" fmla="*/ 61 w 151"/>
                <a:gd name="T3" fmla="*/ 168 h 171"/>
                <a:gd name="T4" fmla="*/ 62 w 151"/>
                <a:gd name="T5" fmla="*/ 166 h 171"/>
                <a:gd name="T6" fmla="*/ 65 w 151"/>
                <a:gd name="T7" fmla="*/ 167 h 171"/>
                <a:gd name="T8" fmla="*/ 63 w 151"/>
                <a:gd name="T9" fmla="*/ 167 h 171"/>
                <a:gd name="T10" fmla="*/ 116 w 151"/>
                <a:gd name="T11" fmla="*/ 33 h 171"/>
                <a:gd name="T12" fmla="*/ 51 w 151"/>
                <a:gd name="T13" fmla="*/ 30 h 171"/>
                <a:gd name="T14" fmla="*/ 44 w 151"/>
                <a:gd name="T15" fmla="*/ 33 h 171"/>
                <a:gd name="T16" fmla="*/ 42 w 151"/>
                <a:gd name="T17" fmla="*/ 29 h 171"/>
                <a:gd name="T18" fmla="*/ 38 w 151"/>
                <a:gd name="T19" fmla="*/ 28 h 171"/>
                <a:gd name="T20" fmla="*/ 97 w 151"/>
                <a:gd name="T21" fmla="*/ 30 h 171"/>
                <a:gd name="T22" fmla="*/ 90 w 151"/>
                <a:gd name="T23" fmla="*/ 29 h 171"/>
                <a:gd name="T24" fmla="*/ 97 w 151"/>
                <a:gd name="T25" fmla="*/ 26 h 171"/>
                <a:gd name="T26" fmla="*/ 70 w 151"/>
                <a:gd name="T27" fmla="*/ 28 h 171"/>
                <a:gd name="T28" fmla="*/ 59 w 151"/>
                <a:gd name="T29" fmla="*/ 28 h 171"/>
                <a:gd name="T30" fmla="*/ 63 w 151"/>
                <a:gd name="T31" fmla="*/ 26 h 171"/>
                <a:gd name="T32" fmla="*/ 115 w 151"/>
                <a:gd name="T33" fmla="*/ 26 h 171"/>
                <a:gd name="T34" fmla="*/ 108 w 151"/>
                <a:gd name="T35" fmla="*/ 28 h 171"/>
                <a:gd name="T36" fmla="*/ 104 w 151"/>
                <a:gd name="T37" fmla="*/ 30 h 171"/>
                <a:gd name="T38" fmla="*/ 99 w 151"/>
                <a:gd name="T39" fmla="*/ 24 h 171"/>
                <a:gd name="T40" fmla="*/ 76 w 151"/>
                <a:gd name="T41" fmla="*/ 23 h 171"/>
                <a:gd name="T42" fmla="*/ 72 w 151"/>
                <a:gd name="T43" fmla="*/ 23 h 171"/>
                <a:gd name="T44" fmla="*/ 101 w 151"/>
                <a:gd name="T45" fmla="*/ 21 h 171"/>
                <a:gd name="T46" fmla="*/ 92 w 151"/>
                <a:gd name="T47" fmla="*/ 22 h 171"/>
                <a:gd name="T48" fmla="*/ 85 w 151"/>
                <a:gd name="T49" fmla="*/ 20 h 171"/>
                <a:gd name="T50" fmla="*/ 26 w 151"/>
                <a:gd name="T51" fmla="*/ 18 h 171"/>
                <a:gd name="T52" fmla="*/ 27 w 151"/>
                <a:gd name="T53" fmla="*/ 21 h 171"/>
                <a:gd name="T54" fmla="*/ 19 w 151"/>
                <a:gd name="T55" fmla="*/ 20 h 171"/>
                <a:gd name="T56" fmla="*/ 13 w 151"/>
                <a:gd name="T57" fmla="*/ 22 h 171"/>
                <a:gd name="T58" fmla="*/ 5 w 151"/>
                <a:gd name="T59" fmla="*/ 23 h 171"/>
                <a:gd name="T60" fmla="*/ 12 w 151"/>
                <a:gd name="T61" fmla="*/ 20 h 171"/>
                <a:gd name="T62" fmla="*/ 20 w 151"/>
                <a:gd name="T63" fmla="*/ 17 h 171"/>
                <a:gd name="T64" fmla="*/ 83 w 151"/>
                <a:gd name="T65" fmla="*/ 19 h 171"/>
                <a:gd name="T66" fmla="*/ 74 w 151"/>
                <a:gd name="T67" fmla="*/ 17 h 171"/>
                <a:gd name="T68" fmla="*/ 111 w 151"/>
                <a:gd name="T69" fmla="*/ 19 h 171"/>
                <a:gd name="T70" fmla="*/ 111 w 151"/>
                <a:gd name="T71" fmla="*/ 17 h 171"/>
                <a:gd name="T72" fmla="*/ 105 w 151"/>
                <a:gd name="T73" fmla="*/ 15 h 171"/>
                <a:gd name="T74" fmla="*/ 86 w 151"/>
                <a:gd name="T75" fmla="*/ 15 h 171"/>
                <a:gd name="T76" fmla="*/ 97 w 151"/>
                <a:gd name="T77" fmla="*/ 17 h 171"/>
                <a:gd name="T78" fmla="*/ 97 w 151"/>
                <a:gd name="T79" fmla="*/ 20 h 171"/>
                <a:gd name="T80" fmla="*/ 88 w 151"/>
                <a:gd name="T81" fmla="*/ 17 h 171"/>
                <a:gd name="T82" fmla="*/ 77 w 151"/>
                <a:gd name="T83" fmla="*/ 15 h 171"/>
                <a:gd name="T84" fmla="*/ 98 w 151"/>
                <a:gd name="T85" fmla="*/ 14 h 171"/>
                <a:gd name="T86" fmla="*/ 107 w 151"/>
                <a:gd name="T87" fmla="*/ 16 h 171"/>
                <a:gd name="T88" fmla="*/ 96 w 151"/>
                <a:gd name="T89" fmla="*/ 15 h 171"/>
                <a:gd name="T90" fmla="*/ 134 w 151"/>
                <a:gd name="T91" fmla="*/ 13 h 171"/>
                <a:gd name="T92" fmla="*/ 123 w 151"/>
                <a:gd name="T93" fmla="*/ 16 h 171"/>
                <a:gd name="T94" fmla="*/ 47 w 151"/>
                <a:gd name="T95" fmla="*/ 12 h 171"/>
                <a:gd name="T96" fmla="*/ 43 w 151"/>
                <a:gd name="T97" fmla="*/ 12 h 171"/>
                <a:gd name="T98" fmla="*/ 101 w 151"/>
                <a:gd name="T99" fmla="*/ 13 h 171"/>
                <a:gd name="T100" fmla="*/ 104 w 151"/>
                <a:gd name="T101" fmla="*/ 11 h 171"/>
                <a:gd name="T102" fmla="*/ 102 w 151"/>
                <a:gd name="T103" fmla="*/ 10 h 171"/>
                <a:gd name="T104" fmla="*/ 94 w 151"/>
                <a:gd name="T105" fmla="*/ 12 h 171"/>
                <a:gd name="T106" fmla="*/ 85 w 151"/>
                <a:gd name="T107" fmla="*/ 11 h 171"/>
                <a:gd name="T108" fmla="*/ 92 w 151"/>
                <a:gd name="T109" fmla="*/ 10 h 171"/>
                <a:gd name="T110" fmla="*/ 115 w 151"/>
                <a:gd name="T111" fmla="*/ 8 h 171"/>
                <a:gd name="T112" fmla="*/ 103 w 151"/>
                <a:gd name="T113" fmla="*/ 5 h 171"/>
                <a:gd name="T114" fmla="*/ 101 w 151"/>
                <a:gd name="T115" fmla="*/ 8 h 171"/>
                <a:gd name="T116" fmla="*/ 97 w 151"/>
                <a:gd name="T117" fmla="*/ 6 h 171"/>
                <a:gd name="T118" fmla="*/ 148 w 151"/>
                <a:gd name="T119" fmla="*/ 5 h 171"/>
                <a:gd name="T120" fmla="*/ 144 w 151"/>
                <a:gd name="T121" fmla="*/ 3 h 171"/>
                <a:gd name="T122" fmla="*/ 113 w 151"/>
                <a:gd name="T123" fmla="*/ 3 h 171"/>
                <a:gd name="T124" fmla="*/ 105 w 151"/>
                <a:gd name="T125" fmla="*/ 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71">
                  <a:moveTo>
                    <a:pt x="66" y="168"/>
                  </a:moveTo>
                  <a:lnTo>
                    <a:pt x="66" y="168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7" y="169"/>
                  </a:lnTo>
                  <a:lnTo>
                    <a:pt x="66" y="169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5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69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1" y="167"/>
                  </a:lnTo>
                  <a:lnTo>
                    <a:pt x="61" y="168"/>
                  </a:lnTo>
                  <a:lnTo>
                    <a:pt x="60" y="168"/>
                  </a:lnTo>
                  <a:lnTo>
                    <a:pt x="60" y="168"/>
                  </a:lnTo>
                  <a:lnTo>
                    <a:pt x="59" y="168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6"/>
                  </a:lnTo>
                  <a:lnTo>
                    <a:pt x="59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7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5" y="168"/>
                  </a:lnTo>
                  <a:lnTo>
                    <a:pt x="66" y="168"/>
                  </a:lnTo>
                  <a:close/>
                  <a:moveTo>
                    <a:pt x="116" y="30"/>
                  </a:moveTo>
                  <a:lnTo>
                    <a:pt x="117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9" y="30"/>
                  </a:lnTo>
                  <a:lnTo>
                    <a:pt x="119" y="30"/>
                  </a:lnTo>
                  <a:lnTo>
                    <a:pt x="120" y="31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8" y="32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7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3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1" y="32"/>
                  </a:lnTo>
                  <a:lnTo>
                    <a:pt x="111" y="31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3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close/>
                  <a:moveTo>
                    <a:pt x="51" y="30"/>
                  </a:moveTo>
                  <a:lnTo>
                    <a:pt x="51" y="30"/>
                  </a:lnTo>
                  <a:lnTo>
                    <a:pt x="51" y="31"/>
                  </a:lnTo>
                  <a:lnTo>
                    <a:pt x="51" y="32"/>
                  </a:lnTo>
                  <a:lnTo>
                    <a:pt x="50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2" y="32"/>
                  </a:lnTo>
                  <a:lnTo>
                    <a:pt x="51" y="32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49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0"/>
                  </a:lnTo>
                  <a:lnTo>
                    <a:pt x="47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50" y="30"/>
                  </a:lnTo>
                  <a:lnTo>
                    <a:pt x="51" y="30"/>
                  </a:lnTo>
                  <a:close/>
                  <a:moveTo>
                    <a:pt x="43" y="29"/>
                  </a:move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4" y="28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close/>
                  <a:moveTo>
                    <a:pt x="98" y="26"/>
                  </a:moveTo>
                  <a:lnTo>
                    <a:pt x="98" y="27"/>
                  </a:lnTo>
                  <a:lnTo>
                    <a:pt x="98" y="27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5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8" y="26"/>
                  </a:lnTo>
                  <a:lnTo>
                    <a:pt x="89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1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8" y="26"/>
                  </a:lnTo>
                  <a:lnTo>
                    <a:pt x="98" y="26"/>
                  </a:lnTo>
                  <a:close/>
                  <a:moveTo>
                    <a:pt x="66" y="25"/>
                  </a:moveTo>
                  <a:lnTo>
                    <a:pt x="66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8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2" y="27"/>
                  </a:lnTo>
                  <a:lnTo>
                    <a:pt x="71" y="28"/>
                  </a:lnTo>
                  <a:lnTo>
                    <a:pt x="71" y="29"/>
                  </a:lnTo>
                  <a:lnTo>
                    <a:pt x="70" y="28"/>
                  </a:lnTo>
                  <a:lnTo>
                    <a:pt x="71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9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5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1" y="29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9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1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66" y="25"/>
                  </a:lnTo>
                  <a:close/>
                  <a:moveTo>
                    <a:pt x="104" y="23"/>
                  </a:moveTo>
                  <a:lnTo>
                    <a:pt x="105" y="23"/>
                  </a:lnTo>
                  <a:lnTo>
                    <a:pt x="105" y="23"/>
                  </a:lnTo>
                  <a:lnTo>
                    <a:pt x="106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10" y="24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2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3" y="26"/>
                  </a:lnTo>
                  <a:lnTo>
                    <a:pt x="112" y="26"/>
                  </a:lnTo>
                  <a:lnTo>
                    <a:pt x="111" y="26"/>
                  </a:lnTo>
                  <a:lnTo>
                    <a:pt x="110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8" y="26"/>
                  </a:lnTo>
                  <a:lnTo>
                    <a:pt x="108" y="27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6" y="28"/>
                  </a:lnTo>
                  <a:lnTo>
                    <a:pt x="107" y="28"/>
                  </a:lnTo>
                  <a:lnTo>
                    <a:pt x="107" y="27"/>
                  </a:lnTo>
                  <a:lnTo>
                    <a:pt x="107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9" y="28"/>
                  </a:lnTo>
                  <a:lnTo>
                    <a:pt x="108" y="28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6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0" y="29"/>
                  </a:lnTo>
                  <a:lnTo>
                    <a:pt x="100" y="29"/>
                  </a:lnTo>
                  <a:lnTo>
                    <a:pt x="99" y="29"/>
                  </a:lnTo>
                  <a:lnTo>
                    <a:pt x="100" y="29"/>
                  </a:lnTo>
                  <a:lnTo>
                    <a:pt x="99" y="28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3" y="23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3"/>
                  </a:lnTo>
                  <a:lnTo>
                    <a:pt x="104" y="23"/>
                  </a:lnTo>
                  <a:lnTo>
                    <a:pt x="104" y="23"/>
                  </a:lnTo>
                  <a:close/>
                  <a:moveTo>
                    <a:pt x="72" y="22"/>
                  </a:moveTo>
                  <a:lnTo>
                    <a:pt x="73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6" y="24"/>
                  </a:lnTo>
                  <a:lnTo>
                    <a:pt x="75" y="24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4" y="25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3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1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2" y="22"/>
                  </a:lnTo>
                  <a:lnTo>
                    <a:pt x="72" y="22"/>
                  </a:lnTo>
                  <a:close/>
                  <a:moveTo>
                    <a:pt x="105" y="21"/>
                  </a:move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4" y="22"/>
                  </a:lnTo>
                  <a:lnTo>
                    <a:pt x="104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2" y="23"/>
                  </a:lnTo>
                  <a:lnTo>
                    <a:pt x="101" y="23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2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5" y="21"/>
                  </a:lnTo>
                  <a:close/>
                  <a:moveTo>
                    <a:pt x="93" y="19"/>
                  </a:moveTo>
                  <a:lnTo>
                    <a:pt x="93" y="19"/>
                  </a:lnTo>
                  <a:lnTo>
                    <a:pt x="94" y="19"/>
                  </a:lnTo>
                  <a:lnTo>
                    <a:pt x="95" y="19"/>
                  </a:lnTo>
                  <a:lnTo>
                    <a:pt x="96" y="20"/>
                  </a:lnTo>
                  <a:lnTo>
                    <a:pt x="97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89" y="21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6" y="20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3" y="19"/>
                  </a:lnTo>
                  <a:close/>
                  <a:moveTo>
                    <a:pt x="20" y="17"/>
                  </a:moveTo>
                  <a:lnTo>
                    <a:pt x="21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4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6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7"/>
                  </a:lnTo>
                  <a:lnTo>
                    <a:pt x="79" y="17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1" y="17"/>
                  </a:lnTo>
                  <a:close/>
                  <a:moveTo>
                    <a:pt x="111" y="17"/>
                  </a:moveTo>
                  <a:lnTo>
                    <a:pt x="112" y="17"/>
                  </a:lnTo>
                  <a:lnTo>
                    <a:pt x="112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1" y="19"/>
                  </a:lnTo>
                  <a:lnTo>
                    <a:pt x="111" y="19"/>
                  </a:lnTo>
                  <a:lnTo>
                    <a:pt x="110" y="19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4" y="19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6" y="18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8" y="17"/>
                  </a:lnTo>
                  <a:lnTo>
                    <a:pt x="109" y="17"/>
                  </a:lnTo>
                  <a:lnTo>
                    <a:pt x="110" y="17"/>
                  </a:lnTo>
                  <a:lnTo>
                    <a:pt x="111" y="17"/>
                  </a:lnTo>
                  <a:lnTo>
                    <a:pt x="111" y="17"/>
                  </a:lnTo>
                  <a:close/>
                  <a:moveTo>
                    <a:pt x="107" y="14"/>
                  </a:moveTo>
                  <a:lnTo>
                    <a:pt x="107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6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6" y="14"/>
                  </a:lnTo>
                  <a:lnTo>
                    <a:pt x="107" y="14"/>
                  </a:lnTo>
                  <a:close/>
                  <a:moveTo>
                    <a:pt x="80" y="14"/>
                  </a:moveTo>
                  <a:lnTo>
                    <a:pt x="81" y="14"/>
                  </a:lnTo>
                  <a:lnTo>
                    <a:pt x="81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4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8" y="17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2" y="19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0"/>
                  </a:lnTo>
                  <a:lnTo>
                    <a:pt x="96" y="20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1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9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0" y="16"/>
                  </a:lnTo>
                  <a:lnTo>
                    <a:pt x="79" y="15"/>
                  </a:lnTo>
                  <a:lnTo>
                    <a:pt x="80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4"/>
                  </a:lnTo>
                  <a:lnTo>
                    <a:pt x="80" y="14"/>
                  </a:lnTo>
                  <a:close/>
                  <a:moveTo>
                    <a:pt x="92" y="14"/>
                  </a:moveTo>
                  <a:lnTo>
                    <a:pt x="93" y="14"/>
                  </a:lnTo>
                  <a:lnTo>
                    <a:pt x="93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9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8"/>
                  </a:lnTo>
                  <a:lnTo>
                    <a:pt x="104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2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0" y="18"/>
                  </a:lnTo>
                  <a:lnTo>
                    <a:pt x="100" y="17"/>
                  </a:lnTo>
                  <a:lnTo>
                    <a:pt x="99" y="17"/>
                  </a:lnTo>
                  <a:lnTo>
                    <a:pt x="99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7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5" y="15"/>
                  </a:lnTo>
                  <a:lnTo>
                    <a:pt x="95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3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9" y="14"/>
                  </a:lnTo>
                  <a:lnTo>
                    <a:pt x="89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1" y="13"/>
                  </a:lnTo>
                  <a:lnTo>
                    <a:pt x="92" y="14"/>
                  </a:lnTo>
                  <a:lnTo>
                    <a:pt x="92" y="14"/>
                  </a:lnTo>
                  <a:close/>
                  <a:moveTo>
                    <a:pt x="130" y="13"/>
                  </a:moveTo>
                  <a:lnTo>
                    <a:pt x="131" y="13"/>
                  </a:lnTo>
                  <a:lnTo>
                    <a:pt x="131" y="13"/>
                  </a:lnTo>
                  <a:lnTo>
                    <a:pt x="133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4" y="14"/>
                  </a:lnTo>
                  <a:lnTo>
                    <a:pt x="133" y="15"/>
                  </a:lnTo>
                  <a:lnTo>
                    <a:pt x="133" y="15"/>
                  </a:lnTo>
                  <a:lnTo>
                    <a:pt x="132" y="15"/>
                  </a:lnTo>
                  <a:lnTo>
                    <a:pt x="131" y="15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8" y="16"/>
                  </a:lnTo>
                  <a:lnTo>
                    <a:pt x="127" y="16"/>
                  </a:lnTo>
                  <a:lnTo>
                    <a:pt x="127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5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30" y="13"/>
                  </a:lnTo>
                  <a:lnTo>
                    <a:pt x="130" y="13"/>
                  </a:lnTo>
                  <a:close/>
                  <a:moveTo>
                    <a:pt x="46" y="12"/>
                  </a:move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close/>
                  <a:moveTo>
                    <a:pt x="105" y="11"/>
                  </a:moveTo>
                  <a:lnTo>
                    <a:pt x="105" y="12"/>
                  </a:lnTo>
                  <a:lnTo>
                    <a:pt x="105" y="12"/>
                  </a:lnTo>
                  <a:lnTo>
                    <a:pt x="105" y="11"/>
                  </a:lnTo>
                  <a:lnTo>
                    <a:pt x="104" y="11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2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5" y="11"/>
                  </a:lnTo>
                  <a:close/>
                  <a:moveTo>
                    <a:pt x="94" y="8"/>
                  </a:moveTo>
                  <a:lnTo>
                    <a:pt x="94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9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2" y="9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5" y="11"/>
                  </a:lnTo>
                  <a:lnTo>
                    <a:pt x="95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2"/>
                  </a:lnTo>
                  <a:lnTo>
                    <a:pt x="90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4" y="11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2" y="10"/>
                  </a:lnTo>
                  <a:lnTo>
                    <a:pt x="92" y="9"/>
                  </a:lnTo>
                  <a:lnTo>
                    <a:pt x="93" y="9"/>
                  </a:lnTo>
                  <a:lnTo>
                    <a:pt x="92" y="9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4" y="8"/>
                  </a:lnTo>
                  <a:close/>
                  <a:moveTo>
                    <a:pt x="113" y="8"/>
                  </a:move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0" y="10"/>
                  </a:lnTo>
                  <a:lnTo>
                    <a:pt x="109" y="9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3" y="8"/>
                  </a:lnTo>
                  <a:close/>
                  <a:moveTo>
                    <a:pt x="102" y="5"/>
                  </a:moveTo>
                  <a:lnTo>
                    <a:pt x="103" y="5"/>
                  </a:lnTo>
                  <a:lnTo>
                    <a:pt x="103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4" y="8"/>
                  </a:lnTo>
                  <a:lnTo>
                    <a:pt x="103" y="8"/>
                  </a:lnTo>
                  <a:lnTo>
                    <a:pt x="10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8"/>
                  </a:lnTo>
                  <a:lnTo>
                    <a:pt x="99" y="7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close/>
                  <a:moveTo>
                    <a:pt x="150" y="3"/>
                  </a:moveTo>
                  <a:lnTo>
                    <a:pt x="150" y="3"/>
                  </a:lnTo>
                  <a:lnTo>
                    <a:pt x="150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7" y="5"/>
                  </a:lnTo>
                  <a:lnTo>
                    <a:pt x="146" y="5"/>
                  </a:lnTo>
                  <a:lnTo>
                    <a:pt x="145" y="5"/>
                  </a:lnTo>
                  <a:lnTo>
                    <a:pt x="143" y="5"/>
                  </a:lnTo>
                  <a:lnTo>
                    <a:pt x="142" y="5"/>
                  </a:lnTo>
                  <a:lnTo>
                    <a:pt x="142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0" y="4"/>
                  </a:lnTo>
                  <a:lnTo>
                    <a:pt x="139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0" y="3"/>
                  </a:lnTo>
                  <a:lnTo>
                    <a:pt x="141" y="3"/>
                  </a:lnTo>
                  <a:lnTo>
                    <a:pt x="142" y="3"/>
                  </a:lnTo>
                  <a:lnTo>
                    <a:pt x="143" y="3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2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50" y="3"/>
                  </a:lnTo>
                  <a:close/>
                  <a:moveTo>
                    <a:pt x="112" y="0"/>
                  </a:moveTo>
                  <a:lnTo>
                    <a:pt x="112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2"/>
                  </a:lnTo>
                  <a:lnTo>
                    <a:pt x="115" y="3"/>
                  </a:lnTo>
                  <a:lnTo>
                    <a:pt x="114" y="3"/>
                  </a:lnTo>
                  <a:lnTo>
                    <a:pt x="113" y="3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0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8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6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1" name="Freeform 97"/>
            <p:cNvSpPr>
              <a:spLocks noEditPoints="1"/>
            </p:cNvSpPr>
            <p:nvPr/>
          </p:nvSpPr>
          <p:spPr bwMode="auto">
            <a:xfrm>
              <a:off x="5964103" y="3154094"/>
              <a:ext cx="518215" cy="643447"/>
            </a:xfrm>
            <a:custGeom>
              <a:avLst/>
              <a:gdLst>
                <a:gd name="T0" fmla="*/ 168 w 397"/>
                <a:gd name="T1" fmla="*/ 182 h 467"/>
                <a:gd name="T2" fmla="*/ 265 w 397"/>
                <a:gd name="T3" fmla="*/ 159 h 467"/>
                <a:gd name="T4" fmla="*/ 267 w 397"/>
                <a:gd name="T5" fmla="*/ 140 h 467"/>
                <a:gd name="T6" fmla="*/ 276 w 397"/>
                <a:gd name="T7" fmla="*/ 133 h 467"/>
                <a:gd name="T8" fmla="*/ 279 w 397"/>
                <a:gd name="T9" fmla="*/ 130 h 467"/>
                <a:gd name="T10" fmla="*/ 101 w 397"/>
                <a:gd name="T11" fmla="*/ 124 h 467"/>
                <a:gd name="T12" fmla="*/ 151 w 397"/>
                <a:gd name="T13" fmla="*/ 130 h 467"/>
                <a:gd name="T14" fmla="*/ 169 w 397"/>
                <a:gd name="T15" fmla="*/ 156 h 467"/>
                <a:gd name="T16" fmla="*/ 108 w 397"/>
                <a:gd name="T17" fmla="*/ 151 h 467"/>
                <a:gd name="T18" fmla="*/ 118 w 397"/>
                <a:gd name="T19" fmla="*/ 160 h 467"/>
                <a:gd name="T20" fmla="*/ 115 w 397"/>
                <a:gd name="T21" fmla="*/ 177 h 467"/>
                <a:gd name="T22" fmla="*/ 163 w 397"/>
                <a:gd name="T23" fmla="*/ 205 h 467"/>
                <a:gd name="T24" fmla="*/ 138 w 397"/>
                <a:gd name="T25" fmla="*/ 176 h 467"/>
                <a:gd name="T26" fmla="*/ 181 w 397"/>
                <a:gd name="T27" fmla="*/ 199 h 467"/>
                <a:gd name="T28" fmla="*/ 182 w 397"/>
                <a:gd name="T29" fmla="*/ 230 h 467"/>
                <a:gd name="T30" fmla="*/ 202 w 397"/>
                <a:gd name="T31" fmla="*/ 212 h 467"/>
                <a:gd name="T32" fmla="*/ 192 w 397"/>
                <a:gd name="T33" fmla="*/ 180 h 467"/>
                <a:gd name="T34" fmla="*/ 194 w 397"/>
                <a:gd name="T35" fmla="*/ 159 h 467"/>
                <a:gd name="T36" fmla="*/ 197 w 397"/>
                <a:gd name="T37" fmla="*/ 162 h 467"/>
                <a:gd name="T38" fmla="*/ 218 w 397"/>
                <a:gd name="T39" fmla="*/ 137 h 467"/>
                <a:gd name="T40" fmla="*/ 227 w 397"/>
                <a:gd name="T41" fmla="*/ 141 h 467"/>
                <a:gd name="T42" fmla="*/ 269 w 397"/>
                <a:gd name="T43" fmla="*/ 124 h 467"/>
                <a:gd name="T44" fmla="*/ 269 w 397"/>
                <a:gd name="T45" fmla="*/ 137 h 467"/>
                <a:gd name="T46" fmla="*/ 260 w 397"/>
                <a:gd name="T47" fmla="*/ 170 h 467"/>
                <a:gd name="T48" fmla="*/ 272 w 397"/>
                <a:gd name="T49" fmla="*/ 173 h 467"/>
                <a:gd name="T50" fmla="*/ 305 w 397"/>
                <a:gd name="T51" fmla="*/ 187 h 467"/>
                <a:gd name="T52" fmla="*/ 308 w 397"/>
                <a:gd name="T53" fmla="*/ 178 h 467"/>
                <a:gd name="T54" fmla="*/ 325 w 397"/>
                <a:gd name="T55" fmla="*/ 157 h 467"/>
                <a:gd name="T56" fmla="*/ 305 w 397"/>
                <a:gd name="T57" fmla="*/ 163 h 467"/>
                <a:gd name="T58" fmla="*/ 264 w 397"/>
                <a:gd name="T59" fmla="*/ 148 h 467"/>
                <a:gd name="T60" fmla="*/ 287 w 397"/>
                <a:gd name="T61" fmla="*/ 127 h 467"/>
                <a:gd name="T62" fmla="*/ 317 w 397"/>
                <a:gd name="T63" fmla="*/ 120 h 467"/>
                <a:gd name="T64" fmla="*/ 337 w 397"/>
                <a:gd name="T65" fmla="*/ 126 h 467"/>
                <a:gd name="T66" fmla="*/ 331 w 397"/>
                <a:gd name="T67" fmla="*/ 109 h 467"/>
                <a:gd name="T68" fmla="*/ 374 w 397"/>
                <a:gd name="T69" fmla="*/ 136 h 467"/>
                <a:gd name="T70" fmla="*/ 320 w 397"/>
                <a:gd name="T71" fmla="*/ 218 h 467"/>
                <a:gd name="T72" fmla="*/ 320 w 397"/>
                <a:gd name="T73" fmla="*/ 298 h 467"/>
                <a:gd name="T74" fmla="*/ 315 w 397"/>
                <a:gd name="T75" fmla="*/ 335 h 467"/>
                <a:gd name="T76" fmla="*/ 281 w 397"/>
                <a:gd name="T77" fmla="*/ 355 h 467"/>
                <a:gd name="T78" fmla="*/ 224 w 397"/>
                <a:gd name="T79" fmla="*/ 362 h 467"/>
                <a:gd name="T80" fmla="*/ 235 w 397"/>
                <a:gd name="T81" fmla="*/ 415 h 467"/>
                <a:gd name="T82" fmla="*/ 226 w 397"/>
                <a:gd name="T83" fmla="*/ 414 h 467"/>
                <a:gd name="T84" fmla="*/ 229 w 397"/>
                <a:gd name="T85" fmla="*/ 454 h 467"/>
                <a:gd name="T86" fmla="*/ 170 w 397"/>
                <a:gd name="T87" fmla="*/ 441 h 467"/>
                <a:gd name="T88" fmla="*/ 156 w 397"/>
                <a:gd name="T89" fmla="*/ 402 h 467"/>
                <a:gd name="T90" fmla="*/ 158 w 397"/>
                <a:gd name="T91" fmla="*/ 369 h 467"/>
                <a:gd name="T92" fmla="*/ 97 w 397"/>
                <a:gd name="T93" fmla="*/ 339 h 467"/>
                <a:gd name="T94" fmla="*/ 73 w 397"/>
                <a:gd name="T95" fmla="*/ 292 h 467"/>
                <a:gd name="T96" fmla="*/ 84 w 397"/>
                <a:gd name="T97" fmla="*/ 242 h 467"/>
                <a:gd name="T98" fmla="*/ 88 w 397"/>
                <a:gd name="T99" fmla="*/ 188 h 467"/>
                <a:gd name="T100" fmla="*/ 102 w 397"/>
                <a:gd name="T101" fmla="*/ 108 h 467"/>
                <a:gd name="T102" fmla="*/ 290 w 397"/>
                <a:gd name="T103" fmla="*/ 67 h 467"/>
                <a:gd name="T104" fmla="*/ 298 w 397"/>
                <a:gd name="T105" fmla="*/ 97 h 467"/>
                <a:gd name="T106" fmla="*/ 276 w 397"/>
                <a:gd name="T107" fmla="*/ 95 h 467"/>
                <a:gd name="T108" fmla="*/ 262 w 397"/>
                <a:gd name="T109" fmla="*/ 85 h 467"/>
                <a:gd name="T110" fmla="*/ 271 w 397"/>
                <a:gd name="T111" fmla="*/ 63 h 467"/>
                <a:gd name="T112" fmla="*/ 390 w 397"/>
                <a:gd name="T113" fmla="*/ 11 h 467"/>
                <a:gd name="T114" fmla="*/ 327 w 397"/>
                <a:gd name="T115" fmla="*/ 34 h 467"/>
                <a:gd name="T116" fmla="*/ 307 w 397"/>
                <a:gd name="T117" fmla="*/ 49 h 467"/>
                <a:gd name="T118" fmla="*/ 280 w 397"/>
                <a:gd name="T119" fmla="*/ 53 h 467"/>
                <a:gd name="T120" fmla="*/ 290 w 397"/>
                <a:gd name="T121" fmla="*/ 42 h 467"/>
                <a:gd name="T122" fmla="*/ 301 w 397"/>
                <a:gd name="T123" fmla="*/ 26 h 467"/>
                <a:gd name="T124" fmla="*/ 345 w 397"/>
                <a:gd name="T125" fmla="*/ 1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7" h="467">
                  <a:moveTo>
                    <a:pt x="1" y="313"/>
                  </a:moveTo>
                  <a:lnTo>
                    <a:pt x="0" y="313"/>
                  </a:lnTo>
                  <a:lnTo>
                    <a:pt x="1" y="313"/>
                  </a:lnTo>
                  <a:lnTo>
                    <a:pt x="1" y="312"/>
                  </a:lnTo>
                  <a:lnTo>
                    <a:pt x="2" y="312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3" y="310"/>
                  </a:lnTo>
                  <a:lnTo>
                    <a:pt x="3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2"/>
                  </a:lnTo>
                  <a:lnTo>
                    <a:pt x="1" y="312"/>
                  </a:lnTo>
                  <a:lnTo>
                    <a:pt x="1" y="313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10" y="307"/>
                  </a:lnTo>
                  <a:lnTo>
                    <a:pt x="10" y="306"/>
                  </a:lnTo>
                  <a:lnTo>
                    <a:pt x="10" y="307"/>
                  </a:lnTo>
                  <a:lnTo>
                    <a:pt x="10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4" y="307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3" y="305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3"/>
                  </a:lnTo>
                  <a:lnTo>
                    <a:pt x="15" y="303"/>
                  </a:lnTo>
                  <a:lnTo>
                    <a:pt x="16" y="303"/>
                  </a:lnTo>
                  <a:lnTo>
                    <a:pt x="17" y="303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9" y="304"/>
                  </a:lnTo>
                  <a:lnTo>
                    <a:pt x="19" y="305"/>
                  </a:lnTo>
                  <a:lnTo>
                    <a:pt x="19" y="305"/>
                  </a:lnTo>
                  <a:lnTo>
                    <a:pt x="20" y="305"/>
                  </a:lnTo>
                  <a:lnTo>
                    <a:pt x="20" y="306"/>
                  </a:lnTo>
                  <a:lnTo>
                    <a:pt x="21" y="306"/>
                  </a:lnTo>
                  <a:lnTo>
                    <a:pt x="21" y="305"/>
                  </a:lnTo>
                  <a:lnTo>
                    <a:pt x="21" y="305"/>
                  </a:lnTo>
                  <a:lnTo>
                    <a:pt x="22" y="305"/>
                  </a:lnTo>
                  <a:lnTo>
                    <a:pt x="22" y="305"/>
                  </a:lnTo>
                  <a:lnTo>
                    <a:pt x="23" y="305"/>
                  </a:lnTo>
                  <a:lnTo>
                    <a:pt x="23" y="305"/>
                  </a:lnTo>
                  <a:lnTo>
                    <a:pt x="24" y="305"/>
                  </a:lnTo>
                  <a:lnTo>
                    <a:pt x="24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8"/>
                  </a:lnTo>
                  <a:lnTo>
                    <a:pt x="27" y="308"/>
                  </a:lnTo>
                  <a:lnTo>
                    <a:pt x="26" y="308"/>
                  </a:lnTo>
                  <a:lnTo>
                    <a:pt x="26" y="308"/>
                  </a:lnTo>
                  <a:lnTo>
                    <a:pt x="26" y="309"/>
                  </a:lnTo>
                  <a:lnTo>
                    <a:pt x="25" y="309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1"/>
                  </a:lnTo>
                  <a:lnTo>
                    <a:pt x="25" y="311"/>
                  </a:lnTo>
                  <a:lnTo>
                    <a:pt x="25" y="312"/>
                  </a:lnTo>
                  <a:lnTo>
                    <a:pt x="25" y="313"/>
                  </a:lnTo>
                  <a:lnTo>
                    <a:pt x="26" y="313"/>
                  </a:lnTo>
                  <a:lnTo>
                    <a:pt x="26" y="314"/>
                  </a:lnTo>
                  <a:lnTo>
                    <a:pt x="25" y="314"/>
                  </a:lnTo>
                  <a:lnTo>
                    <a:pt x="25" y="314"/>
                  </a:lnTo>
                  <a:lnTo>
                    <a:pt x="23" y="314"/>
                  </a:lnTo>
                  <a:lnTo>
                    <a:pt x="22" y="314"/>
                  </a:lnTo>
                  <a:lnTo>
                    <a:pt x="21" y="314"/>
                  </a:lnTo>
                  <a:lnTo>
                    <a:pt x="21" y="314"/>
                  </a:lnTo>
                  <a:lnTo>
                    <a:pt x="20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7" y="314"/>
                  </a:lnTo>
                  <a:lnTo>
                    <a:pt x="16" y="314"/>
                  </a:lnTo>
                  <a:lnTo>
                    <a:pt x="15" y="314"/>
                  </a:lnTo>
                  <a:lnTo>
                    <a:pt x="15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0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8" y="314"/>
                  </a:lnTo>
                  <a:lnTo>
                    <a:pt x="7" y="313"/>
                  </a:lnTo>
                  <a:lnTo>
                    <a:pt x="6" y="313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3" y="313"/>
                  </a:lnTo>
                  <a:lnTo>
                    <a:pt x="2" y="313"/>
                  </a:lnTo>
                  <a:lnTo>
                    <a:pt x="3" y="312"/>
                  </a:lnTo>
                  <a:lnTo>
                    <a:pt x="3" y="312"/>
                  </a:lnTo>
                  <a:lnTo>
                    <a:pt x="3" y="311"/>
                  </a:lnTo>
                  <a:lnTo>
                    <a:pt x="3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5" y="311"/>
                  </a:lnTo>
                  <a:lnTo>
                    <a:pt x="6" y="311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3" y="309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09"/>
                  </a:lnTo>
                  <a:lnTo>
                    <a:pt x="3" y="308"/>
                  </a:lnTo>
                  <a:lnTo>
                    <a:pt x="3" y="308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6" y="307"/>
                  </a:lnTo>
                  <a:lnTo>
                    <a:pt x="7" y="307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9" y="305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5"/>
                  </a:lnTo>
                  <a:lnTo>
                    <a:pt x="9" y="305"/>
                  </a:lnTo>
                  <a:lnTo>
                    <a:pt x="9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close/>
                  <a:moveTo>
                    <a:pt x="166" y="181"/>
                  </a:move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close/>
                  <a:moveTo>
                    <a:pt x="168" y="181"/>
                  </a:moveTo>
                  <a:lnTo>
                    <a:pt x="168" y="181"/>
                  </a:lnTo>
                  <a:lnTo>
                    <a:pt x="168" y="181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1"/>
                  </a:lnTo>
                  <a:lnTo>
                    <a:pt x="169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8" y="181"/>
                  </a:lnTo>
                  <a:close/>
                  <a:moveTo>
                    <a:pt x="168" y="180"/>
                  </a:moveTo>
                  <a:lnTo>
                    <a:pt x="167" y="180"/>
                  </a:lnTo>
                  <a:lnTo>
                    <a:pt x="167" y="179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0"/>
                  </a:lnTo>
                  <a:lnTo>
                    <a:pt x="168" y="180"/>
                  </a:lnTo>
                  <a:close/>
                  <a:moveTo>
                    <a:pt x="167" y="179"/>
                  </a:moveTo>
                  <a:lnTo>
                    <a:pt x="167" y="180"/>
                  </a:lnTo>
                  <a:lnTo>
                    <a:pt x="167" y="180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6" y="181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5" y="180"/>
                  </a:lnTo>
                  <a:lnTo>
                    <a:pt x="165" y="179"/>
                  </a:lnTo>
                  <a:lnTo>
                    <a:pt x="166" y="179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close/>
                  <a:moveTo>
                    <a:pt x="308" y="180"/>
                  </a:moveTo>
                  <a:lnTo>
                    <a:pt x="308" y="180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close/>
                  <a:moveTo>
                    <a:pt x="308" y="179"/>
                  </a:moveTo>
                  <a:lnTo>
                    <a:pt x="308" y="179"/>
                  </a:lnTo>
                  <a:lnTo>
                    <a:pt x="308" y="179"/>
                  </a:lnTo>
                  <a:close/>
                  <a:moveTo>
                    <a:pt x="306" y="178"/>
                  </a:moveTo>
                  <a:lnTo>
                    <a:pt x="306" y="177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close/>
                  <a:moveTo>
                    <a:pt x="267" y="172"/>
                  </a:moveTo>
                  <a:lnTo>
                    <a:pt x="268" y="172"/>
                  </a:lnTo>
                  <a:lnTo>
                    <a:pt x="267" y="172"/>
                  </a:lnTo>
                  <a:lnTo>
                    <a:pt x="268" y="172"/>
                  </a:lnTo>
                  <a:lnTo>
                    <a:pt x="268" y="173"/>
                  </a:lnTo>
                  <a:lnTo>
                    <a:pt x="267" y="173"/>
                  </a:lnTo>
                  <a:lnTo>
                    <a:pt x="267" y="172"/>
                  </a:lnTo>
                  <a:close/>
                  <a:moveTo>
                    <a:pt x="267" y="171"/>
                  </a:move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close/>
                  <a:moveTo>
                    <a:pt x="301" y="171"/>
                  </a:move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close/>
                  <a:moveTo>
                    <a:pt x="301" y="168"/>
                  </a:moveTo>
                  <a:lnTo>
                    <a:pt x="301" y="169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close/>
                  <a:moveTo>
                    <a:pt x="262" y="167"/>
                  </a:moveTo>
                  <a:lnTo>
                    <a:pt x="262" y="166"/>
                  </a:lnTo>
                  <a:lnTo>
                    <a:pt x="262" y="167"/>
                  </a:lnTo>
                  <a:close/>
                  <a:moveTo>
                    <a:pt x="284" y="165"/>
                  </a:moveTo>
                  <a:lnTo>
                    <a:pt x="283" y="165"/>
                  </a:lnTo>
                  <a:lnTo>
                    <a:pt x="283" y="166"/>
                  </a:lnTo>
                  <a:lnTo>
                    <a:pt x="283" y="165"/>
                  </a:lnTo>
                  <a:lnTo>
                    <a:pt x="284" y="165"/>
                  </a:lnTo>
                  <a:lnTo>
                    <a:pt x="284" y="164"/>
                  </a:lnTo>
                  <a:lnTo>
                    <a:pt x="285" y="164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close/>
                  <a:moveTo>
                    <a:pt x="299" y="163"/>
                  </a:moveTo>
                  <a:lnTo>
                    <a:pt x="300" y="163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4"/>
                  </a:lnTo>
                  <a:lnTo>
                    <a:pt x="299" y="164"/>
                  </a:lnTo>
                  <a:lnTo>
                    <a:pt x="299" y="163"/>
                  </a:lnTo>
                  <a:close/>
                  <a:moveTo>
                    <a:pt x="285" y="164"/>
                  </a:moveTo>
                  <a:lnTo>
                    <a:pt x="285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5" y="164"/>
                  </a:lnTo>
                  <a:close/>
                  <a:moveTo>
                    <a:pt x="286" y="164"/>
                  </a:moveTo>
                  <a:lnTo>
                    <a:pt x="286" y="164"/>
                  </a:lnTo>
                  <a:lnTo>
                    <a:pt x="286" y="164"/>
                  </a:lnTo>
                  <a:close/>
                  <a:moveTo>
                    <a:pt x="264" y="162"/>
                  </a:moveTo>
                  <a:lnTo>
                    <a:pt x="264" y="162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5" y="162"/>
                  </a:lnTo>
                  <a:lnTo>
                    <a:pt x="265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close/>
                  <a:moveTo>
                    <a:pt x="299" y="162"/>
                  </a:moveTo>
                  <a:lnTo>
                    <a:pt x="298" y="162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2"/>
                  </a:lnTo>
                  <a:close/>
                  <a:moveTo>
                    <a:pt x="299" y="162"/>
                  </a:moveTo>
                  <a:lnTo>
                    <a:pt x="300" y="162"/>
                  </a:lnTo>
                  <a:lnTo>
                    <a:pt x="299" y="162"/>
                  </a:lnTo>
                  <a:close/>
                  <a:moveTo>
                    <a:pt x="298" y="160"/>
                  </a:move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close/>
                  <a:moveTo>
                    <a:pt x="324" y="160"/>
                  </a:moveTo>
                  <a:lnTo>
                    <a:pt x="324" y="160"/>
                  </a:lnTo>
                  <a:lnTo>
                    <a:pt x="324" y="160"/>
                  </a:lnTo>
                  <a:close/>
                  <a:moveTo>
                    <a:pt x="287" y="160"/>
                  </a:moveTo>
                  <a:lnTo>
                    <a:pt x="286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close/>
                  <a:moveTo>
                    <a:pt x="265" y="159"/>
                  </a:moveTo>
                  <a:lnTo>
                    <a:pt x="265" y="160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close/>
                  <a:moveTo>
                    <a:pt x="323" y="158"/>
                  </a:moveTo>
                  <a:lnTo>
                    <a:pt x="323" y="159"/>
                  </a:lnTo>
                  <a:lnTo>
                    <a:pt x="323" y="158"/>
                  </a:lnTo>
                  <a:close/>
                  <a:moveTo>
                    <a:pt x="291" y="158"/>
                  </a:moveTo>
                  <a:lnTo>
                    <a:pt x="290" y="159"/>
                  </a:lnTo>
                  <a:lnTo>
                    <a:pt x="290" y="158"/>
                  </a:lnTo>
                  <a:lnTo>
                    <a:pt x="291" y="158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1" y="159"/>
                  </a:lnTo>
                  <a:lnTo>
                    <a:pt x="290" y="159"/>
                  </a:lnTo>
                  <a:lnTo>
                    <a:pt x="291" y="158"/>
                  </a:lnTo>
                  <a:close/>
                  <a:moveTo>
                    <a:pt x="296" y="157"/>
                  </a:moveTo>
                  <a:lnTo>
                    <a:pt x="296" y="157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7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5" y="157"/>
                  </a:lnTo>
                  <a:lnTo>
                    <a:pt x="296" y="157"/>
                  </a:lnTo>
                  <a:close/>
                  <a:moveTo>
                    <a:pt x="264" y="157"/>
                  </a:move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close/>
                  <a:moveTo>
                    <a:pt x="264" y="156"/>
                  </a:moveTo>
                  <a:lnTo>
                    <a:pt x="264" y="157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4" y="158"/>
                  </a:lnTo>
                  <a:lnTo>
                    <a:pt x="265" y="158"/>
                  </a:lnTo>
                  <a:lnTo>
                    <a:pt x="265" y="159"/>
                  </a:lnTo>
                  <a:lnTo>
                    <a:pt x="264" y="159"/>
                  </a:lnTo>
                  <a:lnTo>
                    <a:pt x="264" y="158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5" y="157"/>
                  </a:lnTo>
                  <a:lnTo>
                    <a:pt x="264" y="157"/>
                  </a:lnTo>
                  <a:lnTo>
                    <a:pt x="264" y="156"/>
                  </a:lnTo>
                  <a:close/>
                  <a:moveTo>
                    <a:pt x="264" y="156"/>
                  </a:move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4" y="156"/>
                  </a:lnTo>
                  <a:close/>
                  <a:moveTo>
                    <a:pt x="265" y="154"/>
                  </a:moveTo>
                  <a:lnTo>
                    <a:pt x="264" y="154"/>
                  </a:lnTo>
                  <a:lnTo>
                    <a:pt x="265" y="154"/>
                  </a:lnTo>
                  <a:lnTo>
                    <a:pt x="264" y="154"/>
                  </a:lnTo>
                  <a:lnTo>
                    <a:pt x="265" y="154"/>
                  </a:lnTo>
                  <a:close/>
                  <a:moveTo>
                    <a:pt x="264" y="153"/>
                  </a:move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close/>
                  <a:moveTo>
                    <a:pt x="264" y="152"/>
                  </a:moveTo>
                  <a:lnTo>
                    <a:pt x="263" y="152"/>
                  </a:lnTo>
                  <a:lnTo>
                    <a:pt x="264" y="152"/>
                  </a:lnTo>
                  <a:close/>
                  <a:moveTo>
                    <a:pt x="263" y="152"/>
                  </a:move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close/>
                  <a:moveTo>
                    <a:pt x="200" y="151"/>
                  </a:move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close/>
                  <a:moveTo>
                    <a:pt x="263" y="151"/>
                  </a:moveTo>
                  <a:lnTo>
                    <a:pt x="263" y="151"/>
                  </a:lnTo>
                  <a:lnTo>
                    <a:pt x="264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close/>
                  <a:moveTo>
                    <a:pt x="264" y="149"/>
                  </a:moveTo>
                  <a:lnTo>
                    <a:pt x="264" y="150"/>
                  </a:lnTo>
                  <a:lnTo>
                    <a:pt x="264" y="149"/>
                  </a:lnTo>
                  <a:lnTo>
                    <a:pt x="264" y="150"/>
                  </a:lnTo>
                  <a:lnTo>
                    <a:pt x="263" y="150"/>
                  </a:lnTo>
                  <a:lnTo>
                    <a:pt x="264" y="149"/>
                  </a:lnTo>
                  <a:lnTo>
                    <a:pt x="263" y="149"/>
                  </a:lnTo>
                  <a:lnTo>
                    <a:pt x="264" y="149"/>
                  </a:lnTo>
                  <a:close/>
                  <a:moveTo>
                    <a:pt x="263" y="148"/>
                  </a:moveTo>
                  <a:lnTo>
                    <a:pt x="264" y="149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close/>
                  <a:moveTo>
                    <a:pt x="266" y="148"/>
                  </a:moveTo>
                  <a:lnTo>
                    <a:pt x="265" y="148"/>
                  </a:lnTo>
                  <a:lnTo>
                    <a:pt x="266" y="148"/>
                  </a:lnTo>
                  <a:close/>
                  <a:moveTo>
                    <a:pt x="265" y="148"/>
                  </a:moveTo>
                  <a:lnTo>
                    <a:pt x="266" y="148"/>
                  </a:lnTo>
                  <a:lnTo>
                    <a:pt x="265" y="148"/>
                  </a:lnTo>
                  <a:close/>
                  <a:moveTo>
                    <a:pt x="264" y="147"/>
                  </a:moveTo>
                  <a:lnTo>
                    <a:pt x="264" y="148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1" y="149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2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2" y="146"/>
                  </a:moveTo>
                  <a:lnTo>
                    <a:pt x="262" y="146"/>
                  </a:lnTo>
                  <a:lnTo>
                    <a:pt x="262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2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2" y="145"/>
                  </a:lnTo>
                  <a:lnTo>
                    <a:pt x="262" y="145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1" y="141"/>
                  </a:move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1" y="141"/>
                  </a:moveTo>
                  <a:lnTo>
                    <a:pt x="261" y="142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0" y="141"/>
                  </a:moveTo>
                  <a:lnTo>
                    <a:pt x="261" y="141"/>
                  </a:lnTo>
                  <a:lnTo>
                    <a:pt x="260" y="141"/>
                  </a:lnTo>
                  <a:close/>
                  <a:moveTo>
                    <a:pt x="262" y="142"/>
                  </a:moveTo>
                  <a:lnTo>
                    <a:pt x="261" y="142"/>
                  </a:lnTo>
                  <a:lnTo>
                    <a:pt x="262" y="142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3"/>
                  </a:lnTo>
                  <a:lnTo>
                    <a:pt x="261" y="143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3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62" y="142"/>
                  </a:lnTo>
                  <a:close/>
                  <a:moveTo>
                    <a:pt x="260" y="142"/>
                  </a:move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close/>
                  <a:moveTo>
                    <a:pt x="267" y="140"/>
                  </a:moveTo>
                  <a:lnTo>
                    <a:pt x="267" y="139"/>
                  </a:lnTo>
                  <a:lnTo>
                    <a:pt x="267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8" y="140"/>
                  </a:lnTo>
                  <a:lnTo>
                    <a:pt x="267" y="140"/>
                  </a:lnTo>
                  <a:close/>
                  <a:moveTo>
                    <a:pt x="270" y="137"/>
                  </a:move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6" y="139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9"/>
                  </a:lnTo>
                  <a:lnTo>
                    <a:pt x="266" y="139"/>
                  </a:lnTo>
                  <a:lnTo>
                    <a:pt x="265" y="139"/>
                  </a:lnTo>
                  <a:lnTo>
                    <a:pt x="265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6"/>
                  </a:lnTo>
                  <a:lnTo>
                    <a:pt x="271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close/>
                  <a:moveTo>
                    <a:pt x="269" y="138"/>
                  </a:moveTo>
                  <a:lnTo>
                    <a:pt x="268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close/>
                  <a:moveTo>
                    <a:pt x="267" y="138"/>
                  </a:move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close/>
                  <a:moveTo>
                    <a:pt x="268" y="138"/>
                  </a:moveTo>
                  <a:lnTo>
                    <a:pt x="267" y="138"/>
                  </a:lnTo>
                  <a:lnTo>
                    <a:pt x="268" y="138"/>
                  </a:lnTo>
                  <a:close/>
                  <a:moveTo>
                    <a:pt x="274" y="136"/>
                  </a:moveTo>
                  <a:lnTo>
                    <a:pt x="274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3" y="136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close/>
                  <a:moveTo>
                    <a:pt x="274" y="133"/>
                  </a:moveTo>
                  <a:lnTo>
                    <a:pt x="274" y="133"/>
                  </a:lnTo>
                  <a:lnTo>
                    <a:pt x="274" y="133"/>
                  </a:lnTo>
                  <a:close/>
                  <a:moveTo>
                    <a:pt x="278" y="131"/>
                  </a:moveTo>
                  <a:lnTo>
                    <a:pt x="278" y="131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8" y="133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7" y="132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8" y="131"/>
                  </a:lnTo>
                  <a:close/>
                  <a:moveTo>
                    <a:pt x="278" y="131"/>
                  </a:moveTo>
                  <a:lnTo>
                    <a:pt x="278" y="132"/>
                  </a:lnTo>
                  <a:lnTo>
                    <a:pt x="278" y="131"/>
                  </a:lnTo>
                  <a:close/>
                  <a:moveTo>
                    <a:pt x="277" y="133"/>
                  </a:move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7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5" y="133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3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5" y="133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8" y="131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7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close/>
                  <a:moveTo>
                    <a:pt x="275" y="133"/>
                  </a:moveTo>
                  <a:lnTo>
                    <a:pt x="274" y="133"/>
                  </a:lnTo>
                  <a:lnTo>
                    <a:pt x="275" y="133"/>
                  </a:lnTo>
                  <a:lnTo>
                    <a:pt x="274" y="133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5" y="133"/>
                  </a:lnTo>
                  <a:close/>
                  <a:moveTo>
                    <a:pt x="274" y="133"/>
                  </a:moveTo>
                  <a:lnTo>
                    <a:pt x="275" y="133"/>
                  </a:lnTo>
                  <a:lnTo>
                    <a:pt x="274" y="133"/>
                  </a:lnTo>
                  <a:close/>
                  <a:moveTo>
                    <a:pt x="272" y="135"/>
                  </a:move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close/>
                  <a:moveTo>
                    <a:pt x="272" y="133"/>
                  </a:move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69" y="134"/>
                  </a:lnTo>
                  <a:lnTo>
                    <a:pt x="270" y="134"/>
                  </a:lnTo>
                  <a:lnTo>
                    <a:pt x="269" y="134"/>
                  </a:lnTo>
                  <a:lnTo>
                    <a:pt x="268" y="134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0" y="131"/>
                  </a:lnTo>
                  <a:lnTo>
                    <a:pt x="271" y="131"/>
                  </a:lnTo>
                  <a:lnTo>
                    <a:pt x="271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2"/>
                  </a:lnTo>
                  <a:lnTo>
                    <a:pt x="273" y="132"/>
                  </a:lnTo>
                  <a:lnTo>
                    <a:pt x="272" y="133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2" y="132"/>
                  </a:lnTo>
                  <a:lnTo>
                    <a:pt x="271" y="132"/>
                  </a:lnTo>
                  <a:close/>
                  <a:moveTo>
                    <a:pt x="272" y="131"/>
                  </a:moveTo>
                  <a:lnTo>
                    <a:pt x="272" y="132"/>
                  </a:lnTo>
                  <a:lnTo>
                    <a:pt x="272" y="131"/>
                  </a:lnTo>
                  <a:close/>
                  <a:moveTo>
                    <a:pt x="271" y="133"/>
                  </a:moveTo>
                  <a:lnTo>
                    <a:pt x="271" y="133"/>
                  </a:lnTo>
                  <a:lnTo>
                    <a:pt x="271" y="133"/>
                  </a:lnTo>
                  <a:close/>
                  <a:moveTo>
                    <a:pt x="271" y="134"/>
                  </a:moveTo>
                  <a:lnTo>
                    <a:pt x="271" y="134"/>
                  </a:lnTo>
                  <a:lnTo>
                    <a:pt x="271" y="134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4"/>
                  </a:lnTo>
                  <a:close/>
                  <a:moveTo>
                    <a:pt x="272" y="133"/>
                  </a:moveTo>
                  <a:lnTo>
                    <a:pt x="272" y="134"/>
                  </a:lnTo>
                  <a:lnTo>
                    <a:pt x="272" y="133"/>
                  </a:lnTo>
                  <a:close/>
                  <a:moveTo>
                    <a:pt x="270" y="134"/>
                  </a:moveTo>
                  <a:lnTo>
                    <a:pt x="269" y="134"/>
                  </a:lnTo>
                  <a:lnTo>
                    <a:pt x="270" y="134"/>
                  </a:lnTo>
                  <a:close/>
                  <a:moveTo>
                    <a:pt x="270" y="134"/>
                  </a:move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close/>
                  <a:moveTo>
                    <a:pt x="270" y="135"/>
                  </a:moveTo>
                  <a:lnTo>
                    <a:pt x="270" y="135"/>
                  </a:lnTo>
                  <a:lnTo>
                    <a:pt x="270" y="135"/>
                  </a:lnTo>
                  <a:close/>
                  <a:moveTo>
                    <a:pt x="271" y="135"/>
                  </a:moveTo>
                  <a:lnTo>
                    <a:pt x="271" y="135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4" y="131"/>
                  </a:move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2" y="132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2" y="132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close/>
                  <a:moveTo>
                    <a:pt x="275" y="131"/>
                  </a:moveTo>
                  <a:lnTo>
                    <a:pt x="276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9" y="130"/>
                  </a:moveTo>
                  <a:lnTo>
                    <a:pt x="279" y="130"/>
                  </a:lnTo>
                  <a:lnTo>
                    <a:pt x="279" y="130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79" y="130"/>
                  </a:moveTo>
                  <a:lnTo>
                    <a:pt x="278" y="130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63" y="128"/>
                  </a:moveTo>
                  <a:lnTo>
                    <a:pt x="264" y="128"/>
                  </a:lnTo>
                  <a:lnTo>
                    <a:pt x="263" y="128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22" y="122"/>
                  </a:move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close/>
                  <a:moveTo>
                    <a:pt x="321" y="122"/>
                  </a:moveTo>
                  <a:lnTo>
                    <a:pt x="320" y="122"/>
                  </a:lnTo>
                  <a:lnTo>
                    <a:pt x="321" y="122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5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2" y="119"/>
                  </a:lnTo>
                  <a:close/>
                  <a:moveTo>
                    <a:pt x="104" y="114"/>
                  </a:move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6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9" y="115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10" y="114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0" y="116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7"/>
                  </a:lnTo>
                  <a:lnTo>
                    <a:pt x="112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1" y="118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09" y="119"/>
                  </a:lnTo>
                  <a:lnTo>
                    <a:pt x="108" y="119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1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7" y="122"/>
                  </a:lnTo>
                  <a:lnTo>
                    <a:pt x="107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5" y="123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3" y="123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0" y="124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101" y="124"/>
                  </a:lnTo>
                  <a:lnTo>
                    <a:pt x="101" y="125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5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1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9" y="119"/>
                  </a:lnTo>
                  <a:lnTo>
                    <a:pt x="109" y="120"/>
                  </a:lnTo>
                  <a:lnTo>
                    <a:pt x="109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2" y="118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2" y="116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7" y="116"/>
                  </a:lnTo>
                  <a:lnTo>
                    <a:pt x="118" y="116"/>
                  </a:lnTo>
                  <a:lnTo>
                    <a:pt x="118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20" y="117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4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9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5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7" y="117"/>
                  </a:lnTo>
                  <a:lnTo>
                    <a:pt x="127" y="117"/>
                  </a:lnTo>
                  <a:lnTo>
                    <a:pt x="128" y="117"/>
                  </a:lnTo>
                  <a:lnTo>
                    <a:pt x="129" y="117"/>
                  </a:lnTo>
                  <a:lnTo>
                    <a:pt x="128" y="118"/>
                  </a:lnTo>
                  <a:lnTo>
                    <a:pt x="129" y="118"/>
                  </a:lnTo>
                  <a:lnTo>
                    <a:pt x="129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2" y="118"/>
                  </a:lnTo>
                  <a:lnTo>
                    <a:pt x="133" y="118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5" y="120"/>
                  </a:lnTo>
                  <a:lnTo>
                    <a:pt x="135" y="119"/>
                  </a:lnTo>
                  <a:lnTo>
                    <a:pt x="135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8" y="120"/>
                  </a:lnTo>
                  <a:lnTo>
                    <a:pt x="138" y="121"/>
                  </a:lnTo>
                  <a:lnTo>
                    <a:pt x="138" y="121"/>
                  </a:lnTo>
                  <a:lnTo>
                    <a:pt x="138" y="122"/>
                  </a:lnTo>
                  <a:lnTo>
                    <a:pt x="139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1" y="122"/>
                  </a:lnTo>
                  <a:lnTo>
                    <a:pt x="141" y="123"/>
                  </a:lnTo>
                  <a:lnTo>
                    <a:pt x="141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3" y="123"/>
                  </a:lnTo>
                  <a:lnTo>
                    <a:pt x="143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6" y="125"/>
                  </a:lnTo>
                  <a:lnTo>
                    <a:pt x="147" y="125"/>
                  </a:lnTo>
                  <a:lnTo>
                    <a:pt x="147" y="126"/>
                  </a:lnTo>
                  <a:lnTo>
                    <a:pt x="146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8" y="126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8"/>
                  </a:lnTo>
                  <a:lnTo>
                    <a:pt x="150" y="128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50" y="128"/>
                  </a:lnTo>
                  <a:lnTo>
                    <a:pt x="150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2" y="129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4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29"/>
                  </a:lnTo>
                  <a:lnTo>
                    <a:pt x="153" y="129"/>
                  </a:lnTo>
                  <a:lnTo>
                    <a:pt x="153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5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7" y="131"/>
                  </a:lnTo>
                  <a:lnTo>
                    <a:pt x="157" y="132"/>
                  </a:lnTo>
                  <a:lnTo>
                    <a:pt x="157" y="132"/>
                  </a:lnTo>
                  <a:lnTo>
                    <a:pt x="158" y="132"/>
                  </a:lnTo>
                  <a:lnTo>
                    <a:pt x="158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60" y="133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3"/>
                  </a:lnTo>
                  <a:lnTo>
                    <a:pt x="162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4" y="134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5" y="135"/>
                  </a:lnTo>
                  <a:lnTo>
                    <a:pt x="165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7" y="136"/>
                  </a:lnTo>
                  <a:lnTo>
                    <a:pt x="167" y="136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6" y="137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7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7"/>
                  </a:lnTo>
                  <a:lnTo>
                    <a:pt x="169" y="137"/>
                  </a:lnTo>
                  <a:lnTo>
                    <a:pt x="169" y="138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6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8"/>
                  </a:lnTo>
                  <a:lnTo>
                    <a:pt x="175" y="148"/>
                  </a:lnTo>
                  <a:lnTo>
                    <a:pt x="175" y="149"/>
                  </a:lnTo>
                  <a:lnTo>
                    <a:pt x="174" y="149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6"/>
                  </a:lnTo>
                  <a:lnTo>
                    <a:pt x="172" y="146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0" y="147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69" y="146"/>
                  </a:lnTo>
                  <a:lnTo>
                    <a:pt x="169" y="147"/>
                  </a:lnTo>
                  <a:lnTo>
                    <a:pt x="168" y="146"/>
                  </a:lnTo>
                  <a:lnTo>
                    <a:pt x="168" y="147"/>
                  </a:lnTo>
                  <a:lnTo>
                    <a:pt x="168" y="146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3" y="146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50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0" y="154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8"/>
                  </a:lnTo>
                  <a:lnTo>
                    <a:pt x="165" y="158"/>
                  </a:lnTo>
                  <a:lnTo>
                    <a:pt x="165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2" y="159"/>
                  </a:lnTo>
                  <a:lnTo>
                    <a:pt x="162" y="160"/>
                  </a:lnTo>
                  <a:lnTo>
                    <a:pt x="162" y="160"/>
                  </a:lnTo>
                  <a:lnTo>
                    <a:pt x="161" y="160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8" y="160"/>
                  </a:lnTo>
                  <a:lnTo>
                    <a:pt x="157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6" y="161"/>
                  </a:lnTo>
                  <a:lnTo>
                    <a:pt x="155" y="161"/>
                  </a:lnTo>
                  <a:lnTo>
                    <a:pt x="155" y="161"/>
                  </a:lnTo>
                  <a:lnTo>
                    <a:pt x="155" y="162"/>
                  </a:lnTo>
                  <a:lnTo>
                    <a:pt x="154" y="162"/>
                  </a:lnTo>
                  <a:lnTo>
                    <a:pt x="153" y="162"/>
                  </a:lnTo>
                  <a:lnTo>
                    <a:pt x="153" y="162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1" y="162"/>
                  </a:lnTo>
                  <a:lnTo>
                    <a:pt x="150" y="162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62"/>
                  </a:lnTo>
                  <a:lnTo>
                    <a:pt x="147" y="161"/>
                  </a:lnTo>
                  <a:lnTo>
                    <a:pt x="147" y="161"/>
                  </a:lnTo>
                  <a:lnTo>
                    <a:pt x="146" y="161"/>
                  </a:lnTo>
                  <a:lnTo>
                    <a:pt x="145" y="161"/>
                  </a:lnTo>
                  <a:lnTo>
                    <a:pt x="145" y="161"/>
                  </a:lnTo>
                  <a:lnTo>
                    <a:pt x="145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3" y="160"/>
                  </a:lnTo>
                  <a:lnTo>
                    <a:pt x="142" y="160"/>
                  </a:lnTo>
                  <a:lnTo>
                    <a:pt x="142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7" y="157"/>
                  </a:lnTo>
                  <a:lnTo>
                    <a:pt x="138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6" y="159"/>
                  </a:lnTo>
                  <a:lnTo>
                    <a:pt x="135" y="159"/>
                  </a:lnTo>
                  <a:lnTo>
                    <a:pt x="134" y="158"/>
                  </a:lnTo>
                  <a:lnTo>
                    <a:pt x="134" y="158"/>
                  </a:lnTo>
                  <a:lnTo>
                    <a:pt x="133" y="158"/>
                  </a:lnTo>
                  <a:lnTo>
                    <a:pt x="132" y="158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8" y="157"/>
                  </a:lnTo>
                  <a:lnTo>
                    <a:pt x="127" y="157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3" y="155"/>
                  </a:lnTo>
                  <a:lnTo>
                    <a:pt x="123" y="154"/>
                  </a:lnTo>
                  <a:lnTo>
                    <a:pt x="123" y="154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0" y="155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3"/>
                  </a:lnTo>
                  <a:lnTo>
                    <a:pt x="119" y="154"/>
                  </a:lnTo>
                  <a:lnTo>
                    <a:pt x="120" y="154"/>
                  </a:lnTo>
                  <a:lnTo>
                    <a:pt x="120" y="153"/>
                  </a:lnTo>
                  <a:lnTo>
                    <a:pt x="120" y="154"/>
                  </a:lnTo>
                  <a:lnTo>
                    <a:pt x="121" y="154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7" y="153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2" y="151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1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3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0" y="152"/>
                  </a:lnTo>
                  <a:lnTo>
                    <a:pt x="110" y="151"/>
                  </a:lnTo>
                  <a:lnTo>
                    <a:pt x="110" y="151"/>
                  </a:lnTo>
                  <a:lnTo>
                    <a:pt x="109" y="151"/>
                  </a:lnTo>
                  <a:lnTo>
                    <a:pt x="109" y="151"/>
                  </a:lnTo>
                  <a:lnTo>
                    <a:pt x="108" y="151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7" y="150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8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6" y="147"/>
                  </a:lnTo>
                  <a:lnTo>
                    <a:pt x="105" y="147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3" y="147"/>
                  </a:lnTo>
                  <a:lnTo>
                    <a:pt x="103" y="146"/>
                  </a:lnTo>
                  <a:lnTo>
                    <a:pt x="103" y="146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2" y="147"/>
                  </a:lnTo>
                  <a:lnTo>
                    <a:pt x="102" y="148"/>
                  </a:lnTo>
                  <a:lnTo>
                    <a:pt x="102" y="147"/>
                  </a:lnTo>
                  <a:lnTo>
                    <a:pt x="103" y="147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3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3" y="150"/>
                  </a:lnTo>
                  <a:lnTo>
                    <a:pt x="103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06" y="151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8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1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1" y="154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09" y="153"/>
                  </a:lnTo>
                  <a:lnTo>
                    <a:pt x="109" y="154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7"/>
                  </a:lnTo>
                  <a:lnTo>
                    <a:pt x="114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4" y="158"/>
                  </a:lnTo>
                  <a:lnTo>
                    <a:pt x="113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0" y="158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09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9" y="159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2" y="158"/>
                  </a:lnTo>
                  <a:lnTo>
                    <a:pt x="111" y="159"/>
                  </a:lnTo>
                  <a:lnTo>
                    <a:pt x="112" y="159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3" y="158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8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4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9" y="160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8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1"/>
                  </a:lnTo>
                  <a:lnTo>
                    <a:pt x="119" y="161"/>
                  </a:lnTo>
                  <a:lnTo>
                    <a:pt x="120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1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7"/>
                  </a:lnTo>
                  <a:lnTo>
                    <a:pt x="124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5"/>
                  </a:lnTo>
                  <a:lnTo>
                    <a:pt x="121" y="165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1" y="169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20" y="170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0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6"/>
                  </a:lnTo>
                  <a:lnTo>
                    <a:pt x="123" y="176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5" y="177"/>
                  </a:lnTo>
                  <a:lnTo>
                    <a:pt x="115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3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5" y="176"/>
                  </a:lnTo>
                  <a:lnTo>
                    <a:pt x="115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7" y="178"/>
                  </a:lnTo>
                  <a:lnTo>
                    <a:pt x="117" y="177"/>
                  </a:lnTo>
                  <a:lnTo>
                    <a:pt x="117" y="178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3" y="184"/>
                  </a:lnTo>
                  <a:lnTo>
                    <a:pt x="123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3" y="184"/>
                  </a:lnTo>
                  <a:lnTo>
                    <a:pt x="124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7" y="185"/>
                  </a:lnTo>
                  <a:lnTo>
                    <a:pt x="126" y="185"/>
                  </a:lnTo>
                  <a:lnTo>
                    <a:pt x="126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5"/>
                  </a:lnTo>
                  <a:lnTo>
                    <a:pt x="128" y="186"/>
                  </a:lnTo>
                  <a:lnTo>
                    <a:pt x="128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0" y="185"/>
                  </a:lnTo>
                  <a:lnTo>
                    <a:pt x="131" y="186"/>
                  </a:lnTo>
                  <a:lnTo>
                    <a:pt x="131" y="185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3" y="187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4" y="188"/>
                  </a:lnTo>
                  <a:lnTo>
                    <a:pt x="134" y="188"/>
                  </a:lnTo>
                  <a:lnTo>
                    <a:pt x="133" y="188"/>
                  </a:lnTo>
                  <a:lnTo>
                    <a:pt x="133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5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7" y="190"/>
                  </a:lnTo>
                  <a:lnTo>
                    <a:pt x="137" y="190"/>
                  </a:lnTo>
                  <a:lnTo>
                    <a:pt x="137" y="191"/>
                  </a:lnTo>
                  <a:lnTo>
                    <a:pt x="138" y="191"/>
                  </a:lnTo>
                  <a:lnTo>
                    <a:pt x="138" y="191"/>
                  </a:lnTo>
                  <a:lnTo>
                    <a:pt x="139" y="191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0" y="192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1"/>
                  </a:lnTo>
                  <a:lnTo>
                    <a:pt x="146" y="191"/>
                  </a:lnTo>
                  <a:lnTo>
                    <a:pt x="147" y="191"/>
                  </a:lnTo>
                  <a:lnTo>
                    <a:pt x="147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4" y="194"/>
                  </a:lnTo>
                  <a:lnTo>
                    <a:pt x="154" y="195"/>
                  </a:lnTo>
                  <a:lnTo>
                    <a:pt x="153" y="195"/>
                  </a:lnTo>
                  <a:lnTo>
                    <a:pt x="154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7" y="198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8" y="202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2" y="204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2" y="210"/>
                  </a:lnTo>
                  <a:lnTo>
                    <a:pt x="163" y="210"/>
                  </a:lnTo>
                  <a:lnTo>
                    <a:pt x="163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2"/>
                  </a:lnTo>
                  <a:lnTo>
                    <a:pt x="161" y="212"/>
                  </a:lnTo>
                  <a:lnTo>
                    <a:pt x="160" y="212"/>
                  </a:lnTo>
                  <a:lnTo>
                    <a:pt x="160" y="213"/>
                  </a:lnTo>
                  <a:lnTo>
                    <a:pt x="160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5"/>
                  </a:lnTo>
                  <a:lnTo>
                    <a:pt x="158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7" y="217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8" y="221"/>
                  </a:lnTo>
                  <a:lnTo>
                    <a:pt x="157" y="221"/>
                  </a:lnTo>
                  <a:lnTo>
                    <a:pt x="158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8" y="221"/>
                  </a:lnTo>
                  <a:lnTo>
                    <a:pt x="158" y="220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60" y="214"/>
                  </a:lnTo>
                  <a:lnTo>
                    <a:pt x="160" y="213"/>
                  </a:lnTo>
                  <a:lnTo>
                    <a:pt x="160" y="213"/>
                  </a:lnTo>
                  <a:lnTo>
                    <a:pt x="160" y="212"/>
                  </a:lnTo>
                  <a:lnTo>
                    <a:pt x="161" y="212"/>
                  </a:lnTo>
                  <a:lnTo>
                    <a:pt x="162" y="212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5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3" y="209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59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9" y="202"/>
                  </a:lnTo>
                  <a:lnTo>
                    <a:pt x="158" y="202"/>
                  </a:lnTo>
                  <a:lnTo>
                    <a:pt x="158" y="201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8"/>
                  </a:lnTo>
                  <a:lnTo>
                    <a:pt x="157" y="197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55" y="193"/>
                  </a:lnTo>
                  <a:lnTo>
                    <a:pt x="155" y="194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2" y="194"/>
                  </a:lnTo>
                  <a:lnTo>
                    <a:pt x="153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8" y="191"/>
                  </a:lnTo>
                  <a:lnTo>
                    <a:pt x="148" y="190"/>
                  </a:lnTo>
                  <a:lnTo>
                    <a:pt x="148" y="190"/>
                  </a:lnTo>
                  <a:lnTo>
                    <a:pt x="149" y="190"/>
                  </a:lnTo>
                  <a:lnTo>
                    <a:pt x="149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7" y="188"/>
                  </a:lnTo>
                  <a:lnTo>
                    <a:pt x="147" y="187"/>
                  </a:lnTo>
                  <a:lnTo>
                    <a:pt x="147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7" y="186"/>
                  </a:lnTo>
                  <a:lnTo>
                    <a:pt x="147" y="185"/>
                  </a:lnTo>
                  <a:lnTo>
                    <a:pt x="148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5" y="184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4" y="185"/>
                  </a:lnTo>
                  <a:lnTo>
                    <a:pt x="144" y="185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2" y="185"/>
                  </a:lnTo>
                  <a:lnTo>
                    <a:pt x="142" y="185"/>
                  </a:lnTo>
                  <a:lnTo>
                    <a:pt x="141" y="185"/>
                  </a:lnTo>
                  <a:lnTo>
                    <a:pt x="141" y="185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0" y="184"/>
                  </a:lnTo>
                  <a:lnTo>
                    <a:pt x="140" y="183"/>
                  </a:lnTo>
                  <a:lnTo>
                    <a:pt x="140" y="182"/>
                  </a:lnTo>
                  <a:lnTo>
                    <a:pt x="139" y="182"/>
                  </a:lnTo>
                  <a:lnTo>
                    <a:pt x="139" y="182"/>
                  </a:lnTo>
                  <a:lnTo>
                    <a:pt x="138" y="182"/>
                  </a:lnTo>
                  <a:lnTo>
                    <a:pt x="138" y="181"/>
                  </a:lnTo>
                  <a:lnTo>
                    <a:pt x="138" y="181"/>
                  </a:lnTo>
                  <a:lnTo>
                    <a:pt x="138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7" y="179"/>
                  </a:lnTo>
                  <a:lnTo>
                    <a:pt x="136" y="179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138" y="176"/>
                  </a:lnTo>
                  <a:lnTo>
                    <a:pt x="139" y="176"/>
                  </a:lnTo>
                  <a:lnTo>
                    <a:pt x="138" y="176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8" y="175"/>
                  </a:lnTo>
                  <a:lnTo>
                    <a:pt x="138" y="174"/>
                  </a:lnTo>
                  <a:lnTo>
                    <a:pt x="139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2" y="174"/>
                  </a:lnTo>
                  <a:lnTo>
                    <a:pt x="142" y="175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5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76"/>
                  </a:lnTo>
                  <a:lnTo>
                    <a:pt x="146" y="176"/>
                  </a:lnTo>
                  <a:lnTo>
                    <a:pt x="145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7" y="177"/>
                  </a:lnTo>
                  <a:lnTo>
                    <a:pt x="147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50" y="178"/>
                  </a:lnTo>
                  <a:lnTo>
                    <a:pt x="151" y="178"/>
                  </a:lnTo>
                  <a:lnTo>
                    <a:pt x="151" y="178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0" y="179"/>
                  </a:lnTo>
                  <a:lnTo>
                    <a:pt x="150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8" y="179"/>
                  </a:lnTo>
                  <a:lnTo>
                    <a:pt x="148" y="180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8" y="181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0"/>
                  </a:lnTo>
                  <a:lnTo>
                    <a:pt x="150" y="180"/>
                  </a:lnTo>
                  <a:lnTo>
                    <a:pt x="151" y="180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3" y="179"/>
                  </a:lnTo>
                  <a:lnTo>
                    <a:pt x="153" y="179"/>
                  </a:lnTo>
                  <a:lnTo>
                    <a:pt x="154" y="179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80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7" y="181"/>
                  </a:lnTo>
                  <a:lnTo>
                    <a:pt x="157" y="181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3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3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3" y="182"/>
                  </a:lnTo>
                  <a:lnTo>
                    <a:pt x="163" y="181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4" y="181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5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3"/>
                  </a:lnTo>
                  <a:lnTo>
                    <a:pt x="166" y="184"/>
                  </a:lnTo>
                  <a:lnTo>
                    <a:pt x="166" y="183"/>
                  </a:lnTo>
                  <a:lnTo>
                    <a:pt x="166" y="182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7" y="183"/>
                  </a:lnTo>
                  <a:lnTo>
                    <a:pt x="167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7" y="184"/>
                  </a:lnTo>
                  <a:lnTo>
                    <a:pt x="167" y="183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8" y="183"/>
                  </a:lnTo>
                  <a:lnTo>
                    <a:pt x="168" y="183"/>
                  </a:lnTo>
                  <a:lnTo>
                    <a:pt x="169" y="183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2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6" y="185"/>
                  </a:lnTo>
                  <a:lnTo>
                    <a:pt x="176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8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7"/>
                  </a:lnTo>
                  <a:lnTo>
                    <a:pt x="179" y="187"/>
                  </a:lnTo>
                  <a:lnTo>
                    <a:pt x="179" y="187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8" y="188"/>
                  </a:lnTo>
                  <a:lnTo>
                    <a:pt x="178" y="188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91"/>
                  </a:lnTo>
                  <a:lnTo>
                    <a:pt x="177" y="191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6" y="192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8" y="195"/>
                  </a:lnTo>
                  <a:lnTo>
                    <a:pt x="179" y="195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0" y="200"/>
                  </a:lnTo>
                  <a:lnTo>
                    <a:pt x="180" y="201"/>
                  </a:lnTo>
                  <a:lnTo>
                    <a:pt x="181" y="201"/>
                  </a:lnTo>
                  <a:lnTo>
                    <a:pt x="180" y="201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0" y="203"/>
                  </a:lnTo>
                  <a:lnTo>
                    <a:pt x="180" y="202"/>
                  </a:lnTo>
                  <a:lnTo>
                    <a:pt x="180" y="203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4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4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7" y="206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7" y="207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9"/>
                  </a:lnTo>
                  <a:lnTo>
                    <a:pt x="187" y="209"/>
                  </a:lnTo>
                  <a:lnTo>
                    <a:pt x="188" y="209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6" y="209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7" y="213"/>
                  </a:lnTo>
                  <a:lnTo>
                    <a:pt x="187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7" y="215"/>
                  </a:lnTo>
                  <a:lnTo>
                    <a:pt x="186" y="216"/>
                  </a:lnTo>
                  <a:lnTo>
                    <a:pt x="187" y="215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4" y="223"/>
                  </a:lnTo>
                  <a:lnTo>
                    <a:pt x="183" y="223"/>
                  </a:lnTo>
                  <a:lnTo>
                    <a:pt x="183" y="224"/>
                  </a:lnTo>
                  <a:lnTo>
                    <a:pt x="184" y="224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2" y="228"/>
                  </a:lnTo>
                  <a:lnTo>
                    <a:pt x="181" y="228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0" y="229"/>
                  </a:lnTo>
                  <a:lnTo>
                    <a:pt x="180" y="228"/>
                  </a:lnTo>
                  <a:lnTo>
                    <a:pt x="180" y="227"/>
                  </a:lnTo>
                  <a:lnTo>
                    <a:pt x="180" y="228"/>
                  </a:lnTo>
                  <a:lnTo>
                    <a:pt x="180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4"/>
                  </a:lnTo>
                  <a:lnTo>
                    <a:pt x="183" y="224"/>
                  </a:lnTo>
                  <a:lnTo>
                    <a:pt x="183" y="223"/>
                  </a:lnTo>
                  <a:lnTo>
                    <a:pt x="184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6" y="224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6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7" y="227"/>
                  </a:lnTo>
                  <a:lnTo>
                    <a:pt x="188" y="227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6" y="226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9" y="211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8" y="209"/>
                  </a:lnTo>
                  <a:lnTo>
                    <a:pt x="188" y="209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7" y="207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9" y="206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1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8" y="211"/>
                  </a:lnTo>
                  <a:lnTo>
                    <a:pt x="198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2" y="212"/>
                  </a:lnTo>
                  <a:lnTo>
                    <a:pt x="202" y="212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2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198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09"/>
                  </a:lnTo>
                  <a:lnTo>
                    <a:pt x="193" y="209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1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89" y="206"/>
                  </a:lnTo>
                  <a:lnTo>
                    <a:pt x="189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7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7" y="203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9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7" y="203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4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1" y="202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1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0" y="198"/>
                  </a:lnTo>
                  <a:lnTo>
                    <a:pt x="179" y="198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8" y="195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6" y="194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6" y="193"/>
                  </a:lnTo>
                  <a:lnTo>
                    <a:pt x="176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8" y="192"/>
                  </a:lnTo>
                  <a:lnTo>
                    <a:pt x="177" y="191"/>
                  </a:lnTo>
                  <a:lnTo>
                    <a:pt x="178" y="191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80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3" y="188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4" y="187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7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3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4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6" y="181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7" y="182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8" y="184"/>
                  </a:lnTo>
                  <a:lnTo>
                    <a:pt x="198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89" y="184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5" y="186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4" y="187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3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0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9" y="187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5"/>
                  </a:lnTo>
                  <a:lnTo>
                    <a:pt x="178" y="185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7" y="186"/>
                  </a:lnTo>
                  <a:lnTo>
                    <a:pt x="177" y="185"/>
                  </a:lnTo>
                  <a:lnTo>
                    <a:pt x="176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2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0" y="183"/>
                  </a:lnTo>
                  <a:lnTo>
                    <a:pt x="169" y="183"/>
                  </a:lnTo>
                  <a:lnTo>
                    <a:pt x="168" y="183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9" y="182"/>
                  </a:lnTo>
                  <a:lnTo>
                    <a:pt x="170" y="182"/>
                  </a:lnTo>
                  <a:lnTo>
                    <a:pt x="169" y="182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2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7" y="179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6" y="177"/>
                  </a:lnTo>
                  <a:lnTo>
                    <a:pt x="167" y="176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64" y="175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2"/>
                  </a:lnTo>
                  <a:lnTo>
                    <a:pt x="162" y="172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2" y="169"/>
                  </a:lnTo>
                  <a:lnTo>
                    <a:pt x="162" y="168"/>
                  </a:lnTo>
                  <a:lnTo>
                    <a:pt x="163" y="168"/>
                  </a:lnTo>
                  <a:lnTo>
                    <a:pt x="163" y="168"/>
                  </a:lnTo>
                  <a:lnTo>
                    <a:pt x="163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5" y="167"/>
                  </a:lnTo>
                  <a:lnTo>
                    <a:pt x="165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8" y="165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9" y="164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2"/>
                  </a:lnTo>
                  <a:lnTo>
                    <a:pt x="173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6" y="161"/>
                  </a:lnTo>
                  <a:lnTo>
                    <a:pt x="177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2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8" y="160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9" y="159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80" y="158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8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81" y="156"/>
                  </a:lnTo>
                  <a:lnTo>
                    <a:pt x="181" y="156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3" y="156"/>
                  </a:lnTo>
                  <a:lnTo>
                    <a:pt x="184" y="156"/>
                  </a:lnTo>
                  <a:lnTo>
                    <a:pt x="184" y="156"/>
                  </a:lnTo>
                  <a:lnTo>
                    <a:pt x="185" y="156"/>
                  </a:lnTo>
                  <a:lnTo>
                    <a:pt x="185" y="156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7" y="157"/>
                  </a:lnTo>
                  <a:lnTo>
                    <a:pt x="188" y="157"/>
                  </a:lnTo>
                  <a:lnTo>
                    <a:pt x="188" y="157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90" y="157"/>
                  </a:lnTo>
                  <a:lnTo>
                    <a:pt x="191" y="157"/>
                  </a:lnTo>
                  <a:lnTo>
                    <a:pt x="191" y="157"/>
                  </a:lnTo>
                  <a:lnTo>
                    <a:pt x="191" y="158"/>
                  </a:lnTo>
                  <a:lnTo>
                    <a:pt x="192" y="158"/>
                  </a:lnTo>
                  <a:lnTo>
                    <a:pt x="192" y="158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4" y="159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1"/>
                  </a:lnTo>
                  <a:lnTo>
                    <a:pt x="191" y="161"/>
                  </a:lnTo>
                  <a:lnTo>
                    <a:pt x="190" y="161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5"/>
                  </a:lnTo>
                  <a:lnTo>
                    <a:pt x="191" y="165"/>
                  </a:lnTo>
                  <a:lnTo>
                    <a:pt x="191" y="166"/>
                  </a:lnTo>
                  <a:lnTo>
                    <a:pt x="192" y="166"/>
                  </a:lnTo>
                  <a:lnTo>
                    <a:pt x="191" y="166"/>
                  </a:lnTo>
                  <a:lnTo>
                    <a:pt x="191" y="165"/>
                  </a:lnTo>
                  <a:lnTo>
                    <a:pt x="192" y="165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3" y="164"/>
                  </a:lnTo>
                  <a:lnTo>
                    <a:pt x="193" y="165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4" y="169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69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3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3" y="165"/>
                  </a:lnTo>
                  <a:lnTo>
                    <a:pt x="193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1"/>
                  </a:lnTo>
                  <a:lnTo>
                    <a:pt x="192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5" y="160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6" y="161"/>
                  </a:lnTo>
                  <a:lnTo>
                    <a:pt x="196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6" y="162"/>
                  </a:lnTo>
                  <a:lnTo>
                    <a:pt x="197" y="163"/>
                  </a:lnTo>
                  <a:lnTo>
                    <a:pt x="196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8" y="165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1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6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2" y="165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199" y="166"/>
                  </a:lnTo>
                  <a:lnTo>
                    <a:pt x="199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8"/>
                  </a:lnTo>
                  <a:lnTo>
                    <a:pt x="197" y="157"/>
                  </a:lnTo>
                  <a:lnTo>
                    <a:pt x="198" y="157"/>
                  </a:lnTo>
                  <a:lnTo>
                    <a:pt x="198" y="157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5"/>
                  </a:lnTo>
                  <a:lnTo>
                    <a:pt x="199" y="155"/>
                  </a:lnTo>
                  <a:lnTo>
                    <a:pt x="200" y="154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1" y="154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199" y="152"/>
                  </a:lnTo>
                  <a:lnTo>
                    <a:pt x="199" y="152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0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199" y="149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200" y="147"/>
                  </a:lnTo>
                  <a:lnTo>
                    <a:pt x="199" y="147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8" y="148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8" y="146"/>
                  </a:lnTo>
                  <a:lnTo>
                    <a:pt x="197" y="146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7" y="146"/>
                  </a:lnTo>
                  <a:lnTo>
                    <a:pt x="196" y="146"/>
                  </a:lnTo>
                  <a:lnTo>
                    <a:pt x="196" y="146"/>
                  </a:lnTo>
                  <a:lnTo>
                    <a:pt x="195" y="146"/>
                  </a:lnTo>
                  <a:lnTo>
                    <a:pt x="194" y="146"/>
                  </a:lnTo>
                  <a:lnTo>
                    <a:pt x="194" y="145"/>
                  </a:lnTo>
                  <a:lnTo>
                    <a:pt x="194" y="145"/>
                  </a:lnTo>
                  <a:lnTo>
                    <a:pt x="194" y="144"/>
                  </a:lnTo>
                  <a:lnTo>
                    <a:pt x="194" y="144"/>
                  </a:lnTo>
                  <a:lnTo>
                    <a:pt x="195" y="144"/>
                  </a:lnTo>
                  <a:lnTo>
                    <a:pt x="195" y="143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7" y="139"/>
                  </a:lnTo>
                  <a:lnTo>
                    <a:pt x="197" y="139"/>
                  </a:lnTo>
                  <a:lnTo>
                    <a:pt x="197" y="138"/>
                  </a:lnTo>
                  <a:lnTo>
                    <a:pt x="197" y="138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00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7" y="136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8" y="135"/>
                  </a:lnTo>
                  <a:lnTo>
                    <a:pt x="197" y="135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8" y="132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8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6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4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2" y="127"/>
                  </a:lnTo>
                  <a:lnTo>
                    <a:pt x="192" y="126"/>
                  </a:lnTo>
                  <a:lnTo>
                    <a:pt x="191" y="126"/>
                  </a:lnTo>
                  <a:lnTo>
                    <a:pt x="191" y="126"/>
                  </a:lnTo>
                  <a:lnTo>
                    <a:pt x="190" y="126"/>
                  </a:lnTo>
                  <a:lnTo>
                    <a:pt x="190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2" y="125"/>
                  </a:lnTo>
                  <a:lnTo>
                    <a:pt x="193" y="125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4" y="126"/>
                  </a:lnTo>
                  <a:lnTo>
                    <a:pt x="194" y="126"/>
                  </a:lnTo>
                  <a:lnTo>
                    <a:pt x="195" y="126"/>
                  </a:lnTo>
                  <a:lnTo>
                    <a:pt x="196" y="127"/>
                  </a:lnTo>
                  <a:lnTo>
                    <a:pt x="196" y="127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8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200" y="127"/>
                  </a:lnTo>
                  <a:lnTo>
                    <a:pt x="200" y="127"/>
                  </a:lnTo>
                  <a:lnTo>
                    <a:pt x="201" y="127"/>
                  </a:lnTo>
                  <a:lnTo>
                    <a:pt x="201" y="127"/>
                  </a:lnTo>
                  <a:lnTo>
                    <a:pt x="202" y="127"/>
                  </a:lnTo>
                  <a:lnTo>
                    <a:pt x="203" y="127"/>
                  </a:lnTo>
                  <a:lnTo>
                    <a:pt x="203" y="127"/>
                  </a:lnTo>
                  <a:lnTo>
                    <a:pt x="204" y="127"/>
                  </a:lnTo>
                  <a:lnTo>
                    <a:pt x="204" y="127"/>
                  </a:lnTo>
                  <a:lnTo>
                    <a:pt x="205" y="127"/>
                  </a:lnTo>
                  <a:lnTo>
                    <a:pt x="205" y="127"/>
                  </a:lnTo>
                  <a:lnTo>
                    <a:pt x="207" y="127"/>
                  </a:lnTo>
                  <a:lnTo>
                    <a:pt x="208" y="127"/>
                  </a:lnTo>
                  <a:lnTo>
                    <a:pt x="208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10" y="127"/>
                  </a:lnTo>
                  <a:lnTo>
                    <a:pt x="210" y="128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30"/>
                  </a:lnTo>
                  <a:lnTo>
                    <a:pt x="212" y="130"/>
                  </a:lnTo>
                  <a:lnTo>
                    <a:pt x="213" y="130"/>
                  </a:lnTo>
                  <a:lnTo>
                    <a:pt x="214" y="130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5" y="132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6" y="132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7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5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4"/>
                  </a:lnTo>
                  <a:lnTo>
                    <a:pt x="216" y="134"/>
                  </a:lnTo>
                  <a:lnTo>
                    <a:pt x="217" y="134"/>
                  </a:lnTo>
                  <a:lnTo>
                    <a:pt x="217" y="135"/>
                  </a:lnTo>
                  <a:lnTo>
                    <a:pt x="218" y="135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7" y="137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4" y="137"/>
                  </a:lnTo>
                  <a:lnTo>
                    <a:pt x="213" y="138"/>
                  </a:lnTo>
                  <a:lnTo>
                    <a:pt x="212" y="138"/>
                  </a:lnTo>
                  <a:lnTo>
                    <a:pt x="212" y="137"/>
                  </a:lnTo>
                  <a:lnTo>
                    <a:pt x="212" y="138"/>
                  </a:lnTo>
                  <a:lnTo>
                    <a:pt x="211" y="138"/>
                  </a:lnTo>
                  <a:lnTo>
                    <a:pt x="211" y="138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8" y="138"/>
                  </a:lnTo>
                  <a:lnTo>
                    <a:pt x="208" y="138"/>
                  </a:lnTo>
                  <a:lnTo>
                    <a:pt x="207" y="138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1"/>
                  </a:lnTo>
                  <a:lnTo>
                    <a:pt x="206" y="141"/>
                  </a:lnTo>
                  <a:lnTo>
                    <a:pt x="205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3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6" y="145"/>
                  </a:lnTo>
                  <a:lnTo>
                    <a:pt x="207" y="145"/>
                  </a:lnTo>
                  <a:lnTo>
                    <a:pt x="207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09" y="146"/>
                  </a:lnTo>
                  <a:lnTo>
                    <a:pt x="209" y="147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10" y="148"/>
                  </a:lnTo>
                  <a:lnTo>
                    <a:pt x="210" y="149"/>
                  </a:lnTo>
                  <a:lnTo>
                    <a:pt x="211" y="149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3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5" y="151"/>
                  </a:lnTo>
                  <a:lnTo>
                    <a:pt x="215" y="151"/>
                  </a:lnTo>
                  <a:lnTo>
                    <a:pt x="216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19" y="152"/>
                  </a:lnTo>
                  <a:lnTo>
                    <a:pt x="220" y="151"/>
                  </a:lnTo>
                  <a:lnTo>
                    <a:pt x="220" y="152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1" y="151"/>
                  </a:lnTo>
                  <a:lnTo>
                    <a:pt x="222" y="151"/>
                  </a:lnTo>
                  <a:lnTo>
                    <a:pt x="222" y="150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4" y="150"/>
                  </a:lnTo>
                  <a:lnTo>
                    <a:pt x="224" y="150"/>
                  </a:lnTo>
                  <a:lnTo>
                    <a:pt x="225" y="150"/>
                  </a:lnTo>
                  <a:lnTo>
                    <a:pt x="225" y="151"/>
                  </a:lnTo>
                  <a:lnTo>
                    <a:pt x="224" y="151"/>
                  </a:lnTo>
                  <a:lnTo>
                    <a:pt x="225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5" y="151"/>
                  </a:lnTo>
                  <a:lnTo>
                    <a:pt x="225" y="150"/>
                  </a:lnTo>
                  <a:lnTo>
                    <a:pt x="225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8"/>
                  </a:lnTo>
                  <a:lnTo>
                    <a:pt x="226" y="148"/>
                  </a:lnTo>
                  <a:lnTo>
                    <a:pt x="226" y="147"/>
                  </a:lnTo>
                  <a:lnTo>
                    <a:pt x="226" y="146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6" y="145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8" y="142"/>
                  </a:lnTo>
                  <a:lnTo>
                    <a:pt x="228" y="142"/>
                  </a:lnTo>
                  <a:lnTo>
                    <a:pt x="229" y="142"/>
                  </a:lnTo>
                  <a:lnTo>
                    <a:pt x="228" y="142"/>
                  </a:lnTo>
                  <a:lnTo>
                    <a:pt x="227" y="142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0"/>
                  </a:lnTo>
                  <a:lnTo>
                    <a:pt x="228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1"/>
                  </a:lnTo>
                  <a:lnTo>
                    <a:pt x="229" y="140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2" y="140"/>
                  </a:lnTo>
                  <a:lnTo>
                    <a:pt x="233" y="140"/>
                  </a:lnTo>
                  <a:lnTo>
                    <a:pt x="233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5" y="139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39"/>
                  </a:lnTo>
                  <a:lnTo>
                    <a:pt x="235" y="139"/>
                  </a:lnTo>
                  <a:lnTo>
                    <a:pt x="235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4" y="139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5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3" y="136"/>
                  </a:lnTo>
                  <a:lnTo>
                    <a:pt x="233" y="135"/>
                  </a:lnTo>
                  <a:lnTo>
                    <a:pt x="233" y="136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5" y="137"/>
                  </a:lnTo>
                  <a:lnTo>
                    <a:pt x="235" y="137"/>
                  </a:lnTo>
                  <a:lnTo>
                    <a:pt x="236" y="137"/>
                  </a:lnTo>
                  <a:lnTo>
                    <a:pt x="237" y="137"/>
                  </a:lnTo>
                  <a:lnTo>
                    <a:pt x="237" y="137"/>
                  </a:lnTo>
                  <a:lnTo>
                    <a:pt x="238" y="137"/>
                  </a:lnTo>
                  <a:lnTo>
                    <a:pt x="240" y="136"/>
                  </a:lnTo>
                  <a:lnTo>
                    <a:pt x="240" y="135"/>
                  </a:lnTo>
                  <a:lnTo>
                    <a:pt x="241" y="135"/>
                  </a:lnTo>
                  <a:lnTo>
                    <a:pt x="241" y="135"/>
                  </a:lnTo>
                  <a:lnTo>
                    <a:pt x="243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4" y="135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6" y="133"/>
                  </a:lnTo>
                  <a:lnTo>
                    <a:pt x="247" y="132"/>
                  </a:lnTo>
                  <a:lnTo>
                    <a:pt x="248" y="131"/>
                  </a:lnTo>
                  <a:lnTo>
                    <a:pt x="248" y="131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29"/>
                  </a:lnTo>
                  <a:lnTo>
                    <a:pt x="251" y="129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8"/>
                  </a:lnTo>
                  <a:lnTo>
                    <a:pt x="257" y="128"/>
                  </a:lnTo>
                  <a:lnTo>
                    <a:pt x="257" y="127"/>
                  </a:lnTo>
                  <a:lnTo>
                    <a:pt x="257" y="127"/>
                  </a:lnTo>
                  <a:lnTo>
                    <a:pt x="258" y="127"/>
                  </a:lnTo>
                  <a:lnTo>
                    <a:pt x="259" y="127"/>
                  </a:lnTo>
                  <a:lnTo>
                    <a:pt x="259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2" y="126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1" y="128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1" y="130"/>
                  </a:lnTo>
                  <a:lnTo>
                    <a:pt x="262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1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4" y="130"/>
                  </a:lnTo>
                  <a:lnTo>
                    <a:pt x="265" y="129"/>
                  </a:lnTo>
                  <a:lnTo>
                    <a:pt x="265" y="130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7" y="127"/>
                  </a:lnTo>
                  <a:lnTo>
                    <a:pt x="266" y="128"/>
                  </a:lnTo>
                  <a:lnTo>
                    <a:pt x="266" y="127"/>
                  </a:lnTo>
                  <a:lnTo>
                    <a:pt x="266" y="127"/>
                  </a:lnTo>
                  <a:lnTo>
                    <a:pt x="265" y="127"/>
                  </a:lnTo>
                  <a:lnTo>
                    <a:pt x="265" y="127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6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3" y="126"/>
                  </a:lnTo>
                  <a:lnTo>
                    <a:pt x="263" y="126"/>
                  </a:lnTo>
                  <a:lnTo>
                    <a:pt x="264" y="125"/>
                  </a:lnTo>
                  <a:lnTo>
                    <a:pt x="265" y="125"/>
                  </a:lnTo>
                  <a:lnTo>
                    <a:pt x="266" y="124"/>
                  </a:lnTo>
                  <a:lnTo>
                    <a:pt x="267" y="124"/>
                  </a:lnTo>
                  <a:lnTo>
                    <a:pt x="268" y="123"/>
                  </a:lnTo>
                  <a:lnTo>
                    <a:pt x="269" y="123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7" y="124"/>
                  </a:lnTo>
                  <a:lnTo>
                    <a:pt x="267" y="125"/>
                  </a:lnTo>
                  <a:lnTo>
                    <a:pt x="268" y="125"/>
                  </a:lnTo>
                  <a:lnTo>
                    <a:pt x="268" y="125"/>
                  </a:lnTo>
                  <a:lnTo>
                    <a:pt x="268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1" y="126"/>
                  </a:lnTo>
                  <a:lnTo>
                    <a:pt x="271" y="125"/>
                  </a:lnTo>
                  <a:lnTo>
                    <a:pt x="270" y="125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69" y="126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70" y="124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69" y="123"/>
                  </a:lnTo>
                  <a:lnTo>
                    <a:pt x="269" y="123"/>
                  </a:lnTo>
                  <a:lnTo>
                    <a:pt x="271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4" y="122"/>
                  </a:lnTo>
                  <a:lnTo>
                    <a:pt x="275" y="121"/>
                  </a:lnTo>
                  <a:lnTo>
                    <a:pt x="275" y="121"/>
                  </a:lnTo>
                  <a:lnTo>
                    <a:pt x="276" y="121"/>
                  </a:lnTo>
                  <a:lnTo>
                    <a:pt x="276" y="120"/>
                  </a:lnTo>
                  <a:lnTo>
                    <a:pt x="277" y="120"/>
                  </a:lnTo>
                  <a:lnTo>
                    <a:pt x="278" y="120"/>
                  </a:lnTo>
                  <a:lnTo>
                    <a:pt x="278" y="120"/>
                  </a:lnTo>
                  <a:lnTo>
                    <a:pt x="279" y="120"/>
                  </a:lnTo>
                  <a:lnTo>
                    <a:pt x="279" y="120"/>
                  </a:lnTo>
                  <a:lnTo>
                    <a:pt x="280" y="120"/>
                  </a:lnTo>
                  <a:lnTo>
                    <a:pt x="281" y="120"/>
                  </a:lnTo>
                  <a:lnTo>
                    <a:pt x="281" y="120"/>
                  </a:lnTo>
                  <a:lnTo>
                    <a:pt x="281" y="121"/>
                  </a:lnTo>
                  <a:lnTo>
                    <a:pt x="280" y="120"/>
                  </a:lnTo>
                  <a:lnTo>
                    <a:pt x="280" y="121"/>
                  </a:lnTo>
                  <a:lnTo>
                    <a:pt x="279" y="121"/>
                  </a:lnTo>
                  <a:lnTo>
                    <a:pt x="279" y="121"/>
                  </a:lnTo>
                  <a:lnTo>
                    <a:pt x="278" y="121"/>
                  </a:lnTo>
                  <a:lnTo>
                    <a:pt x="278" y="121"/>
                  </a:lnTo>
                  <a:lnTo>
                    <a:pt x="277" y="121"/>
                  </a:lnTo>
                  <a:lnTo>
                    <a:pt x="277" y="122"/>
                  </a:lnTo>
                  <a:lnTo>
                    <a:pt x="276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6" y="122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5" y="123"/>
                  </a:lnTo>
                  <a:lnTo>
                    <a:pt x="275" y="124"/>
                  </a:lnTo>
                  <a:lnTo>
                    <a:pt x="275" y="124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5" y="126"/>
                  </a:lnTo>
                  <a:lnTo>
                    <a:pt x="275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6" y="127"/>
                  </a:lnTo>
                  <a:lnTo>
                    <a:pt x="276" y="128"/>
                  </a:lnTo>
                  <a:lnTo>
                    <a:pt x="276" y="129"/>
                  </a:lnTo>
                  <a:lnTo>
                    <a:pt x="276" y="129"/>
                  </a:lnTo>
                  <a:lnTo>
                    <a:pt x="275" y="129"/>
                  </a:lnTo>
                  <a:lnTo>
                    <a:pt x="275" y="129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0" y="130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6" y="135"/>
                  </a:lnTo>
                  <a:lnTo>
                    <a:pt x="266" y="136"/>
                  </a:lnTo>
                  <a:lnTo>
                    <a:pt x="266" y="136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5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3" y="137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4" y="138"/>
                  </a:lnTo>
                  <a:lnTo>
                    <a:pt x="264" y="138"/>
                  </a:lnTo>
                  <a:lnTo>
                    <a:pt x="265" y="138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8" y="136"/>
                  </a:lnTo>
                  <a:lnTo>
                    <a:pt x="268" y="136"/>
                  </a:lnTo>
                  <a:lnTo>
                    <a:pt x="269" y="136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8" y="136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70" y="136"/>
                  </a:lnTo>
                  <a:lnTo>
                    <a:pt x="270" y="135"/>
                  </a:lnTo>
                  <a:lnTo>
                    <a:pt x="271" y="135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7" y="137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5" y="138"/>
                  </a:lnTo>
                  <a:lnTo>
                    <a:pt x="265" y="139"/>
                  </a:lnTo>
                  <a:lnTo>
                    <a:pt x="264" y="139"/>
                  </a:lnTo>
                  <a:lnTo>
                    <a:pt x="264" y="139"/>
                  </a:lnTo>
                  <a:lnTo>
                    <a:pt x="263" y="139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2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1" y="144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2" y="150"/>
                  </a:lnTo>
                  <a:lnTo>
                    <a:pt x="262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8"/>
                  </a:lnTo>
                  <a:lnTo>
                    <a:pt x="264" y="158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4" y="161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2" y="165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2" y="165"/>
                  </a:lnTo>
                  <a:lnTo>
                    <a:pt x="262" y="166"/>
                  </a:lnTo>
                  <a:lnTo>
                    <a:pt x="261" y="166"/>
                  </a:lnTo>
                  <a:lnTo>
                    <a:pt x="261" y="166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1" y="168"/>
                  </a:lnTo>
                  <a:lnTo>
                    <a:pt x="261" y="168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0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59" y="170"/>
                  </a:lnTo>
                  <a:lnTo>
                    <a:pt x="258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8" y="170"/>
                  </a:lnTo>
                  <a:lnTo>
                    <a:pt x="258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2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4" y="171"/>
                  </a:lnTo>
                  <a:lnTo>
                    <a:pt x="264" y="171"/>
                  </a:lnTo>
                  <a:lnTo>
                    <a:pt x="265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6" y="173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3" y="173"/>
                  </a:lnTo>
                  <a:lnTo>
                    <a:pt x="274" y="173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5" y="174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6" y="175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1" y="180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3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2" y="185"/>
                  </a:lnTo>
                  <a:lnTo>
                    <a:pt x="273" y="185"/>
                  </a:lnTo>
                  <a:lnTo>
                    <a:pt x="273" y="184"/>
                  </a:lnTo>
                  <a:lnTo>
                    <a:pt x="274" y="184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3" y="185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3" y="186"/>
                  </a:lnTo>
                  <a:lnTo>
                    <a:pt x="273" y="187"/>
                  </a:lnTo>
                  <a:lnTo>
                    <a:pt x="273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4" y="189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3" y="188"/>
                  </a:lnTo>
                  <a:lnTo>
                    <a:pt x="273" y="187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4" y="186"/>
                  </a:lnTo>
                  <a:lnTo>
                    <a:pt x="273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4"/>
                  </a:lnTo>
                  <a:lnTo>
                    <a:pt x="273" y="184"/>
                  </a:lnTo>
                  <a:lnTo>
                    <a:pt x="272" y="185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1" y="183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0"/>
                  </a:lnTo>
                  <a:lnTo>
                    <a:pt x="272" y="180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5" y="179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6" y="175"/>
                  </a:lnTo>
                  <a:lnTo>
                    <a:pt x="276" y="175"/>
                  </a:lnTo>
                  <a:lnTo>
                    <a:pt x="275" y="175"/>
                  </a:lnTo>
                  <a:lnTo>
                    <a:pt x="275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3"/>
                  </a:lnTo>
                  <a:lnTo>
                    <a:pt x="273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0" y="173"/>
                  </a:lnTo>
                  <a:lnTo>
                    <a:pt x="270" y="172"/>
                  </a:lnTo>
                  <a:lnTo>
                    <a:pt x="271" y="173"/>
                  </a:lnTo>
                  <a:lnTo>
                    <a:pt x="271" y="172"/>
                  </a:lnTo>
                  <a:lnTo>
                    <a:pt x="270" y="172"/>
                  </a:lnTo>
                  <a:lnTo>
                    <a:pt x="270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8" y="172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1" y="171"/>
                  </a:lnTo>
                  <a:lnTo>
                    <a:pt x="271" y="172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3" y="171"/>
                  </a:lnTo>
                  <a:lnTo>
                    <a:pt x="274" y="171"/>
                  </a:lnTo>
                  <a:lnTo>
                    <a:pt x="274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7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80" y="169"/>
                  </a:lnTo>
                  <a:lnTo>
                    <a:pt x="280" y="170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80" y="168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4" y="166"/>
                  </a:lnTo>
                  <a:lnTo>
                    <a:pt x="284" y="165"/>
                  </a:lnTo>
                  <a:lnTo>
                    <a:pt x="285" y="165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1"/>
                  </a:lnTo>
                  <a:lnTo>
                    <a:pt x="287" y="161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9" y="160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90" y="159"/>
                  </a:lnTo>
                  <a:lnTo>
                    <a:pt x="290" y="159"/>
                  </a:lnTo>
                  <a:lnTo>
                    <a:pt x="291" y="159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9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9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8" y="164"/>
                  </a:lnTo>
                  <a:lnTo>
                    <a:pt x="298" y="165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9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5"/>
                  </a:lnTo>
                  <a:lnTo>
                    <a:pt x="302" y="175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2" y="175"/>
                  </a:lnTo>
                  <a:lnTo>
                    <a:pt x="302" y="176"/>
                  </a:lnTo>
                  <a:lnTo>
                    <a:pt x="303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7" y="181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6" y="183"/>
                  </a:lnTo>
                  <a:lnTo>
                    <a:pt x="306" y="184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6"/>
                  </a:lnTo>
                  <a:lnTo>
                    <a:pt x="306" y="185"/>
                  </a:lnTo>
                  <a:lnTo>
                    <a:pt x="305" y="185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5" y="186"/>
                  </a:lnTo>
                  <a:lnTo>
                    <a:pt x="305" y="186"/>
                  </a:lnTo>
                  <a:lnTo>
                    <a:pt x="305" y="187"/>
                  </a:lnTo>
                  <a:lnTo>
                    <a:pt x="304" y="187"/>
                  </a:lnTo>
                  <a:lnTo>
                    <a:pt x="304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9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1" y="191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298" y="192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5"/>
                  </a:lnTo>
                  <a:lnTo>
                    <a:pt x="297" y="195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5" y="199"/>
                  </a:lnTo>
                  <a:lnTo>
                    <a:pt x="295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2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5" y="205"/>
                  </a:lnTo>
                  <a:lnTo>
                    <a:pt x="294" y="206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5" y="207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6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8" y="208"/>
                  </a:lnTo>
                  <a:lnTo>
                    <a:pt x="298" y="209"/>
                  </a:lnTo>
                  <a:lnTo>
                    <a:pt x="298" y="210"/>
                  </a:lnTo>
                  <a:lnTo>
                    <a:pt x="298" y="209"/>
                  </a:lnTo>
                  <a:lnTo>
                    <a:pt x="298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6" y="208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5" y="207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4" y="206"/>
                  </a:lnTo>
                  <a:lnTo>
                    <a:pt x="295" y="205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2" y="203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4" y="201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5" y="200"/>
                  </a:lnTo>
                  <a:lnTo>
                    <a:pt x="295" y="200"/>
                  </a:lnTo>
                  <a:lnTo>
                    <a:pt x="296" y="200"/>
                  </a:lnTo>
                  <a:lnTo>
                    <a:pt x="295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7" y="195"/>
                  </a:lnTo>
                  <a:lnTo>
                    <a:pt x="298" y="195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5" y="191"/>
                  </a:lnTo>
                  <a:lnTo>
                    <a:pt x="305" y="191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4" y="188"/>
                  </a:lnTo>
                  <a:lnTo>
                    <a:pt x="304" y="187"/>
                  </a:lnTo>
                  <a:lnTo>
                    <a:pt x="305" y="187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6" y="185"/>
                  </a:lnTo>
                  <a:lnTo>
                    <a:pt x="306" y="186"/>
                  </a:lnTo>
                  <a:lnTo>
                    <a:pt x="307" y="186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8" y="183"/>
                  </a:lnTo>
                  <a:lnTo>
                    <a:pt x="307" y="183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3" y="176"/>
                  </a:lnTo>
                  <a:lnTo>
                    <a:pt x="302" y="176"/>
                  </a:lnTo>
                  <a:lnTo>
                    <a:pt x="302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1" y="175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2" y="170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299" y="165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300" y="164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1" y="163"/>
                  </a:lnTo>
                  <a:lnTo>
                    <a:pt x="301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3" y="164"/>
                  </a:lnTo>
                  <a:lnTo>
                    <a:pt x="304" y="164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2"/>
                  </a:lnTo>
                  <a:lnTo>
                    <a:pt x="310" y="162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4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7" y="157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9" y="155"/>
                  </a:lnTo>
                  <a:lnTo>
                    <a:pt x="319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1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3" y="159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60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19" y="165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9" y="165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1" y="164"/>
                  </a:lnTo>
                  <a:lnTo>
                    <a:pt x="322" y="164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9" y="155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2" y="156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3" y="155"/>
                  </a:lnTo>
                  <a:lnTo>
                    <a:pt x="334" y="156"/>
                  </a:lnTo>
                  <a:lnTo>
                    <a:pt x="334" y="156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5" y="155"/>
                  </a:lnTo>
                  <a:lnTo>
                    <a:pt x="336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0" y="156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6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4" y="155"/>
                  </a:lnTo>
                  <a:lnTo>
                    <a:pt x="345" y="155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6" y="154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7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9" y="152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0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9" y="149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7" y="152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4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5" y="155"/>
                  </a:lnTo>
                  <a:lnTo>
                    <a:pt x="344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6" y="155"/>
                  </a:lnTo>
                  <a:lnTo>
                    <a:pt x="335" y="155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3" y="155"/>
                  </a:lnTo>
                  <a:lnTo>
                    <a:pt x="333" y="155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2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30" y="155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28" y="155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4" y="157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3" y="158"/>
                  </a:lnTo>
                  <a:lnTo>
                    <a:pt x="323" y="158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1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19" y="155"/>
                  </a:lnTo>
                  <a:lnTo>
                    <a:pt x="319" y="154"/>
                  </a:lnTo>
                  <a:lnTo>
                    <a:pt x="319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7" y="156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4" y="157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2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2" y="163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1"/>
                  </a:lnTo>
                  <a:lnTo>
                    <a:pt x="302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3" y="158"/>
                  </a:lnTo>
                  <a:lnTo>
                    <a:pt x="304" y="158"/>
                  </a:lnTo>
                  <a:lnTo>
                    <a:pt x="304" y="157"/>
                  </a:lnTo>
                  <a:lnTo>
                    <a:pt x="303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3" y="157"/>
                  </a:lnTo>
                  <a:lnTo>
                    <a:pt x="304" y="157"/>
                  </a:lnTo>
                  <a:lnTo>
                    <a:pt x="304" y="158"/>
                  </a:lnTo>
                  <a:lnTo>
                    <a:pt x="303" y="158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2" y="160"/>
                  </a:lnTo>
                  <a:lnTo>
                    <a:pt x="302" y="161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3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1" y="164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8"/>
                  </a:lnTo>
                  <a:lnTo>
                    <a:pt x="296" y="157"/>
                  </a:lnTo>
                  <a:lnTo>
                    <a:pt x="296" y="157"/>
                  </a:lnTo>
                  <a:lnTo>
                    <a:pt x="295" y="157"/>
                  </a:lnTo>
                  <a:lnTo>
                    <a:pt x="294" y="157"/>
                  </a:lnTo>
                  <a:lnTo>
                    <a:pt x="294" y="157"/>
                  </a:lnTo>
                  <a:lnTo>
                    <a:pt x="293" y="157"/>
                  </a:lnTo>
                  <a:lnTo>
                    <a:pt x="293" y="157"/>
                  </a:lnTo>
                  <a:lnTo>
                    <a:pt x="292" y="157"/>
                  </a:lnTo>
                  <a:lnTo>
                    <a:pt x="292" y="158"/>
                  </a:lnTo>
                  <a:lnTo>
                    <a:pt x="291" y="158"/>
                  </a:lnTo>
                  <a:lnTo>
                    <a:pt x="290" y="158"/>
                  </a:lnTo>
                  <a:lnTo>
                    <a:pt x="290" y="159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1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4" y="164"/>
                  </a:lnTo>
                  <a:lnTo>
                    <a:pt x="283" y="165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0" y="167"/>
                  </a:lnTo>
                  <a:lnTo>
                    <a:pt x="280" y="168"/>
                  </a:lnTo>
                  <a:lnTo>
                    <a:pt x="280" y="168"/>
                  </a:lnTo>
                  <a:lnTo>
                    <a:pt x="279" y="168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3" y="170"/>
                  </a:lnTo>
                  <a:lnTo>
                    <a:pt x="273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1" y="171"/>
                  </a:lnTo>
                  <a:lnTo>
                    <a:pt x="271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69" y="171"/>
                  </a:lnTo>
                  <a:lnTo>
                    <a:pt x="268" y="171"/>
                  </a:lnTo>
                  <a:lnTo>
                    <a:pt x="268" y="171"/>
                  </a:ln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5" y="171"/>
                  </a:lnTo>
                  <a:lnTo>
                    <a:pt x="264" y="170"/>
                  </a:lnTo>
                  <a:lnTo>
                    <a:pt x="264" y="170"/>
                  </a:lnTo>
                  <a:lnTo>
                    <a:pt x="263" y="170"/>
                  </a:lnTo>
                  <a:lnTo>
                    <a:pt x="263" y="170"/>
                  </a:lnTo>
                  <a:lnTo>
                    <a:pt x="262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2" y="169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7"/>
                  </a:lnTo>
                  <a:lnTo>
                    <a:pt x="262" y="167"/>
                  </a:lnTo>
                  <a:lnTo>
                    <a:pt x="263" y="167"/>
                  </a:lnTo>
                  <a:lnTo>
                    <a:pt x="262" y="167"/>
                  </a:lnTo>
                  <a:lnTo>
                    <a:pt x="262" y="166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4" y="164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6" y="163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5" y="162"/>
                  </a:lnTo>
                  <a:lnTo>
                    <a:pt x="265" y="161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8"/>
                  </a:lnTo>
                  <a:lnTo>
                    <a:pt x="266" y="158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5" y="155"/>
                  </a:lnTo>
                  <a:lnTo>
                    <a:pt x="264" y="155"/>
                  </a:lnTo>
                  <a:lnTo>
                    <a:pt x="265" y="154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5" y="153"/>
                  </a:lnTo>
                  <a:lnTo>
                    <a:pt x="265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5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1"/>
                  </a:lnTo>
                  <a:lnTo>
                    <a:pt x="264" y="151"/>
                  </a:lnTo>
                  <a:lnTo>
                    <a:pt x="264" y="150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6" y="148"/>
                  </a:lnTo>
                  <a:lnTo>
                    <a:pt x="265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7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5"/>
                  </a:lnTo>
                  <a:lnTo>
                    <a:pt x="262" y="145"/>
                  </a:lnTo>
                  <a:lnTo>
                    <a:pt x="261" y="145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3"/>
                  </a:lnTo>
                  <a:lnTo>
                    <a:pt x="263" y="143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2"/>
                  </a:lnTo>
                  <a:lnTo>
                    <a:pt x="261" y="142"/>
                  </a:lnTo>
                  <a:lnTo>
                    <a:pt x="262" y="142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2" y="141"/>
                  </a:lnTo>
                  <a:lnTo>
                    <a:pt x="262" y="140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3" y="141"/>
                  </a:lnTo>
                  <a:lnTo>
                    <a:pt x="264" y="141"/>
                  </a:lnTo>
                  <a:lnTo>
                    <a:pt x="264" y="140"/>
                  </a:lnTo>
                  <a:lnTo>
                    <a:pt x="264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5" y="140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5" y="141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7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9" y="139"/>
                  </a:lnTo>
                  <a:lnTo>
                    <a:pt x="270" y="139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4"/>
                  </a:lnTo>
                  <a:lnTo>
                    <a:pt x="277" y="134"/>
                  </a:lnTo>
                  <a:lnTo>
                    <a:pt x="277" y="134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80" y="131"/>
                  </a:lnTo>
                  <a:lnTo>
                    <a:pt x="280" y="130"/>
                  </a:lnTo>
                  <a:lnTo>
                    <a:pt x="281" y="130"/>
                  </a:lnTo>
                  <a:lnTo>
                    <a:pt x="281" y="130"/>
                  </a:lnTo>
                  <a:lnTo>
                    <a:pt x="281" y="131"/>
                  </a:lnTo>
                  <a:lnTo>
                    <a:pt x="281" y="131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2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4" y="131"/>
                  </a:lnTo>
                  <a:lnTo>
                    <a:pt x="283" y="131"/>
                  </a:lnTo>
                  <a:lnTo>
                    <a:pt x="284" y="131"/>
                  </a:lnTo>
                  <a:lnTo>
                    <a:pt x="285" y="131"/>
                  </a:lnTo>
                  <a:lnTo>
                    <a:pt x="284" y="131"/>
                  </a:lnTo>
                  <a:lnTo>
                    <a:pt x="284" y="131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7" y="128"/>
                  </a:lnTo>
                  <a:lnTo>
                    <a:pt x="286" y="128"/>
                  </a:lnTo>
                  <a:lnTo>
                    <a:pt x="286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8" y="127"/>
                  </a:lnTo>
                  <a:lnTo>
                    <a:pt x="289" y="127"/>
                  </a:lnTo>
                  <a:lnTo>
                    <a:pt x="289" y="127"/>
                  </a:lnTo>
                  <a:lnTo>
                    <a:pt x="290" y="127"/>
                  </a:lnTo>
                  <a:lnTo>
                    <a:pt x="290" y="127"/>
                  </a:lnTo>
                  <a:lnTo>
                    <a:pt x="290" y="126"/>
                  </a:lnTo>
                  <a:lnTo>
                    <a:pt x="291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3" y="126"/>
                  </a:lnTo>
                  <a:lnTo>
                    <a:pt x="293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5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8" y="127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2"/>
                  </a:lnTo>
                  <a:lnTo>
                    <a:pt x="303" y="132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299" y="133"/>
                  </a:lnTo>
                  <a:lnTo>
                    <a:pt x="299" y="132"/>
                  </a:lnTo>
                  <a:lnTo>
                    <a:pt x="299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6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9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2"/>
                  </a:lnTo>
                  <a:lnTo>
                    <a:pt x="302" y="132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1" y="131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300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5" y="126"/>
                  </a:lnTo>
                  <a:lnTo>
                    <a:pt x="305" y="125"/>
                  </a:lnTo>
                  <a:lnTo>
                    <a:pt x="305" y="125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7" y="124"/>
                  </a:lnTo>
                  <a:lnTo>
                    <a:pt x="307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5"/>
                  </a:lnTo>
                  <a:lnTo>
                    <a:pt x="307" y="125"/>
                  </a:lnTo>
                  <a:lnTo>
                    <a:pt x="308" y="125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9" y="124"/>
                  </a:lnTo>
                  <a:lnTo>
                    <a:pt x="309" y="123"/>
                  </a:lnTo>
                  <a:lnTo>
                    <a:pt x="308" y="123"/>
                  </a:lnTo>
                  <a:lnTo>
                    <a:pt x="308" y="123"/>
                  </a:lnTo>
                  <a:lnTo>
                    <a:pt x="309" y="123"/>
                  </a:lnTo>
                  <a:lnTo>
                    <a:pt x="309" y="123"/>
                  </a:lnTo>
                  <a:lnTo>
                    <a:pt x="310" y="123"/>
                  </a:lnTo>
                  <a:lnTo>
                    <a:pt x="311" y="122"/>
                  </a:lnTo>
                  <a:lnTo>
                    <a:pt x="311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3" y="122"/>
                  </a:lnTo>
                  <a:lnTo>
                    <a:pt x="313" y="122"/>
                  </a:lnTo>
                  <a:lnTo>
                    <a:pt x="314" y="121"/>
                  </a:lnTo>
                  <a:lnTo>
                    <a:pt x="315" y="121"/>
                  </a:lnTo>
                  <a:lnTo>
                    <a:pt x="316" y="120"/>
                  </a:lnTo>
                  <a:lnTo>
                    <a:pt x="316" y="120"/>
                  </a:lnTo>
                  <a:lnTo>
                    <a:pt x="317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7" y="121"/>
                  </a:lnTo>
                  <a:lnTo>
                    <a:pt x="317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8" y="122"/>
                  </a:lnTo>
                  <a:lnTo>
                    <a:pt x="318" y="122"/>
                  </a:lnTo>
                  <a:lnTo>
                    <a:pt x="319" y="122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20" y="123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5"/>
                  </a:lnTo>
                  <a:lnTo>
                    <a:pt x="319" y="125"/>
                  </a:lnTo>
                  <a:lnTo>
                    <a:pt x="319" y="124"/>
                  </a:lnTo>
                  <a:lnTo>
                    <a:pt x="319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5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7"/>
                  </a:lnTo>
                  <a:lnTo>
                    <a:pt x="318" y="126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9" y="129"/>
                  </a:lnTo>
                  <a:lnTo>
                    <a:pt x="319" y="129"/>
                  </a:lnTo>
                  <a:lnTo>
                    <a:pt x="320" y="129"/>
                  </a:lnTo>
                  <a:lnTo>
                    <a:pt x="320" y="130"/>
                  </a:lnTo>
                  <a:lnTo>
                    <a:pt x="321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3" y="130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8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4" y="126"/>
                  </a:lnTo>
                  <a:lnTo>
                    <a:pt x="324" y="127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5"/>
                  </a:lnTo>
                  <a:lnTo>
                    <a:pt x="324" y="124"/>
                  </a:lnTo>
                  <a:lnTo>
                    <a:pt x="325" y="124"/>
                  </a:lnTo>
                  <a:lnTo>
                    <a:pt x="325" y="125"/>
                  </a:lnTo>
                  <a:lnTo>
                    <a:pt x="326" y="125"/>
                  </a:lnTo>
                  <a:lnTo>
                    <a:pt x="326" y="125"/>
                  </a:lnTo>
                  <a:lnTo>
                    <a:pt x="327" y="125"/>
                  </a:lnTo>
                  <a:lnTo>
                    <a:pt x="327" y="125"/>
                  </a:lnTo>
                  <a:lnTo>
                    <a:pt x="328" y="125"/>
                  </a:lnTo>
                  <a:lnTo>
                    <a:pt x="328" y="124"/>
                  </a:lnTo>
                  <a:lnTo>
                    <a:pt x="328" y="124"/>
                  </a:lnTo>
                  <a:lnTo>
                    <a:pt x="329" y="124"/>
                  </a:lnTo>
                  <a:lnTo>
                    <a:pt x="329" y="125"/>
                  </a:lnTo>
                  <a:lnTo>
                    <a:pt x="329" y="124"/>
                  </a:lnTo>
                  <a:lnTo>
                    <a:pt x="330" y="124"/>
                  </a:lnTo>
                  <a:lnTo>
                    <a:pt x="330" y="123"/>
                  </a:lnTo>
                  <a:lnTo>
                    <a:pt x="331" y="123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2" y="125"/>
                  </a:lnTo>
                  <a:lnTo>
                    <a:pt x="332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5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4" y="124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8" y="129"/>
                  </a:lnTo>
                  <a:lnTo>
                    <a:pt x="338" y="128"/>
                  </a:lnTo>
                  <a:lnTo>
                    <a:pt x="339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7" y="128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7" y="125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4" y="120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19"/>
                  </a:lnTo>
                  <a:lnTo>
                    <a:pt x="332" y="119"/>
                  </a:lnTo>
                  <a:lnTo>
                    <a:pt x="332" y="119"/>
                  </a:lnTo>
                  <a:lnTo>
                    <a:pt x="332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0" y="119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6"/>
                  </a:lnTo>
                  <a:lnTo>
                    <a:pt x="329" y="116"/>
                  </a:lnTo>
                  <a:lnTo>
                    <a:pt x="329" y="116"/>
                  </a:lnTo>
                  <a:lnTo>
                    <a:pt x="328" y="115"/>
                  </a:lnTo>
                  <a:lnTo>
                    <a:pt x="329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3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1"/>
                  </a:lnTo>
                  <a:lnTo>
                    <a:pt x="326" y="111"/>
                  </a:lnTo>
                  <a:lnTo>
                    <a:pt x="327" y="111"/>
                  </a:lnTo>
                  <a:lnTo>
                    <a:pt x="327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9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0" y="111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2" y="112"/>
                  </a:lnTo>
                  <a:lnTo>
                    <a:pt x="332" y="113"/>
                  </a:lnTo>
                  <a:lnTo>
                    <a:pt x="333" y="113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7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40" y="116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1" y="118"/>
                  </a:lnTo>
                  <a:lnTo>
                    <a:pt x="340" y="118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7" y="117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3" y="113"/>
                  </a:lnTo>
                  <a:lnTo>
                    <a:pt x="333" y="113"/>
                  </a:lnTo>
                  <a:lnTo>
                    <a:pt x="332" y="113"/>
                  </a:lnTo>
                  <a:lnTo>
                    <a:pt x="332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0" y="111"/>
                  </a:lnTo>
                  <a:lnTo>
                    <a:pt x="330" y="110"/>
                  </a:lnTo>
                  <a:lnTo>
                    <a:pt x="331" y="110"/>
                  </a:lnTo>
                  <a:lnTo>
                    <a:pt x="331" y="109"/>
                  </a:lnTo>
                  <a:lnTo>
                    <a:pt x="331" y="109"/>
                  </a:lnTo>
                  <a:lnTo>
                    <a:pt x="330" y="109"/>
                  </a:lnTo>
                  <a:lnTo>
                    <a:pt x="331" y="109"/>
                  </a:lnTo>
                  <a:lnTo>
                    <a:pt x="331" y="108"/>
                  </a:lnTo>
                  <a:lnTo>
                    <a:pt x="331" y="108"/>
                  </a:lnTo>
                  <a:lnTo>
                    <a:pt x="332" y="108"/>
                  </a:lnTo>
                  <a:lnTo>
                    <a:pt x="333" y="108"/>
                  </a:lnTo>
                  <a:lnTo>
                    <a:pt x="333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9"/>
                  </a:lnTo>
                  <a:lnTo>
                    <a:pt x="336" y="109"/>
                  </a:lnTo>
                  <a:lnTo>
                    <a:pt x="336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09"/>
                  </a:lnTo>
                  <a:lnTo>
                    <a:pt x="339" y="109"/>
                  </a:lnTo>
                  <a:lnTo>
                    <a:pt x="340" y="109"/>
                  </a:lnTo>
                  <a:lnTo>
                    <a:pt x="341" y="109"/>
                  </a:lnTo>
                  <a:lnTo>
                    <a:pt x="341" y="110"/>
                  </a:lnTo>
                  <a:lnTo>
                    <a:pt x="342" y="110"/>
                  </a:lnTo>
                  <a:lnTo>
                    <a:pt x="343" y="110"/>
                  </a:lnTo>
                  <a:lnTo>
                    <a:pt x="343" y="110"/>
                  </a:lnTo>
                  <a:lnTo>
                    <a:pt x="344" y="110"/>
                  </a:lnTo>
                  <a:lnTo>
                    <a:pt x="345" y="110"/>
                  </a:lnTo>
                  <a:lnTo>
                    <a:pt x="345" y="110"/>
                  </a:lnTo>
                  <a:lnTo>
                    <a:pt x="346" y="110"/>
                  </a:lnTo>
                  <a:lnTo>
                    <a:pt x="346" y="110"/>
                  </a:lnTo>
                  <a:lnTo>
                    <a:pt x="346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6" y="111"/>
                  </a:lnTo>
                  <a:lnTo>
                    <a:pt x="346" y="111"/>
                  </a:lnTo>
                  <a:lnTo>
                    <a:pt x="346" y="110"/>
                  </a:lnTo>
                  <a:lnTo>
                    <a:pt x="347" y="110"/>
                  </a:lnTo>
                  <a:lnTo>
                    <a:pt x="348" y="110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50" y="111"/>
                  </a:lnTo>
                  <a:lnTo>
                    <a:pt x="353" y="111"/>
                  </a:lnTo>
                  <a:lnTo>
                    <a:pt x="355" y="112"/>
                  </a:lnTo>
                  <a:lnTo>
                    <a:pt x="356" y="112"/>
                  </a:lnTo>
                  <a:lnTo>
                    <a:pt x="356" y="112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5"/>
                  </a:lnTo>
                  <a:lnTo>
                    <a:pt x="363" y="115"/>
                  </a:lnTo>
                  <a:lnTo>
                    <a:pt x="363" y="115"/>
                  </a:lnTo>
                  <a:lnTo>
                    <a:pt x="364" y="116"/>
                  </a:lnTo>
                  <a:lnTo>
                    <a:pt x="365" y="116"/>
                  </a:lnTo>
                  <a:lnTo>
                    <a:pt x="364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2" y="117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2" y="118"/>
                  </a:lnTo>
                  <a:lnTo>
                    <a:pt x="363" y="118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0" y="122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1" y="121"/>
                  </a:lnTo>
                  <a:lnTo>
                    <a:pt x="360" y="121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2" y="122"/>
                  </a:lnTo>
                  <a:lnTo>
                    <a:pt x="361" y="122"/>
                  </a:lnTo>
                  <a:lnTo>
                    <a:pt x="361" y="122"/>
                  </a:lnTo>
                  <a:lnTo>
                    <a:pt x="362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4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5"/>
                  </a:lnTo>
                  <a:lnTo>
                    <a:pt x="368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70" y="126"/>
                  </a:lnTo>
                  <a:lnTo>
                    <a:pt x="370" y="127"/>
                  </a:lnTo>
                  <a:lnTo>
                    <a:pt x="369" y="127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1"/>
                  </a:lnTo>
                  <a:lnTo>
                    <a:pt x="367" y="131"/>
                  </a:lnTo>
                  <a:lnTo>
                    <a:pt x="367" y="131"/>
                  </a:lnTo>
                  <a:lnTo>
                    <a:pt x="367" y="132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8" y="133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6"/>
                  </a:lnTo>
                  <a:lnTo>
                    <a:pt x="368" y="135"/>
                  </a:lnTo>
                  <a:lnTo>
                    <a:pt x="369" y="135"/>
                  </a:lnTo>
                  <a:lnTo>
                    <a:pt x="369" y="135"/>
                  </a:lnTo>
                  <a:lnTo>
                    <a:pt x="370" y="135"/>
                  </a:lnTo>
                  <a:lnTo>
                    <a:pt x="371" y="135"/>
                  </a:lnTo>
                  <a:lnTo>
                    <a:pt x="371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3" y="135"/>
                  </a:lnTo>
                  <a:lnTo>
                    <a:pt x="374" y="135"/>
                  </a:lnTo>
                  <a:lnTo>
                    <a:pt x="373" y="136"/>
                  </a:lnTo>
                  <a:lnTo>
                    <a:pt x="374" y="136"/>
                  </a:lnTo>
                  <a:lnTo>
                    <a:pt x="374" y="137"/>
                  </a:lnTo>
                  <a:lnTo>
                    <a:pt x="374" y="137"/>
                  </a:lnTo>
                  <a:lnTo>
                    <a:pt x="373" y="137"/>
                  </a:lnTo>
                  <a:lnTo>
                    <a:pt x="374" y="137"/>
                  </a:lnTo>
                  <a:lnTo>
                    <a:pt x="374" y="138"/>
                  </a:lnTo>
                  <a:lnTo>
                    <a:pt x="374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39"/>
                  </a:lnTo>
                  <a:lnTo>
                    <a:pt x="373" y="139"/>
                  </a:lnTo>
                  <a:lnTo>
                    <a:pt x="372" y="139"/>
                  </a:lnTo>
                  <a:lnTo>
                    <a:pt x="372" y="140"/>
                  </a:lnTo>
                  <a:lnTo>
                    <a:pt x="372" y="139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2"/>
                  </a:lnTo>
                  <a:lnTo>
                    <a:pt x="373" y="142"/>
                  </a:lnTo>
                  <a:lnTo>
                    <a:pt x="373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1" y="143"/>
                  </a:lnTo>
                  <a:lnTo>
                    <a:pt x="371" y="143"/>
                  </a:lnTo>
                  <a:lnTo>
                    <a:pt x="371" y="144"/>
                  </a:lnTo>
                  <a:lnTo>
                    <a:pt x="371" y="144"/>
                  </a:lnTo>
                  <a:lnTo>
                    <a:pt x="370" y="144"/>
                  </a:lnTo>
                  <a:lnTo>
                    <a:pt x="369" y="144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8" y="146"/>
                  </a:lnTo>
                  <a:lnTo>
                    <a:pt x="368" y="145"/>
                  </a:lnTo>
                  <a:lnTo>
                    <a:pt x="368" y="145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6" y="146"/>
                  </a:lnTo>
                  <a:lnTo>
                    <a:pt x="367" y="146"/>
                  </a:lnTo>
                  <a:lnTo>
                    <a:pt x="367" y="147"/>
                  </a:lnTo>
                  <a:lnTo>
                    <a:pt x="367" y="148"/>
                  </a:lnTo>
                  <a:lnTo>
                    <a:pt x="366" y="148"/>
                  </a:lnTo>
                  <a:lnTo>
                    <a:pt x="365" y="148"/>
                  </a:lnTo>
                  <a:lnTo>
                    <a:pt x="365" y="149"/>
                  </a:lnTo>
                  <a:lnTo>
                    <a:pt x="366" y="149"/>
                  </a:lnTo>
                  <a:lnTo>
                    <a:pt x="366" y="150"/>
                  </a:lnTo>
                  <a:lnTo>
                    <a:pt x="365" y="150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2" y="151"/>
                  </a:lnTo>
                  <a:lnTo>
                    <a:pt x="361" y="151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3"/>
                  </a:lnTo>
                  <a:lnTo>
                    <a:pt x="361" y="152"/>
                  </a:lnTo>
                  <a:lnTo>
                    <a:pt x="360" y="152"/>
                  </a:lnTo>
                  <a:lnTo>
                    <a:pt x="360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8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6" y="154"/>
                  </a:lnTo>
                  <a:lnTo>
                    <a:pt x="356" y="155"/>
                  </a:lnTo>
                  <a:lnTo>
                    <a:pt x="356" y="155"/>
                  </a:lnTo>
                  <a:lnTo>
                    <a:pt x="355" y="155"/>
                  </a:lnTo>
                  <a:lnTo>
                    <a:pt x="354" y="155"/>
                  </a:lnTo>
                  <a:lnTo>
                    <a:pt x="354" y="155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7"/>
                  </a:lnTo>
                  <a:lnTo>
                    <a:pt x="351" y="157"/>
                  </a:lnTo>
                  <a:lnTo>
                    <a:pt x="351" y="157"/>
                  </a:lnTo>
                  <a:lnTo>
                    <a:pt x="350" y="158"/>
                  </a:lnTo>
                  <a:lnTo>
                    <a:pt x="350" y="159"/>
                  </a:lnTo>
                  <a:lnTo>
                    <a:pt x="351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1"/>
                  </a:lnTo>
                  <a:lnTo>
                    <a:pt x="348" y="161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7" y="162"/>
                  </a:lnTo>
                  <a:lnTo>
                    <a:pt x="347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7" y="163"/>
                  </a:lnTo>
                  <a:lnTo>
                    <a:pt x="347" y="164"/>
                  </a:lnTo>
                  <a:lnTo>
                    <a:pt x="348" y="164"/>
                  </a:lnTo>
                  <a:lnTo>
                    <a:pt x="348" y="164"/>
                  </a:lnTo>
                  <a:lnTo>
                    <a:pt x="347" y="164"/>
                  </a:lnTo>
                  <a:lnTo>
                    <a:pt x="346" y="164"/>
                  </a:lnTo>
                  <a:lnTo>
                    <a:pt x="346" y="164"/>
                  </a:lnTo>
                  <a:lnTo>
                    <a:pt x="345" y="164"/>
                  </a:lnTo>
                  <a:lnTo>
                    <a:pt x="345" y="164"/>
                  </a:lnTo>
                  <a:lnTo>
                    <a:pt x="345" y="165"/>
                  </a:lnTo>
                  <a:lnTo>
                    <a:pt x="344" y="165"/>
                  </a:lnTo>
                  <a:lnTo>
                    <a:pt x="343" y="165"/>
                  </a:lnTo>
                  <a:lnTo>
                    <a:pt x="343" y="166"/>
                  </a:lnTo>
                  <a:lnTo>
                    <a:pt x="343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1" y="166"/>
                  </a:lnTo>
                  <a:lnTo>
                    <a:pt x="341" y="166"/>
                  </a:lnTo>
                  <a:lnTo>
                    <a:pt x="341" y="167"/>
                  </a:lnTo>
                  <a:lnTo>
                    <a:pt x="340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7" y="170"/>
                  </a:lnTo>
                  <a:lnTo>
                    <a:pt x="337" y="171"/>
                  </a:lnTo>
                  <a:lnTo>
                    <a:pt x="336" y="171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5" y="173"/>
                  </a:lnTo>
                  <a:lnTo>
                    <a:pt x="335" y="174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34" y="175"/>
                  </a:lnTo>
                  <a:lnTo>
                    <a:pt x="333" y="175"/>
                  </a:lnTo>
                  <a:lnTo>
                    <a:pt x="333" y="175"/>
                  </a:lnTo>
                  <a:lnTo>
                    <a:pt x="333" y="176"/>
                  </a:lnTo>
                  <a:lnTo>
                    <a:pt x="332" y="176"/>
                  </a:lnTo>
                  <a:lnTo>
                    <a:pt x="331" y="176"/>
                  </a:lnTo>
                  <a:lnTo>
                    <a:pt x="331" y="176"/>
                  </a:lnTo>
                  <a:lnTo>
                    <a:pt x="331" y="177"/>
                  </a:lnTo>
                  <a:lnTo>
                    <a:pt x="331" y="177"/>
                  </a:lnTo>
                  <a:lnTo>
                    <a:pt x="330" y="177"/>
                  </a:lnTo>
                  <a:lnTo>
                    <a:pt x="330" y="178"/>
                  </a:lnTo>
                  <a:lnTo>
                    <a:pt x="329" y="177"/>
                  </a:lnTo>
                  <a:lnTo>
                    <a:pt x="328" y="176"/>
                  </a:lnTo>
                  <a:lnTo>
                    <a:pt x="328" y="175"/>
                  </a:lnTo>
                  <a:lnTo>
                    <a:pt x="328" y="175"/>
                  </a:lnTo>
                  <a:lnTo>
                    <a:pt x="327" y="175"/>
                  </a:lnTo>
                  <a:lnTo>
                    <a:pt x="326" y="175"/>
                  </a:lnTo>
                  <a:lnTo>
                    <a:pt x="326" y="175"/>
                  </a:lnTo>
                  <a:lnTo>
                    <a:pt x="325" y="176"/>
                  </a:lnTo>
                  <a:lnTo>
                    <a:pt x="325" y="177"/>
                  </a:lnTo>
                  <a:lnTo>
                    <a:pt x="324" y="177"/>
                  </a:lnTo>
                  <a:lnTo>
                    <a:pt x="324" y="177"/>
                  </a:lnTo>
                  <a:lnTo>
                    <a:pt x="324" y="178"/>
                  </a:lnTo>
                  <a:lnTo>
                    <a:pt x="323" y="178"/>
                  </a:lnTo>
                  <a:lnTo>
                    <a:pt x="323" y="178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80"/>
                  </a:lnTo>
                  <a:lnTo>
                    <a:pt x="322" y="180"/>
                  </a:lnTo>
                  <a:lnTo>
                    <a:pt x="323" y="181"/>
                  </a:lnTo>
                  <a:lnTo>
                    <a:pt x="323" y="181"/>
                  </a:lnTo>
                  <a:lnTo>
                    <a:pt x="322" y="181"/>
                  </a:lnTo>
                  <a:lnTo>
                    <a:pt x="322" y="181"/>
                  </a:lnTo>
                  <a:lnTo>
                    <a:pt x="322" y="182"/>
                  </a:lnTo>
                  <a:lnTo>
                    <a:pt x="321" y="182"/>
                  </a:lnTo>
                  <a:lnTo>
                    <a:pt x="320" y="183"/>
                  </a:lnTo>
                  <a:lnTo>
                    <a:pt x="321" y="184"/>
                  </a:lnTo>
                  <a:lnTo>
                    <a:pt x="322" y="184"/>
                  </a:lnTo>
                  <a:lnTo>
                    <a:pt x="322" y="185"/>
                  </a:lnTo>
                  <a:lnTo>
                    <a:pt x="322" y="185"/>
                  </a:lnTo>
                  <a:lnTo>
                    <a:pt x="322" y="186"/>
                  </a:lnTo>
                  <a:lnTo>
                    <a:pt x="322" y="186"/>
                  </a:lnTo>
                  <a:lnTo>
                    <a:pt x="322" y="187"/>
                  </a:lnTo>
                  <a:lnTo>
                    <a:pt x="322" y="188"/>
                  </a:lnTo>
                  <a:lnTo>
                    <a:pt x="323" y="188"/>
                  </a:lnTo>
                  <a:lnTo>
                    <a:pt x="323" y="188"/>
                  </a:lnTo>
                  <a:lnTo>
                    <a:pt x="323" y="189"/>
                  </a:lnTo>
                  <a:lnTo>
                    <a:pt x="323" y="190"/>
                  </a:lnTo>
                  <a:lnTo>
                    <a:pt x="322" y="190"/>
                  </a:lnTo>
                  <a:lnTo>
                    <a:pt x="321" y="191"/>
                  </a:lnTo>
                  <a:lnTo>
                    <a:pt x="322" y="192"/>
                  </a:lnTo>
                  <a:lnTo>
                    <a:pt x="321" y="192"/>
                  </a:lnTo>
                  <a:lnTo>
                    <a:pt x="321" y="193"/>
                  </a:lnTo>
                  <a:lnTo>
                    <a:pt x="321" y="193"/>
                  </a:lnTo>
                  <a:lnTo>
                    <a:pt x="321" y="194"/>
                  </a:lnTo>
                  <a:lnTo>
                    <a:pt x="320" y="196"/>
                  </a:lnTo>
                  <a:lnTo>
                    <a:pt x="320" y="197"/>
                  </a:lnTo>
                  <a:lnTo>
                    <a:pt x="319" y="198"/>
                  </a:lnTo>
                  <a:lnTo>
                    <a:pt x="320" y="199"/>
                  </a:lnTo>
                  <a:lnTo>
                    <a:pt x="319" y="199"/>
                  </a:lnTo>
                  <a:lnTo>
                    <a:pt x="319" y="199"/>
                  </a:lnTo>
                  <a:lnTo>
                    <a:pt x="319" y="200"/>
                  </a:lnTo>
                  <a:lnTo>
                    <a:pt x="320" y="200"/>
                  </a:lnTo>
                  <a:lnTo>
                    <a:pt x="319" y="200"/>
                  </a:lnTo>
                  <a:lnTo>
                    <a:pt x="319" y="201"/>
                  </a:lnTo>
                  <a:lnTo>
                    <a:pt x="319" y="201"/>
                  </a:lnTo>
                  <a:lnTo>
                    <a:pt x="319" y="202"/>
                  </a:lnTo>
                  <a:lnTo>
                    <a:pt x="319" y="202"/>
                  </a:lnTo>
                  <a:lnTo>
                    <a:pt x="318" y="203"/>
                  </a:lnTo>
                  <a:lnTo>
                    <a:pt x="319" y="203"/>
                  </a:lnTo>
                  <a:lnTo>
                    <a:pt x="319" y="203"/>
                  </a:lnTo>
                  <a:lnTo>
                    <a:pt x="319" y="204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5"/>
                  </a:lnTo>
                  <a:lnTo>
                    <a:pt x="320" y="206"/>
                  </a:lnTo>
                  <a:lnTo>
                    <a:pt x="320" y="207"/>
                  </a:lnTo>
                  <a:lnTo>
                    <a:pt x="320" y="207"/>
                  </a:lnTo>
                  <a:lnTo>
                    <a:pt x="320" y="208"/>
                  </a:lnTo>
                  <a:lnTo>
                    <a:pt x="320" y="209"/>
                  </a:lnTo>
                  <a:lnTo>
                    <a:pt x="321" y="209"/>
                  </a:lnTo>
                  <a:lnTo>
                    <a:pt x="322" y="210"/>
                  </a:lnTo>
                  <a:lnTo>
                    <a:pt x="322" y="210"/>
                  </a:lnTo>
                  <a:lnTo>
                    <a:pt x="322" y="211"/>
                  </a:lnTo>
                  <a:lnTo>
                    <a:pt x="322" y="211"/>
                  </a:lnTo>
                  <a:lnTo>
                    <a:pt x="322" y="212"/>
                  </a:lnTo>
                  <a:lnTo>
                    <a:pt x="321" y="212"/>
                  </a:lnTo>
                  <a:lnTo>
                    <a:pt x="321" y="213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0" y="215"/>
                  </a:lnTo>
                  <a:lnTo>
                    <a:pt x="320" y="215"/>
                  </a:lnTo>
                  <a:lnTo>
                    <a:pt x="320" y="216"/>
                  </a:lnTo>
                  <a:lnTo>
                    <a:pt x="320" y="216"/>
                  </a:lnTo>
                  <a:lnTo>
                    <a:pt x="320" y="217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19" y="218"/>
                  </a:lnTo>
                  <a:lnTo>
                    <a:pt x="319" y="219"/>
                  </a:lnTo>
                  <a:lnTo>
                    <a:pt x="320" y="219"/>
                  </a:lnTo>
                  <a:lnTo>
                    <a:pt x="320" y="220"/>
                  </a:lnTo>
                  <a:lnTo>
                    <a:pt x="319" y="221"/>
                  </a:lnTo>
                  <a:lnTo>
                    <a:pt x="319" y="221"/>
                  </a:lnTo>
                  <a:lnTo>
                    <a:pt x="320" y="222"/>
                  </a:lnTo>
                  <a:lnTo>
                    <a:pt x="320" y="222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4"/>
                  </a:lnTo>
                  <a:lnTo>
                    <a:pt x="320" y="225"/>
                  </a:lnTo>
                  <a:lnTo>
                    <a:pt x="319" y="225"/>
                  </a:lnTo>
                  <a:lnTo>
                    <a:pt x="319" y="225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8"/>
                  </a:lnTo>
                  <a:lnTo>
                    <a:pt x="319" y="229"/>
                  </a:lnTo>
                  <a:lnTo>
                    <a:pt x="319" y="229"/>
                  </a:lnTo>
                  <a:lnTo>
                    <a:pt x="319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1"/>
                  </a:lnTo>
                  <a:lnTo>
                    <a:pt x="320" y="232"/>
                  </a:lnTo>
                  <a:lnTo>
                    <a:pt x="320" y="232"/>
                  </a:lnTo>
                  <a:lnTo>
                    <a:pt x="320" y="233"/>
                  </a:lnTo>
                  <a:lnTo>
                    <a:pt x="320" y="233"/>
                  </a:lnTo>
                  <a:lnTo>
                    <a:pt x="320" y="234"/>
                  </a:lnTo>
                  <a:lnTo>
                    <a:pt x="320" y="235"/>
                  </a:lnTo>
                  <a:lnTo>
                    <a:pt x="320" y="236"/>
                  </a:lnTo>
                  <a:lnTo>
                    <a:pt x="319" y="236"/>
                  </a:lnTo>
                  <a:lnTo>
                    <a:pt x="319" y="236"/>
                  </a:lnTo>
                  <a:lnTo>
                    <a:pt x="319" y="237"/>
                  </a:lnTo>
                  <a:lnTo>
                    <a:pt x="318" y="237"/>
                  </a:lnTo>
                  <a:lnTo>
                    <a:pt x="318" y="238"/>
                  </a:lnTo>
                  <a:lnTo>
                    <a:pt x="318" y="238"/>
                  </a:lnTo>
                  <a:lnTo>
                    <a:pt x="318" y="239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8" y="241"/>
                  </a:lnTo>
                  <a:lnTo>
                    <a:pt x="317" y="241"/>
                  </a:lnTo>
                  <a:lnTo>
                    <a:pt x="317" y="242"/>
                  </a:lnTo>
                  <a:lnTo>
                    <a:pt x="316" y="243"/>
                  </a:lnTo>
                  <a:lnTo>
                    <a:pt x="316" y="243"/>
                  </a:lnTo>
                  <a:lnTo>
                    <a:pt x="317" y="243"/>
                  </a:lnTo>
                  <a:lnTo>
                    <a:pt x="316" y="244"/>
                  </a:lnTo>
                  <a:lnTo>
                    <a:pt x="316" y="243"/>
                  </a:lnTo>
                  <a:lnTo>
                    <a:pt x="315" y="244"/>
                  </a:lnTo>
                  <a:lnTo>
                    <a:pt x="315" y="245"/>
                  </a:lnTo>
                  <a:lnTo>
                    <a:pt x="314" y="245"/>
                  </a:lnTo>
                  <a:lnTo>
                    <a:pt x="313" y="247"/>
                  </a:lnTo>
                  <a:lnTo>
                    <a:pt x="313" y="247"/>
                  </a:lnTo>
                  <a:lnTo>
                    <a:pt x="312" y="247"/>
                  </a:lnTo>
                  <a:lnTo>
                    <a:pt x="312" y="248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13" y="250"/>
                  </a:lnTo>
                  <a:lnTo>
                    <a:pt x="313" y="251"/>
                  </a:lnTo>
                  <a:lnTo>
                    <a:pt x="313" y="251"/>
                  </a:lnTo>
                  <a:lnTo>
                    <a:pt x="314" y="252"/>
                  </a:lnTo>
                  <a:lnTo>
                    <a:pt x="315" y="252"/>
                  </a:lnTo>
                  <a:lnTo>
                    <a:pt x="315" y="252"/>
                  </a:lnTo>
                  <a:lnTo>
                    <a:pt x="316" y="252"/>
                  </a:lnTo>
                  <a:lnTo>
                    <a:pt x="317" y="252"/>
                  </a:lnTo>
                  <a:lnTo>
                    <a:pt x="317" y="253"/>
                  </a:lnTo>
                  <a:lnTo>
                    <a:pt x="318" y="254"/>
                  </a:lnTo>
                  <a:lnTo>
                    <a:pt x="318" y="254"/>
                  </a:lnTo>
                  <a:lnTo>
                    <a:pt x="318" y="255"/>
                  </a:lnTo>
                  <a:lnTo>
                    <a:pt x="318" y="255"/>
                  </a:lnTo>
                  <a:lnTo>
                    <a:pt x="318" y="256"/>
                  </a:lnTo>
                  <a:lnTo>
                    <a:pt x="318" y="256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7" y="257"/>
                  </a:lnTo>
                  <a:lnTo>
                    <a:pt x="317" y="258"/>
                  </a:lnTo>
                  <a:lnTo>
                    <a:pt x="318" y="258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9" y="259"/>
                  </a:lnTo>
                  <a:lnTo>
                    <a:pt x="319" y="259"/>
                  </a:lnTo>
                  <a:lnTo>
                    <a:pt x="320" y="259"/>
                  </a:lnTo>
                  <a:lnTo>
                    <a:pt x="320" y="260"/>
                  </a:lnTo>
                  <a:lnTo>
                    <a:pt x="320" y="260"/>
                  </a:lnTo>
                  <a:lnTo>
                    <a:pt x="320" y="262"/>
                  </a:lnTo>
                  <a:lnTo>
                    <a:pt x="320" y="263"/>
                  </a:lnTo>
                  <a:lnTo>
                    <a:pt x="319" y="263"/>
                  </a:lnTo>
                  <a:lnTo>
                    <a:pt x="319" y="263"/>
                  </a:lnTo>
                  <a:lnTo>
                    <a:pt x="318" y="264"/>
                  </a:lnTo>
                  <a:lnTo>
                    <a:pt x="318" y="265"/>
                  </a:lnTo>
                  <a:lnTo>
                    <a:pt x="317" y="266"/>
                  </a:lnTo>
                  <a:lnTo>
                    <a:pt x="316" y="266"/>
                  </a:lnTo>
                  <a:lnTo>
                    <a:pt x="316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4" y="267"/>
                  </a:lnTo>
                  <a:lnTo>
                    <a:pt x="314" y="267"/>
                  </a:lnTo>
                  <a:lnTo>
                    <a:pt x="314" y="268"/>
                  </a:lnTo>
                  <a:lnTo>
                    <a:pt x="313" y="268"/>
                  </a:lnTo>
                  <a:lnTo>
                    <a:pt x="313" y="269"/>
                  </a:lnTo>
                  <a:lnTo>
                    <a:pt x="314" y="269"/>
                  </a:lnTo>
                  <a:lnTo>
                    <a:pt x="314" y="270"/>
                  </a:lnTo>
                  <a:lnTo>
                    <a:pt x="315" y="270"/>
                  </a:lnTo>
                  <a:lnTo>
                    <a:pt x="315" y="270"/>
                  </a:lnTo>
                  <a:lnTo>
                    <a:pt x="316" y="270"/>
                  </a:lnTo>
                  <a:lnTo>
                    <a:pt x="316" y="271"/>
                  </a:lnTo>
                  <a:lnTo>
                    <a:pt x="316" y="271"/>
                  </a:lnTo>
                  <a:lnTo>
                    <a:pt x="315" y="272"/>
                  </a:lnTo>
                  <a:lnTo>
                    <a:pt x="313" y="274"/>
                  </a:lnTo>
                  <a:lnTo>
                    <a:pt x="312" y="274"/>
                  </a:lnTo>
                  <a:lnTo>
                    <a:pt x="312" y="273"/>
                  </a:lnTo>
                  <a:lnTo>
                    <a:pt x="310" y="272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4"/>
                  </a:lnTo>
                  <a:lnTo>
                    <a:pt x="308" y="274"/>
                  </a:lnTo>
                  <a:lnTo>
                    <a:pt x="308" y="275"/>
                  </a:lnTo>
                  <a:lnTo>
                    <a:pt x="309" y="275"/>
                  </a:lnTo>
                  <a:lnTo>
                    <a:pt x="308" y="277"/>
                  </a:lnTo>
                  <a:lnTo>
                    <a:pt x="308" y="277"/>
                  </a:lnTo>
                  <a:lnTo>
                    <a:pt x="309" y="277"/>
                  </a:lnTo>
                  <a:lnTo>
                    <a:pt x="309" y="278"/>
                  </a:lnTo>
                  <a:lnTo>
                    <a:pt x="309" y="278"/>
                  </a:lnTo>
                  <a:lnTo>
                    <a:pt x="308" y="278"/>
                  </a:lnTo>
                  <a:lnTo>
                    <a:pt x="309" y="278"/>
                  </a:lnTo>
                  <a:lnTo>
                    <a:pt x="309" y="279"/>
                  </a:lnTo>
                  <a:lnTo>
                    <a:pt x="309" y="279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7" y="281"/>
                  </a:lnTo>
                  <a:lnTo>
                    <a:pt x="307" y="281"/>
                  </a:lnTo>
                  <a:lnTo>
                    <a:pt x="307" y="282"/>
                  </a:lnTo>
                  <a:lnTo>
                    <a:pt x="306" y="282"/>
                  </a:lnTo>
                  <a:lnTo>
                    <a:pt x="305" y="282"/>
                  </a:lnTo>
                  <a:lnTo>
                    <a:pt x="305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3" y="282"/>
                  </a:lnTo>
                  <a:lnTo>
                    <a:pt x="302" y="282"/>
                  </a:lnTo>
                  <a:lnTo>
                    <a:pt x="302" y="283"/>
                  </a:lnTo>
                  <a:lnTo>
                    <a:pt x="303" y="284"/>
                  </a:lnTo>
                  <a:lnTo>
                    <a:pt x="303" y="284"/>
                  </a:lnTo>
                  <a:lnTo>
                    <a:pt x="303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7"/>
                  </a:lnTo>
                  <a:lnTo>
                    <a:pt x="304" y="288"/>
                  </a:lnTo>
                  <a:lnTo>
                    <a:pt x="303" y="288"/>
                  </a:lnTo>
                  <a:lnTo>
                    <a:pt x="303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1"/>
                  </a:lnTo>
                  <a:lnTo>
                    <a:pt x="305" y="291"/>
                  </a:lnTo>
                  <a:lnTo>
                    <a:pt x="305" y="291"/>
                  </a:lnTo>
                  <a:lnTo>
                    <a:pt x="304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6" y="292"/>
                  </a:lnTo>
                  <a:lnTo>
                    <a:pt x="306" y="292"/>
                  </a:lnTo>
                  <a:lnTo>
                    <a:pt x="307" y="292"/>
                  </a:lnTo>
                  <a:lnTo>
                    <a:pt x="307" y="292"/>
                  </a:lnTo>
                  <a:lnTo>
                    <a:pt x="308" y="292"/>
                  </a:lnTo>
                  <a:lnTo>
                    <a:pt x="308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10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3" y="292"/>
                  </a:lnTo>
                  <a:lnTo>
                    <a:pt x="313" y="291"/>
                  </a:lnTo>
                  <a:lnTo>
                    <a:pt x="313" y="291"/>
                  </a:lnTo>
                  <a:lnTo>
                    <a:pt x="313" y="292"/>
                  </a:lnTo>
                  <a:lnTo>
                    <a:pt x="314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6" y="292"/>
                  </a:lnTo>
                  <a:lnTo>
                    <a:pt x="316" y="293"/>
                  </a:lnTo>
                  <a:lnTo>
                    <a:pt x="316" y="293"/>
                  </a:lnTo>
                  <a:lnTo>
                    <a:pt x="316" y="292"/>
                  </a:lnTo>
                  <a:lnTo>
                    <a:pt x="317" y="292"/>
                  </a:lnTo>
                  <a:lnTo>
                    <a:pt x="317" y="291"/>
                  </a:lnTo>
                  <a:lnTo>
                    <a:pt x="317" y="292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2"/>
                  </a:lnTo>
                  <a:lnTo>
                    <a:pt x="319" y="293"/>
                  </a:lnTo>
                  <a:lnTo>
                    <a:pt x="319" y="293"/>
                  </a:lnTo>
                  <a:lnTo>
                    <a:pt x="318" y="293"/>
                  </a:lnTo>
                  <a:lnTo>
                    <a:pt x="318" y="293"/>
                  </a:lnTo>
                  <a:lnTo>
                    <a:pt x="318" y="294"/>
                  </a:lnTo>
                  <a:lnTo>
                    <a:pt x="319" y="294"/>
                  </a:lnTo>
                  <a:lnTo>
                    <a:pt x="319" y="295"/>
                  </a:lnTo>
                  <a:lnTo>
                    <a:pt x="318" y="295"/>
                  </a:lnTo>
                  <a:lnTo>
                    <a:pt x="318" y="295"/>
                  </a:lnTo>
                  <a:lnTo>
                    <a:pt x="319" y="295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9" y="296"/>
                  </a:lnTo>
                  <a:lnTo>
                    <a:pt x="319" y="296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8"/>
                  </a:lnTo>
                  <a:lnTo>
                    <a:pt x="319" y="298"/>
                  </a:lnTo>
                  <a:lnTo>
                    <a:pt x="319" y="299"/>
                  </a:lnTo>
                  <a:lnTo>
                    <a:pt x="319" y="298"/>
                  </a:lnTo>
                  <a:lnTo>
                    <a:pt x="320" y="298"/>
                  </a:lnTo>
                  <a:lnTo>
                    <a:pt x="320" y="298"/>
                  </a:lnTo>
                  <a:lnTo>
                    <a:pt x="320" y="299"/>
                  </a:lnTo>
                  <a:lnTo>
                    <a:pt x="321" y="299"/>
                  </a:lnTo>
                  <a:lnTo>
                    <a:pt x="322" y="299"/>
                  </a:lnTo>
                  <a:lnTo>
                    <a:pt x="322" y="298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1" y="299"/>
                  </a:lnTo>
                  <a:lnTo>
                    <a:pt x="321" y="300"/>
                  </a:lnTo>
                  <a:lnTo>
                    <a:pt x="320" y="300"/>
                  </a:lnTo>
                  <a:lnTo>
                    <a:pt x="320" y="300"/>
                  </a:lnTo>
                  <a:lnTo>
                    <a:pt x="319" y="300"/>
                  </a:lnTo>
                  <a:lnTo>
                    <a:pt x="319" y="300"/>
                  </a:lnTo>
                  <a:lnTo>
                    <a:pt x="318" y="300"/>
                  </a:lnTo>
                  <a:lnTo>
                    <a:pt x="318" y="300"/>
                  </a:lnTo>
                  <a:lnTo>
                    <a:pt x="318" y="301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7" y="302"/>
                  </a:lnTo>
                  <a:lnTo>
                    <a:pt x="317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4" y="303"/>
                  </a:lnTo>
                  <a:lnTo>
                    <a:pt x="315" y="303"/>
                  </a:lnTo>
                  <a:lnTo>
                    <a:pt x="315" y="304"/>
                  </a:lnTo>
                  <a:lnTo>
                    <a:pt x="314" y="304"/>
                  </a:lnTo>
                  <a:lnTo>
                    <a:pt x="314" y="303"/>
                  </a:lnTo>
                  <a:lnTo>
                    <a:pt x="313" y="303"/>
                  </a:lnTo>
                  <a:lnTo>
                    <a:pt x="313" y="304"/>
                  </a:lnTo>
                  <a:lnTo>
                    <a:pt x="314" y="304"/>
                  </a:lnTo>
                  <a:lnTo>
                    <a:pt x="314" y="304"/>
                  </a:lnTo>
                  <a:lnTo>
                    <a:pt x="315" y="304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4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2" y="306"/>
                  </a:lnTo>
                  <a:lnTo>
                    <a:pt x="312" y="305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1" y="304"/>
                  </a:lnTo>
                  <a:lnTo>
                    <a:pt x="311" y="304"/>
                  </a:lnTo>
                  <a:lnTo>
                    <a:pt x="310" y="304"/>
                  </a:lnTo>
                  <a:lnTo>
                    <a:pt x="310" y="304"/>
                  </a:lnTo>
                  <a:lnTo>
                    <a:pt x="309" y="304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7"/>
                  </a:lnTo>
                  <a:lnTo>
                    <a:pt x="309" y="307"/>
                  </a:lnTo>
                  <a:lnTo>
                    <a:pt x="308" y="307"/>
                  </a:lnTo>
                  <a:lnTo>
                    <a:pt x="308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09" y="305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9" y="303"/>
                  </a:lnTo>
                  <a:lnTo>
                    <a:pt x="310" y="303"/>
                  </a:lnTo>
                  <a:lnTo>
                    <a:pt x="309" y="303"/>
                  </a:lnTo>
                  <a:lnTo>
                    <a:pt x="309" y="303"/>
                  </a:lnTo>
                  <a:lnTo>
                    <a:pt x="309" y="302"/>
                  </a:lnTo>
                  <a:lnTo>
                    <a:pt x="308" y="302"/>
                  </a:lnTo>
                  <a:lnTo>
                    <a:pt x="308" y="302"/>
                  </a:lnTo>
                  <a:lnTo>
                    <a:pt x="307" y="302"/>
                  </a:lnTo>
                  <a:lnTo>
                    <a:pt x="306" y="302"/>
                  </a:lnTo>
                  <a:lnTo>
                    <a:pt x="305" y="302"/>
                  </a:lnTo>
                  <a:lnTo>
                    <a:pt x="305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3" y="302"/>
                  </a:lnTo>
                  <a:lnTo>
                    <a:pt x="303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4"/>
                  </a:lnTo>
                  <a:lnTo>
                    <a:pt x="302" y="304"/>
                  </a:lnTo>
                  <a:lnTo>
                    <a:pt x="302" y="305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7"/>
                  </a:lnTo>
                  <a:lnTo>
                    <a:pt x="302" y="307"/>
                  </a:lnTo>
                  <a:lnTo>
                    <a:pt x="302" y="308"/>
                  </a:lnTo>
                  <a:lnTo>
                    <a:pt x="302" y="308"/>
                  </a:lnTo>
                  <a:lnTo>
                    <a:pt x="303" y="309"/>
                  </a:lnTo>
                  <a:lnTo>
                    <a:pt x="304" y="309"/>
                  </a:lnTo>
                  <a:lnTo>
                    <a:pt x="304" y="309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6" y="311"/>
                  </a:lnTo>
                  <a:lnTo>
                    <a:pt x="307" y="311"/>
                  </a:lnTo>
                  <a:lnTo>
                    <a:pt x="307" y="311"/>
                  </a:lnTo>
                  <a:lnTo>
                    <a:pt x="307" y="312"/>
                  </a:lnTo>
                  <a:lnTo>
                    <a:pt x="307" y="312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9" y="313"/>
                  </a:lnTo>
                  <a:lnTo>
                    <a:pt x="309" y="313"/>
                  </a:lnTo>
                  <a:lnTo>
                    <a:pt x="310" y="312"/>
                  </a:lnTo>
                  <a:lnTo>
                    <a:pt x="311" y="312"/>
                  </a:lnTo>
                  <a:lnTo>
                    <a:pt x="311" y="311"/>
                  </a:lnTo>
                  <a:lnTo>
                    <a:pt x="312" y="311"/>
                  </a:lnTo>
                  <a:lnTo>
                    <a:pt x="312" y="311"/>
                  </a:lnTo>
                  <a:lnTo>
                    <a:pt x="313" y="312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5" y="312"/>
                  </a:lnTo>
                  <a:lnTo>
                    <a:pt x="315" y="311"/>
                  </a:lnTo>
                  <a:lnTo>
                    <a:pt x="315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7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19" y="310"/>
                  </a:lnTo>
                  <a:lnTo>
                    <a:pt x="319" y="311"/>
                  </a:lnTo>
                  <a:lnTo>
                    <a:pt x="319" y="310"/>
                  </a:lnTo>
                  <a:lnTo>
                    <a:pt x="319" y="310"/>
                  </a:lnTo>
                  <a:lnTo>
                    <a:pt x="320" y="309"/>
                  </a:lnTo>
                  <a:lnTo>
                    <a:pt x="320" y="309"/>
                  </a:lnTo>
                  <a:lnTo>
                    <a:pt x="320" y="308"/>
                  </a:lnTo>
                  <a:lnTo>
                    <a:pt x="321" y="308"/>
                  </a:lnTo>
                  <a:lnTo>
                    <a:pt x="321" y="308"/>
                  </a:lnTo>
                  <a:lnTo>
                    <a:pt x="321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3" y="307"/>
                  </a:lnTo>
                  <a:lnTo>
                    <a:pt x="323" y="307"/>
                  </a:lnTo>
                  <a:lnTo>
                    <a:pt x="323" y="308"/>
                  </a:lnTo>
                  <a:lnTo>
                    <a:pt x="324" y="308"/>
                  </a:lnTo>
                  <a:lnTo>
                    <a:pt x="324" y="307"/>
                  </a:lnTo>
                  <a:lnTo>
                    <a:pt x="324" y="307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9"/>
                  </a:lnTo>
                  <a:lnTo>
                    <a:pt x="324" y="309"/>
                  </a:lnTo>
                  <a:lnTo>
                    <a:pt x="324" y="310"/>
                  </a:lnTo>
                  <a:lnTo>
                    <a:pt x="324" y="310"/>
                  </a:lnTo>
                  <a:lnTo>
                    <a:pt x="323" y="311"/>
                  </a:lnTo>
                  <a:lnTo>
                    <a:pt x="323" y="311"/>
                  </a:lnTo>
                  <a:lnTo>
                    <a:pt x="322" y="311"/>
                  </a:lnTo>
                  <a:lnTo>
                    <a:pt x="322" y="312"/>
                  </a:lnTo>
                  <a:lnTo>
                    <a:pt x="322" y="313"/>
                  </a:lnTo>
                  <a:lnTo>
                    <a:pt x="323" y="313"/>
                  </a:lnTo>
                  <a:lnTo>
                    <a:pt x="323" y="313"/>
                  </a:lnTo>
                  <a:lnTo>
                    <a:pt x="323" y="314"/>
                  </a:lnTo>
                  <a:lnTo>
                    <a:pt x="322" y="314"/>
                  </a:lnTo>
                  <a:lnTo>
                    <a:pt x="323" y="314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2" y="316"/>
                  </a:lnTo>
                  <a:lnTo>
                    <a:pt x="322" y="317"/>
                  </a:lnTo>
                  <a:lnTo>
                    <a:pt x="322" y="316"/>
                  </a:lnTo>
                  <a:lnTo>
                    <a:pt x="322" y="316"/>
                  </a:lnTo>
                  <a:lnTo>
                    <a:pt x="321" y="316"/>
                  </a:lnTo>
                  <a:lnTo>
                    <a:pt x="320" y="316"/>
                  </a:lnTo>
                  <a:lnTo>
                    <a:pt x="320" y="316"/>
                  </a:lnTo>
                  <a:lnTo>
                    <a:pt x="319" y="316"/>
                  </a:lnTo>
                  <a:lnTo>
                    <a:pt x="319" y="317"/>
                  </a:lnTo>
                  <a:lnTo>
                    <a:pt x="319" y="317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9"/>
                  </a:lnTo>
                  <a:lnTo>
                    <a:pt x="318" y="318"/>
                  </a:lnTo>
                  <a:lnTo>
                    <a:pt x="317" y="318"/>
                  </a:lnTo>
                  <a:lnTo>
                    <a:pt x="317" y="319"/>
                  </a:lnTo>
                  <a:lnTo>
                    <a:pt x="316" y="318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20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2"/>
                  </a:lnTo>
                  <a:lnTo>
                    <a:pt x="316" y="322"/>
                  </a:lnTo>
                  <a:lnTo>
                    <a:pt x="315" y="323"/>
                  </a:lnTo>
                  <a:lnTo>
                    <a:pt x="315" y="324"/>
                  </a:lnTo>
                  <a:lnTo>
                    <a:pt x="316" y="324"/>
                  </a:lnTo>
                  <a:lnTo>
                    <a:pt x="316" y="324"/>
                  </a:lnTo>
                  <a:lnTo>
                    <a:pt x="316" y="326"/>
                  </a:lnTo>
                  <a:lnTo>
                    <a:pt x="316" y="326"/>
                  </a:lnTo>
                  <a:lnTo>
                    <a:pt x="316" y="327"/>
                  </a:lnTo>
                  <a:lnTo>
                    <a:pt x="316" y="328"/>
                  </a:lnTo>
                  <a:lnTo>
                    <a:pt x="316" y="329"/>
                  </a:lnTo>
                  <a:lnTo>
                    <a:pt x="316" y="330"/>
                  </a:lnTo>
                  <a:lnTo>
                    <a:pt x="316" y="330"/>
                  </a:lnTo>
                  <a:lnTo>
                    <a:pt x="315" y="330"/>
                  </a:lnTo>
                  <a:lnTo>
                    <a:pt x="316" y="331"/>
                  </a:lnTo>
                  <a:lnTo>
                    <a:pt x="315" y="331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3"/>
                  </a:lnTo>
                  <a:lnTo>
                    <a:pt x="315" y="333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5"/>
                  </a:lnTo>
                  <a:lnTo>
                    <a:pt x="315" y="335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7" y="338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9" y="339"/>
                  </a:lnTo>
                  <a:lnTo>
                    <a:pt x="319" y="338"/>
                  </a:lnTo>
                  <a:lnTo>
                    <a:pt x="318" y="337"/>
                  </a:lnTo>
                  <a:lnTo>
                    <a:pt x="319" y="337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20" y="337"/>
                  </a:lnTo>
                  <a:lnTo>
                    <a:pt x="320" y="336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1" y="337"/>
                  </a:lnTo>
                  <a:lnTo>
                    <a:pt x="321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3" y="337"/>
                  </a:lnTo>
                  <a:lnTo>
                    <a:pt x="323" y="337"/>
                  </a:lnTo>
                  <a:lnTo>
                    <a:pt x="323" y="336"/>
                  </a:lnTo>
                  <a:lnTo>
                    <a:pt x="323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5" y="337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6" y="338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40"/>
                  </a:lnTo>
                  <a:lnTo>
                    <a:pt x="325" y="340"/>
                  </a:lnTo>
                  <a:lnTo>
                    <a:pt x="325" y="340"/>
                  </a:lnTo>
                  <a:lnTo>
                    <a:pt x="324" y="340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2"/>
                  </a:lnTo>
                  <a:lnTo>
                    <a:pt x="324" y="342"/>
                  </a:lnTo>
                  <a:lnTo>
                    <a:pt x="325" y="343"/>
                  </a:lnTo>
                  <a:lnTo>
                    <a:pt x="324" y="343"/>
                  </a:lnTo>
                  <a:lnTo>
                    <a:pt x="325" y="343"/>
                  </a:lnTo>
                  <a:lnTo>
                    <a:pt x="326" y="344"/>
                  </a:lnTo>
                  <a:lnTo>
                    <a:pt x="325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3"/>
                  </a:lnTo>
                  <a:lnTo>
                    <a:pt x="326" y="344"/>
                  </a:lnTo>
                  <a:lnTo>
                    <a:pt x="327" y="344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9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6"/>
                  </a:lnTo>
                  <a:lnTo>
                    <a:pt x="327" y="346"/>
                  </a:lnTo>
                  <a:lnTo>
                    <a:pt x="328" y="346"/>
                  </a:lnTo>
                  <a:lnTo>
                    <a:pt x="328" y="347"/>
                  </a:lnTo>
                  <a:lnTo>
                    <a:pt x="329" y="347"/>
                  </a:lnTo>
                  <a:lnTo>
                    <a:pt x="332" y="347"/>
                  </a:lnTo>
                  <a:lnTo>
                    <a:pt x="332" y="347"/>
                  </a:lnTo>
                  <a:lnTo>
                    <a:pt x="332" y="348"/>
                  </a:lnTo>
                  <a:lnTo>
                    <a:pt x="333" y="348"/>
                  </a:lnTo>
                  <a:lnTo>
                    <a:pt x="333" y="348"/>
                  </a:lnTo>
                  <a:lnTo>
                    <a:pt x="333" y="349"/>
                  </a:lnTo>
                  <a:lnTo>
                    <a:pt x="333" y="349"/>
                  </a:lnTo>
                  <a:lnTo>
                    <a:pt x="334" y="349"/>
                  </a:lnTo>
                  <a:lnTo>
                    <a:pt x="334" y="349"/>
                  </a:lnTo>
                  <a:lnTo>
                    <a:pt x="335" y="349"/>
                  </a:lnTo>
                  <a:lnTo>
                    <a:pt x="335" y="349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7" y="350"/>
                  </a:lnTo>
                  <a:lnTo>
                    <a:pt x="337" y="350"/>
                  </a:lnTo>
                  <a:lnTo>
                    <a:pt x="338" y="351"/>
                  </a:lnTo>
                  <a:lnTo>
                    <a:pt x="337" y="351"/>
                  </a:lnTo>
                  <a:lnTo>
                    <a:pt x="337" y="354"/>
                  </a:lnTo>
                  <a:lnTo>
                    <a:pt x="337" y="355"/>
                  </a:lnTo>
                  <a:lnTo>
                    <a:pt x="337" y="356"/>
                  </a:lnTo>
                  <a:lnTo>
                    <a:pt x="333" y="358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30" y="358"/>
                  </a:lnTo>
                  <a:lnTo>
                    <a:pt x="330" y="358"/>
                  </a:lnTo>
                  <a:lnTo>
                    <a:pt x="329" y="358"/>
                  </a:lnTo>
                  <a:lnTo>
                    <a:pt x="328" y="358"/>
                  </a:lnTo>
                  <a:lnTo>
                    <a:pt x="328" y="358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6" y="356"/>
                  </a:lnTo>
                  <a:lnTo>
                    <a:pt x="325" y="356"/>
                  </a:lnTo>
                  <a:lnTo>
                    <a:pt x="324" y="356"/>
                  </a:lnTo>
                  <a:lnTo>
                    <a:pt x="324" y="357"/>
                  </a:lnTo>
                  <a:lnTo>
                    <a:pt x="324" y="358"/>
                  </a:lnTo>
                  <a:lnTo>
                    <a:pt x="324" y="358"/>
                  </a:lnTo>
                  <a:lnTo>
                    <a:pt x="324" y="359"/>
                  </a:lnTo>
                  <a:lnTo>
                    <a:pt x="323" y="360"/>
                  </a:lnTo>
                  <a:lnTo>
                    <a:pt x="323" y="360"/>
                  </a:lnTo>
                  <a:lnTo>
                    <a:pt x="322" y="360"/>
                  </a:lnTo>
                  <a:lnTo>
                    <a:pt x="321" y="360"/>
                  </a:lnTo>
                  <a:lnTo>
                    <a:pt x="320" y="360"/>
                  </a:lnTo>
                  <a:lnTo>
                    <a:pt x="320" y="359"/>
                  </a:lnTo>
                  <a:lnTo>
                    <a:pt x="321" y="359"/>
                  </a:lnTo>
                  <a:lnTo>
                    <a:pt x="321" y="359"/>
                  </a:lnTo>
                  <a:lnTo>
                    <a:pt x="320" y="359"/>
                  </a:lnTo>
                  <a:lnTo>
                    <a:pt x="320" y="359"/>
                  </a:lnTo>
                  <a:lnTo>
                    <a:pt x="319" y="358"/>
                  </a:lnTo>
                  <a:lnTo>
                    <a:pt x="319" y="359"/>
                  </a:lnTo>
                  <a:lnTo>
                    <a:pt x="319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7" y="358"/>
                  </a:lnTo>
                  <a:lnTo>
                    <a:pt x="316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5" y="357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4" y="356"/>
                  </a:lnTo>
                  <a:lnTo>
                    <a:pt x="314" y="356"/>
                  </a:lnTo>
                  <a:lnTo>
                    <a:pt x="313" y="356"/>
                  </a:lnTo>
                  <a:lnTo>
                    <a:pt x="313" y="355"/>
                  </a:lnTo>
                  <a:lnTo>
                    <a:pt x="313" y="355"/>
                  </a:lnTo>
                  <a:lnTo>
                    <a:pt x="314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3"/>
                  </a:lnTo>
                  <a:lnTo>
                    <a:pt x="312" y="354"/>
                  </a:lnTo>
                  <a:lnTo>
                    <a:pt x="312" y="354"/>
                  </a:lnTo>
                  <a:lnTo>
                    <a:pt x="312" y="353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0" y="353"/>
                  </a:lnTo>
                  <a:lnTo>
                    <a:pt x="311" y="353"/>
                  </a:lnTo>
                  <a:lnTo>
                    <a:pt x="310" y="353"/>
                  </a:lnTo>
                  <a:lnTo>
                    <a:pt x="310" y="354"/>
                  </a:lnTo>
                  <a:lnTo>
                    <a:pt x="309" y="354"/>
                  </a:lnTo>
                  <a:lnTo>
                    <a:pt x="309" y="353"/>
                  </a:lnTo>
                  <a:lnTo>
                    <a:pt x="309" y="353"/>
                  </a:lnTo>
                  <a:lnTo>
                    <a:pt x="308" y="353"/>
                  </a:lnTo>
                  <a:lnTo>
                    <a:pt x="308" y="353"/>
                  </a:lnTo>
                  <a:lnTo>
                    <a:pt x="307" y="353"/>
                  </a:lnTo>
                  <a:lnTo>
                    <a:pt x="307" y="352"/>
                  </a:lnTo>
                  <a:lnTo>
                    <a:pt x="307" y="352"/>
                  </a:lnTo>
                  <a:lnTo>
                    <a:pt x="307" y="354"/>
                  </a:lnTo>
                  <a:lnTo>
                    <a:pt x="307" y="355"/>
                  </a:lnTo>
                  <a:lnTo>
                    <a:pt x="307" y="355"/>
                  </a:lnTo>
                  <a:lnTo>
                    <a:pt x="306" y="355"/>
                  </a:lnTo>
                  <a:lnTo>
                    <a:pt x="305" y="355"/>
                  </a:lnTo>
                  <a:lnTo>
                    <a:pt x="305" y="355"/>
                  </a:lnTo>
                  <a:lnTo>
                    <a:pt x="305" y="356"/>
                  </a:lnTo>
                  <a:lnTo>
                    <a:pt x="304" y="356"/>
                  </a:lnTo>
                  <a:lnTo>
                    <a:pt x="304" y="355"/>
                  </a:lnTo>
                  <a:lnTo>
                    <a:pt x="304" y="355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3" y="354"/>
                  </a:lnTo>
                  <a:lnTo>
                    <a:pt x="302" y="354"/>
                  </a:lnTo>
                  <a:lnTo>
                    <a:pt x="302" y="354"/>
                  </a:lnTo>
                  <a:lnTo>
                    <a:pt x="302" y="353"/>
                  </a:lnTo>
                  <a:lnTo>
                    <a:pt x="301" y="354"/>
                  </a:lnTo>
                  <a:lnTo>
                    <a:pt x="300" y="354"/>
                  </a:lnTo>
                  <a:lnTo>
                    <a:pt x="300" y="353"/>
                  </a:lnTo>
                  <a:lnTo>
                    <a:pt x="300" y="354"/>
                  </a:lnTo>
                  <a:lnTo>
                    <a:pt x="299" y="353"/>
                  </a:lnTo>
                  <a:lnTo>
                    <a:pt x="298" y="353"/>
                  </a:lnTo>
                  <a:lnTo>
                    <a:pt x="298" y="354"/>
                  </a:lnTo>
                  <a:lnTo>
                    <a:pt x="298" y="355"/>
                  </a:lnTo>
                  <a:lnTo>
                    <a:pt x="298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3"/>
                  </a:lnTo>
                  <a:lnTo>
                    <a:pt x="296" y="354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5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6"/>
                  </a:lnTo>
                  <a:lnTo>
                    <a:pt x="294" y="356"/>
                  </a:lnTo>
                  <a:lnTo>
                    <a:pt x="294" y="357"/>
                  </a:lnTo>
                  <a:lnTo>
                    <a:pt x="293" y="358"/>
                  </a:lnTo>
                  <a:lnTo>
                    <a:pt x="293" y="358"/>
                  </a:lnTo>
                  <a:lnTo>
                    <a:pt x="292" y="358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1" y="359"/>
                  </a:lnTo>
                  <a:lnTo>
                    <a:pt x="291" y="359"/>
                  </a:lnTo>
                  <a:lnTo>
                    <a:pt x="290" y="359"/>
                  </a:lnTo>
                  <a:lnTo>
                    <a:pt x="290" y="359"/>
                  </a:lnTo>
                  <a:lnTo>
                    <a:pt x="289" y="359"/>
                  </a:lnTo>
                  <a:lnTo>
                    <a:pt x="289" y="359"/>
                  </a:lnTo>
                  <a:lnTo>
                    <a:pt x="289" y="358"/>
                  </a:lnTo>
                  <a:lnTo>
                    <a:pt x="288" y="358"/>
                  </a:lnTo>
                  <a:lnTo>
                    <a:pt x="287" y="358"/>
                  </a:lnTo>
                  <a:lnTo>
                    <a:pt x="287" y="358"/>
                  </a:lnTo>
                  <a:lnTo>
                    <a:pt x="286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6" y="356"/>
                  </a:lnTo>
                  <a:lnTo>
                    <a:pt x="286" y="355"/>
                  </a:lnTo>
                  <a:lnTo>
                    <a:pt x="285" y="355"/>
                  </a:lnTo>
                  <a:lnTo>
                    <a:pt x="285" y="355"/>
                  </a:lnTo>
                  <a:lnTo>
                    <a:pt x="284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3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1" y="354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2" y="355"/>
                  </a:lnTo>
                  <a:lnTo>
                    <a:pt x="282" y="355"/>
                  </a:lnTo>
                  <a:lnTo>
                    <a:pt x="282" y="356"/>
                  </a:lnTo>
                  <a:lnTo>
                    <a:pt x="282" y="356"/>
                  </a:lnTo>
                  <a:lnTo>
                    <a:pt x="282" y="357"/>
                  </a:lnTo>
                  <a:lnTo>
                    <a:pt x="282" y="358"/>
                  </a:lnTo>
                  <a:lnTo>
                    <a:pt x="282" y="358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1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0" y="359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0" y="357"/>
                  </a:lnTo>
                  <a:lnTo>
                    <a:pt x="281" y="357"/>
                  </a:lnTo>
                  <a:lnTo>
                    <a:pt x="281" y="356"/>
                  </a:lnTo>
                  <a:lnTo>
                    <a:pt x="281" y="356"/>
                  </a:lnTo>
                  <a:lnTo>
                    <a:pt x="280" y="356"/>
                  </a:lnTo>
                  <a:lnTo>
                    <a:pt x="279" y="356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8" y="355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3"/>
                  </a:lnTo>
                  <a:lnTo>
                    <a:pt x="277" y="353"/>
                  </a:lnTo>
                  <a:lnTo>
                    <a:pt x="277" y="352"/>
                  </a:lnTo>
                  <a:lnTo>
                    <a:pt x="276" y="352"/>
                  </a:lnTo>
                  <a:lnTo>
                    <a:pt x="276" y="352"/>
                  </a:lnTo>
                  <a:lnTo>
                    <a:pt x="275" y="352"/>
                  </a:lnTo>
                  <a:lnTo>
                    <a:pt x="275" y="352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3" y="351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3" y="349"/>
                  </a:lnTo>
                  <a:lnTo>
                    <a:pt x="272" y="349"/>
                  </a:lnTo>
                  <a:lnTo>
                    <a:pt x="272" y="349"/>
                  </a:lnTo>
                  <a:lnTo>
                    <a:pt x="271" y="348"/>
                  </a:lnTo>
                  <a:lnTo>
                    <a:pt x="271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69" y="348"/>
                  </a:lnTo>
                  <a:lnTo>
                    <a:pt x="268" y="348"/>
                  </a:lnTo>
                  <a:lnTo>
                    <a:pt x="268" y="348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5" y="349"/>
                  </a:lnTo>
                  <a:lnTo>
                    <a:pt x="266" y="348"/>
                  </a:lnTo>
                  <a:lnTo>
                    <a:pt x="265" y="348"/>
                  </a:lnTo>
                  <a:lnTo>
                    <a:pt x="265" y="349"/>
                  </a:lnTo>
                  <a:lnTo>
                    <a:pt x="265" y="348"/>
                  </a:lnTo>
                  <a:lnTo>
                    <a:pt x="264" y="348"/>
                  </a:lnTo>
                  <a:lnTo>
                    <a:pt x="264" y="348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6"/>
                  </a:lnTo>
                  <a:lnTo>
                    <a:pt x="263" y="345"/>
                  </a:lnTo>
                  <a:lnTo>
                    <a:pt x="264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2" y="345"/>
                  </a:lnTo>
                  <a:lnTo>
                    <a:pt x="262" y="346"/>
                  </a:lnTo>
                  <a:lnTo>
                    <a:pt x="261" y="346"/>
                  </a:lnTo>
                  <a:lnTo>
                    <a:pt x="261" y="347"/>
                  </a:lnTo>
                  <a:lnTo>
                    <a:pt x="261" y="346"/>
                  </a:lnTo>
                  <a:lnTo>
                    <a:pt x="260" y="346"/>
                  </a:lnTo>
                  <a:lnTo>
                    <a:pt x="260" y="346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8"/>
                  </a:lnTo>
                  <a:lnTo>
                    <a:pt x="258" y="348"/>
                  </a:lnTo>
                  <a:lnTo>
                    <a:pt x="259" y="349"/>
                  </a:lnTo>
                  <a:lnTo>
                    <a:pt x="257" y="349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6" y="348"/>
                  </a:lnTo>
                  <a:lnTo>
                    <a:pt x="256" y="348"/>
                  </a:lnTo>
                  <a:lnTo>
                    <a:pt x="255" y="348"/>
                  </a:lnTo>
                  <a:lnTo>
                    <a:pt x="255" y="348"/>
                  </a:lnTo>
                  <a:lnTo>
                    <a:pt x="256" y="348"/>
                  </a:lnTo>
                  <a:lnTo>
                    <a:pt x="256" y="347"/>
                  </a:lnTo>
                  <a:lnTo>
                    <a:pt x="255" y="347"/>
                  </a:lnTo>
                  <a:lnTo>
                    <a:pt x="255" y="346"/>
                  </a:lnTo>
                  <a:lnTo>
                    <a:pt x="254" y="346"/>
                  </a:lnTo>
                  <a:lnTo>
                    <a:pt x="253" y="346"/>
                  </a:lnTo>
                  <a:lnTo>
                    <a:pt x="253" y="346"/>
                  </a:lnTo>
                  <a:lnTo>
                    <a:pt x="252" y="346"/>
                  </a:lnTo>
                  <a:lnTo>
                    <a:pt x="252" y="346"/>
                  </a:lnTo>
                  <a:lnTo>
                    <a:pt x="252" y="345"/>
                  </a:lnTo>
                  <a:lnTo>
                    <a:pt x="251" y="345"/>
                  </a:lnTo>
                  <a:lnTo>
                    <a:pt x="250" y="345"/>
                  </a:lnTo>
                  <a:lnTo>
                    <a:pt x="250" y="345"/>
                  </a:lnTo>
                  <a:lnTo>
                    <a:pt x="250" y="346"/>
                  </a:lnTo>
                  <a:lnTo>
                    <a:pt x="251" y="346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8"/>
                  </a:lnTo>
                  <a:lnTo>
                    <a:pt x="249" y="349"/>
                  </a:lnTo>
                  <a:lnTo>
                    <a:pt x="248" y="349"/>
                  </a:lnTo>
                  <a:lnTo>
                    <a:pt x="248" y="349"/>
                  </a:lnTo>
                  <a:lnTo>
                    <a:pt x="248" y="350"/>
                  </a:lnTo>
                  <a:lnTo>
                    <a:pt x="247" y="350"/>
                  </a:lnTo>
                  <a:lnTo>
                    <a:pt x="248" y="350"/>
                  </a:lnTo>
                  <a:lnTo>
                    <a:pt x="247" y="351"/>
                  </a:lnTo>
                  <a:lnTo>
                    <a:pt x="246" y="351"/>
                  </a:lnTo>
                  <a:lnTo>
                    <a:pt x="245" y="351"/>
                  </a:lnTo>
                  <a:lnTo>
                    <a:pt x="244" y="351"/>
                  </a:lnTo>
                  <a:lnTo>
                    <a:pt x="244" y="352"/>
                  </a:lnTo>
                  <a:lnTo>
                    <a:pt x="244" y="352"/>
                  </a:lnTo>
                  <a:lnTo>
                    <a:pt x="242" y="353"/>
                  </a:lnTo>
                  <a:lnTo>
                    <a:pt x="241" y="353"/>
                  </a:lnTo>
                  <a:lnTo>
                    <a:pt x="240" y="353"/>
                  </a:lnTo>
                  <a:lnTo>
                    <a:pt x="240" y="353"/>
                  </a:lnTo>
                  <a:lnTo>
                    <a:pt x="240" y="354"/>
                  </a:lnTo>
                  <a:lnTo>
                    <a:pt x="240" y="354"/>
                  </a:lnTo>
                  <a:lnTo>
                    <a:pt x="239" y="354"/>
                  </a:lnTo>
                  <a:lnTo>
                    <a:pt x="240" y="354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6"/>
                  </a:lnTo>
                  <a:lnTo>
                    <a:pt x="240" y="356"/>
                  </a:lnTo>
                  <a:lnTo>
                    <a:pt x="238" y="356"/>
                  </a:lnTo>
                  <a:lnTo>
                    <a:pt x="237" y="357"/>
                  </a:lnTo>
                  <a:lnTo>
                    <a:pt x="237" y="358"/>
                  </a:lnTo>
                  <a:lnTo>
                    <a:pt x="237" y="358"/>
                  </a:lnTo>
                  <a:lnTo>
                    <a:pt x="236" y="358"/>
                  </a:lnTo>
                  <a:lnTo>
                    <a:pt x="235" y="359"/>
                  </a:lnTo>
                  <a:lnTo>
                    <a:pt x="235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58"/>
                  </a:lnTo>
                  <a:lnTo>
                    <a:pt x="233" y="358"/>
                  </a:lnTo>
                  <a:lnTo>
                    <a:pt x="233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60"/>
                  </a:lnTo>
                  <a:lnTo>
                    <a:pt x="234" y="361"/>
                  </a:lnTo>
                  <a:lnTo>
                    <a:pt x="234" y="362"/>
                  </a:lnTo>
                  <a:lnTo>
                    <a:pt x="234" y="363"/>
                  </a:lnTo>
                  <a:lnTo>
                    <a:pt x="234" y="363"/>
                  </a:lnTo>
                  <a:lnTo>
                    <a:pt x="235" y="363"/>
                  </a:lnTo>
                  <a:lnTo>
                    <a:pt x="235" y="364"/>
                  </a:lnTo>
                  <a:lnTo>
                    <a:pt x="234" y="365"/>
                  </a:lnTo>
                  <a:lnTo>
                    <a:pt x="235" y="365"/>
                  </a:lnTo>
                  <a:lnTo>
                    <a:pt x="235" y="365"/>
                  </a:lnTo>
                  <a:lnTo>
                    <a:pt x="235" y="366"/>
                  </a:lnTo>
                  <a:lnTo>
                    <a:pt x="234" y="367"/>
                  </a:lnTo>
                  <a:lnTo>
                    <a:pt x="234" y="367"/>
                  </a:lnTo>
                  <a:lnTo>
                    <a:pt x="232" y="368"/>
                  </a:lnTo>
                  <a:lnTo>
                    <a:pt x="232" y="369"/>
                  </a:lnTo>
                  <a:lnTo>
                    <a:pt x="231" y="368"/>
                  </a:lnTo>
                  <a:lnTo>
                    <a:pt x="231" y="368"/>
                  </a:lnTo>
                  <a:lnTo>
                    <a:pt x="231" y="367"/>
                  </a:lnTo>
                  <a:lnTo>
                    <a:pt x="231" y="368"/>
                  </a:lnTo>
                  <a:lnTo>
                    <a:pt x="230" y="368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6"/>
                  </a:lnTo>
                  <a:lnTo>
                    <a:pt x="229" y="366"/>
                  </a:lnTo>
                  <a:lnTo>
                    <a:pt x="229" y="366"/>
                  </a:lnTo>
                  <a:lnTo>
                    <a:pt x="229" y="365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8" y="364"/>
                  </a:lnTo>
                  <a:lnTo>
                    <a:pt x="228" y="363"/>
                  </a:lnTo>
                  <a:lnTo>
                    <a:pt x="227" y="363"/>
                  </a:lnTo>
                  <a:lnTo>
                    <a:pt x="227" y="363"/>
                  </a:lnTo>
                  <a:lnTo>
                    <a:pt x="227" y="362"/>
                  </a:lnTo>
                  <a:lnTo>
                    <a:pt x="227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2"/>
                  </a:lnTo>
                  <a:lnTo>
                    <a:pt x="223" y="362"/>
                  </a:lnTo>
                  <a:lnTo>
                    <a:pt x="223" y="362"/>
                  </a:lnTo>
                  <a:lnTo>
                    <a:pt x="223" y="363"/>
                  </a:lnTo>
                  <a:lnTo>
                    <a:pt x="223" y="363"/>
                  </a:lnTo>
                  <a:lnTo>
                    <a:pt x="222" y="364"/>
                  </a:lnTo>
                  <a:lnTo>
                    <a:pt x="223" y="365"/>
                  </a:lnTo>
                  <a:lnTo>
                    <a:pt x="223" y="365"/>
                  </a:lnTo>
                  <a:lnTo>
                    <a:pt x="222" y="367"/>
                  </a:lnTo>
                  <a:lnTo>
                    <a:pt x="221" y="367"/>
                  </a:lnTo>
                  <a:lnTo>
                    <a:pt x="220" y="367"/>
                  </a:lnTo>
                  <a:lnTo>
                    <a:pt x="219" y="367"/>
                  </a:lnTo>
                  <a:lnTo>
                    <a:pt x="219" y="368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19" y="370"/>
                  </a:lnTo>
                  <a:lnTo>
                    <a:pt x="219" y="372"/>
                  </a:lnTo>
                  <a:lnTo>
                    <a:pt x="219" y="373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20" y="374"/>
                  </a:lnTo>
                  <a:lnTo>
                    <a:pt x="220" y="375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20" y="377"/>
                  </a:lnTo>
                  <a:lnTo>
                    <a:pt x="220" y="378"/>
                  </a:lnTo>
                  <a:lnTo>
                    <a:pt x="219" y="378"/>
                  </a:lnTo>
                  <a:lnTo>
                    <a:pt x="219" y="378"/>
                  </a:lnTo>
                  <a:lnTo>
                    <a:pt x="218" y="381"/>
                  </a:lnTo>
                  <a:lnTo>
                    <a:pt x="217" y="382"/>
                  </a:lnTo>
                  <a:lnTo>
                    <a:pt x="216" y="385"/>
                  </a:lnTo>
                  <a:lnTo>
                    <a:pt x="217" y="385"/>
                  </a:lnTo>
                  <a:lnTo>
                    <a:pt x="218" y="385"/>
                  </a:lnTo>
                  <a:lnTo>
                    <a:pt x="218" y="385"/>
                  </a:lnTo>
                  <a:lnTo>
                    <a:pt x="219" y="385"/>
                  </a:lnTo>
                  <a:lnTo>
                    <a:pt x="219" y="386"/>
                  </a:lnTo>
                  <a:lnTo>
                    <a:pt x="220" y="386"/>
                  </a:lnTo>
                  <a:lnTo>
                    <a:pt x="220" y="386"/>
                  </a:lnTo>
                  <a:lnTo>
                    <a:pt x="221" y="387"/>
                  </a:lnTo>
                  <a:lnTo>
                    <a:pt x="221" y="387"/>
                  </a:lnTo>
                  <a:lnTo>
                    <a:pt x="221" y="388"/>
                  </a:lnTo>
                  <a:lnTo>
                    <a:pt x="221" y="388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0" y="389"/>
                  </a:lnTo>
                  <a:lnTo>
                    <a:pt x="221" y="391"/>
                  </a:lnTo>
                  <a:lnTo>
                    <a:pt x="222" y="391"/>
                  </a:lnTo>
                  <a:lnTo>
                    <a:pt x="221" y="392"/>
                  </a:lnTo>
                  <a:lnTo>
                    <a:pt x="222" y="392"/>
                  </a:lnTo>
                  <a:lnTo>
                    <a:pt x="222" y="392"/>
                  </a:lnTo>
                  <a:lnTo>
                    <a:pt x="223" y="393"/>
                  </a:lnTo>
                  <a:lnTo>
                    <a:pt x="223" y="394"/>
                  </a:lnTo>
                  <a:lnTo>
                    <a:pt x="223" y="392"/>
                  </a:lnTo>
                  <a:lnTo>
                    <a:pt x="223" y="392"/>
                  </a:lnTo>
                  <a:lnTo>
                    <a:pt x="224" y="392"/>
                  </a:lnTo>
                  <a:lnTo>
                    <a:pt x="225" y="392"/>
                  </a:lnTo>
                  <a:lnTo>
                    <a:pt x="226" y="392"/>
                  </a:lnTo>
                  <a:lnTo>
                    <a:pt x="226" y="392"/>
                  </a:lnTo>
                  <a:lnTo>
                    <a:pt x="228" y="392"/>
                  </a:lnTo>
                  <a:lnTo>
                    <a:pt x="229" y="392"/>
                  </a:lnTo>
                  <a:lnTo>
                    <a:pt x="229" y="393"/>
                  </a:lnTo>
                  <a:lnTo>
                    <a:pt x="230" y="393"/>
                  </a:lnTo>
                  <a:lnTo>
                    <a:pt x="232" y="396"/>
                  </a:lnTo>
                  <a:lnTo>
                    <a:pt x="233" y="396"/>
                  </a:lnTo>
                  <a:lnTo>
                    <a:pt x="233" y="398"/>
                  </a:lnTo>
                  <a:lnTo>
                    <a:pt x="234" y="399"/>
                  </a:lnTo>
                  <a:lnTo>
                    <a:pt x="234" y="400"/>
                  </a:lnTo>
                  <a:lnTo>
                    <a:pt x="235" y="403"/>
                  </a:lnTo>
                  <a:lnTo>
                    <a:pt x="236" y="403"/>
                  </a:lnTo>
                  <a:lnTo>
                    <a:pt x="236" y="403"/>
                  </a:lnTo>
                  <a:lnTo>
                    <a:pt x="237" y="404"/>
                  </a:lnTo>
                  <a:lnTo>
                    <a:pt x="235" y="404"/>
                  </a:lnTo>
                  <a:lnTo>
                    <a:pt x="234" y="404"/>
                  </a:lnTo>
                  <a:lnTo>
                    <a:pt x="234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5"/>
                  </a:lnTo>
                  <a:lnTo>
                    <a:pt x="232" y="405"/>
                  </a:lnTo>
                  <a:lnTo>
                    <a:pt x="233" y="405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4" y="406"/>
                  </a:lnTo>
                  <a:lnTo>
                    <a:pt x="234" y="406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6" y="407"/>
                  </a:lnTo>
                  <a:lnTo>
                    <a:pt x="236" y="408"/>
                  </a:lnTo>
                  <a:lnTo>
                    <a:pt x="237" y="408"/>
                  </a:lnTo>
                  <a:lnTo>
                    <a:pt x="237" y="408"/>
                  </a:lnTo>
                  <a:lnTo>
                    <a:pt x="237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10"/>
                  </a:lnTo>
                  <a:lnTo>
                    <a:pt x="238" y="410"/>
                  </a:lnTo>
                  <a:lnTo>
                    <a:pt x="239" y="410"/>
                  </a:lnTo>
                  <a:lnTo>
                    <a:pt x="239" y="411"/>
                  </a:lnTo>
                  <a:lnTo>
                    <a:pt x="238" y="411"/>
                  </a:lnTo>
                  <a:lnTo>
                    <a:pt x="238" y="410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7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4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5"/>
                  </a:lnTo>
                  <a:lnTo>
                    <a:pt x="235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5" y="416"/>
                  </a:lnTo>
                  <a:lnTo>
                    <a:pt x="234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2" y="417"/>
                  </a:lnTo>
                  <a:lnTo>
                    <a:pt x="232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6"/>
                  </a:lnTo>
                  <a:lnTo>
                    <a:pt x="231" y="415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6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29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9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7" y="420"/>
                  </a:lnTo>
                  <a:lnTo>
                    <a:pt x="227" y="420"/>
                  </a:lnTo>
                  <a:lnTo>
                    <a:pt x="227" y="419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2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6" y="412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5" y="413"/>
                  </a:lnTo>
                  <a:lnTo>
                    <a:pt x="226" y="413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5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4" y="415"/>
                  </a:lnTo>
                  <a:lnTo>
                    <a:pt x="225" y="415"/>
                  </a:lnTo>
                  <a:lnTo>
                    <a:pt x="226" y="416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4" y="419"/>
                  </a:lnTo>
                  <a:lnTo>
                    <a:pt x="225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1"/>
                  </a:lnTo>
                  <a:lnTo>
                    <a:pt x="224" y="422"/>
                  </a:lnTo>
                  <a:lnTo>
                    <a:pt x="224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5"/>
                  </a:lnTo>
                  <a:lnTo>
                    <a:pt x="222" y="425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7"/>
                  </a:lnTo>
                  <a:lnTo>
                    <a:pt x="222" y="428"/>
                  </a:lnTo>
                  <a:lnTo>
                    <a:pt x="222" y="427"/>
                  </a:lnTo>
                  <a:lnTo>
                    <a:pt x="221" y="427"/>
                  </a:lnTo>
                  <a:lnTo>
                    <a:pt x="221" y="426"/>
                  </a:lnTo>
                  <a:lnTo>
                    <a:pt x="220" y="426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1" y="427"/>
                  </a:lnTo>
                  <a:lnTo>
                    <a:pt x="221" y="428"/>
                  </a:lnTo>
                  <a:lnTo>
                    <a:pt x="221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19" y="430"/>
                  </a:lnTo>
                  <a:lnTo>
                    <a:pt x="218" y="430"/>
                  </a:lnTo>
                  <a:lnTo>
                    <a:pt x="218" y="429"/>
                  </a:lnTo>
                  <a:lnTo>
                    <a:pt x="218" y="430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2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4"/>
                  </a:lnTo>
                  <a:lnTo>
                    <a:pt x="223" y="434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6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5" y="437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8"/>
                  </a:lnTo>
                  <a:lnTo>
                    <a:pt x="225" y="438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4" y="441"/>
                  </a:lnTo>
                  <a:lnTo>
                    <a:pt x="224" y="442"/>
                  </a:lnTo>
                  <a:lnTo>
                    <a:pt x="224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4"/>
                  </a:lnTo>
                  <a:lnTo>
                    <a:pt x="224" y="444"/>
                  </a:lnTo>
                  <a:lnTo>
                    <a:pt x="224" y="445"/>
                  </a:lnTo>
                  <a:lnTo>
                    <a:pt x="224" y="446"/>
                  </a:lnTo>
                  <a:lnTo>
                    <a:pt x="224" y="447"/>
                  </a:lnTo>
                  <a:lnTo>
                    <a:pt x="224" y="447"/>
                  </a:lnTo>
                  <a:lnTo>
                    <a:pt x="225" y="447"/>
                  </a:lnTo>
                  <a:lnTo>
                    <a:pt x="225" y="448"/>
                  </a:lnTo>
                  <a:lnTo>
                    <a:pt x="226" y="448"/>
                  </a:lnTo>
                  <a:lnTo>
                    <a:pt x="226" y="448"/>
                  </a:lnTo>
                  <a:lnTo>
                    <a:pt x="226" y="449"/>
                  </a:lnTo>
                  <a:lnTo>
                    <a:pt x="226" y="450"/>
                  </a:lnTo>
                  <a:lnTo>
                    <a:pt x="226" y="450"/>
                  </a:lnTo>
                  <a:lnTo>
                    <a:pt x="226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2"/>
                  </a:lnTo>
                  <a:lnTo>
                    <a:pt x="228" y="453"/>
                  </a:lnTo>
                  <a:lnTo>
                    <a:pt x="228" y="453"/>
                  </a:lnTo>
                  <a:lnTo>
                    <a:pt x="229" y="453"/>
                  </a:lnTo>
                  <a:lnTo>
                    <a:pt x="229" y="454"/>
                  </a:lnTo>
                  <a:lnTo>
                    <a:pt x="229" y="454"/>
                  </a:lnTo>
                  <a:lnTo>
                    <a:pt x="230" y="455"/>
                  </a:lnTo>
                  <a:lnTo>
                    <a:pt x="230" y="455"/>
                  </a:lnTo>
                  <a:lnTo>
                    <a:pt x="230" y="456"/>
                  </a:lnTo>
                  <a:lnTo>
                    <a:pt x="230" y="457"/>
                  </a:lnTo>
                  <a:lnTo>
                    <a:pt x="231" y="457"/>
                  </a:lnTo>
                  <a:lnTo>
                    <a:pt x="231" y="457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9"/>
                  </a:lnTo>
                  <a:lnTo>
                    <a:pt x="232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60"/>
                  </a:lnTo>
                  <a:lnTo>
                    <a:pt x="233" y="460"/>
                  </a:lnTo>
                  <a:lnTo>
                    <a:pt x="233" y="461"/>
                  </a:lnTo>
                  <a:lnTo>
                    <a:pt x="232" y="461"/>
                  </a:lnTo>
                  <a:lnTo>
                    <a:pt x="232" y="461"/>
                  </a:lnTo>
                  <a:lnTo>
                    <a:pt x="232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3"/>
                  </a:lnTo>
                  <a:lnTo>
                    <a:pt x="230" y="463"/>
                  </a:lnTo>
                  <a:lnTo>
                    <a:pt x="230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5"/>
                  </a:lnTo>
                  <a:lnTo>
                    <a:pt x="228" y="465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7"/>
                  </a:lnTo>
                  <a:lnTo>
                    <a:pt x="226" y="467"/>
                  </a:lnTo>
                  <a:lnTo>
                    <a:pt x="226" y="466"/>
                  </a:lnTo>
                  <a:lnTo>
                    <a:pt x="226" y="466"/>
                  </a:lnTo>
                  <a:lnTo>
                    <a:pt x="225" y="466"/>
                  </a:lnTo>
                  <a:lnTo>
                    <a:pt x="225" y="467"/>
                  </a:lnTo>
                  <a:lnTo>
                    <a:pt x="224" y="467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3" y="466"/>
                  </a:lnTo>
                  <a:lnTo>
                    <a:pt x="223" y="466"/>
                  </a:lnTo>
                  <a:lnTo>
                    <a:pt x="223" y="465"/>
                  </a:lnTo>
                  <a:lnTo>
                    <a:pt x="222" y="465"/>
                  </a:lnTo>
                  <a:lnTo>
                    <a:pt x="222" y="465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3"/>
                  </a:lnTo>
                  <a:lnTo>
                    <a:pt x="221" y="463"/>
                  </a:lnTo>
                  <a:lnTo>
                    <a:pt x="221" y="462"/>
                  </a:lnTo>
                  <a:lnTo>
                    <a:pt x="221" y="463"/>
                  </a:lnTo>
                  <a:lnTo>
                    <a:pt x="220" y="463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1"/>
                  </a:lnTo>
                  <a:lnTo>
                    <a:pt x="220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0"/>
                  </a:lnTo>
                  <a:lnTo>
                    <a:pt x="218" y="459"/>
                  </a:lnTo>
                  <a:lnTo>
                    <a:pt x="218" y="460"/>
                  </a:lnTo>
                  <a:lnTo>
                    <a:pt x="218" y="459"/>
                  </a:lnTo>
                  <a:lnTo>
                    <a:pt x="218" y="459"/>
                  </a:lnTo>
                  <a:lnTo>
                    <a:pt x="217" y="459"/>
                  </a:lnTo>
                  <a:lnTo>
                    <a:pt x="217" y="460"/>
                  </a:lnTo>
                  <a:lnTo>
                    <a:pt x="216" y="459"/>
                  </a:lnTo>
                  <a:lnTo>
                    <a:pt x="217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7"/>
                  </a:lnTo>
                  <a:lnTo>
                    <a:pt x="213" y="458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7"/>
                  </a:lnTo>
                  <a:lnTo>
                    <a:pt x="211" y="457"/>
                  </a:lnTo>
                  <a:lnTo>
                    <a:pt x="211" y="457"/>
                  </a:lnTo>
                  <a:lnTo>
                    <a:pt x="210" y="457"/>
                  </a:lnTo>
                  <a:lnTo>
                    <a:pt x="210" y="456"/>
                  </a:lnTo>
                  <a:lnTo>
                    <a:pt x="209" y="456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10" y="455"/>
                  </a:lnTo>
                  <a:lnTo>
                    <a:pt x="210" y="454"/>
                  </a:lnTo>
                  <a:lnTo>
                    <a:pt x="210" y="454"/>
                  </a:lnTo>
                  <a:lnTo>
                    <a:pt x="210" y="453"/>
                  </a:lnTo>
                  <a:lnTo>
                    <a:pt x="211" y="453"/>
                  </a:lnTo>
                  <a:lnTo>
                    <a:pt x="211" y="453"/>
                  </a:lnTo>
                  <a:lnTo>
                    <a:pt x="210" y="453"/>
                  </a:lnTo>
                  <a:lnTo>
                    <a:pt x="209" y="452"/>
                  </a:lnTo>
                  <a:lnTo>
                    <a:pt x="209" y="453"/>
                  </a:lnTo>
                  <a:lnTo>
                    <a:pt x="209" y="452"/>
                  </a:lnTo>
                  <a:lnTo>
                    <a:pt x="209" y="452"/>
                  </a:lnTo>
                  <a:lnTo>
                    <a:pt x="208" y="452"/>
                  </a:lnTo>
                  <a:lnTo>
                    <a:pt x="208" y="452"/>
                  </a:lnTo>
                  <a:lnTo>
                    <a:pt x="207" y="452"/>
                  </a:lnTo>
                  <a:lnTo>
                    <a:pt x="207" y="452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6" y="451"/>
                  </a:lnTo>
                  <a:lnTo>
                    <a:pt x="206" y="450"/>
                  </a:lnTo>
                  <a:lnTo>
                    <a:pt x="205" y="450"/>
                  </a:lnTo>
                  <a:lnTo>
                    <a:pt x="205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3" y="450"/>
                  </a:lnTo>
                  <a:lnTo>
                    <a:pt x="203" y="450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0"/>
                  </a:lnTo>
                  <a:lnTo>
                    <a:pt x="202" y="450"/>
                  </a:lnTo>
                  <a:lnTo>
                    <a:pt x="202" y="450"/>
                  </a:lnTo>
                  <a:lnTo>
                    <a:pt x="201" y="450"/>
                  </a:lnTo>
                  <a:lnTo>
                    <a:pt x="201" y="450"/>
                  </a:lnTo>
                  <a:lnTo>
                    <a:pt x="201" y="449"/>
                  </a:lnTo>
                  <a:lnTo>
                    <a:pt x="201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8" y="450"/>
                  </a:lnTo>
                  <a:lnTo>
                    <a:pt x="198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6" y="451"/>
                  </a:lnTo>
                  <a:lnTo>
                    <a:pt x="196" y="452"/>
                  </a:lnTo>
                  <a:lnTo>
                    <a:pt x="196" y="452"/>
                  </a:lnTo>
                  <a:lnTo>
                    <a:pt x="196" y="451"/>
                  </a:lnTo>
                  <a:lnTo>
                    <a:pt x="195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0"/>
                  </a:lnTo>
                  <a:lnTo>
                    <a:pt x="194" y="450"/>
                  </a:lnTo>
                  <a:lnTo>
                    <a:pt x="194" y="449"/>
                  </a:lnTo>
                  <a:lnTo>
                    <a:pt x="194" y="449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2" y="448"/>
                  </a:lnTo>
                  <a:lnTo>
                    <a:pt x="192" y="448"/>
                  </a:lnTo>
                  <a:lnTo>
                    <a:pt x="191" y="448"/>
                  </a:lnTo>
                  <a:lnTo>
                    <a:pt x="190" y="448"/>
                  </a:lnTo>
                  <a:lnTo>
                    <a:pt x="190" y="447"/>
                  </a:lnTo>
                  <a:lnTo>
                    <a:pt x="190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6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8" y="445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7" y="445"/>
                  </a:lnTo>
                  <a:lnTo>
                    <a:pt x="187" y="444"/>
                  </a:lnTo>
                  <a:lnTo>
                    <a:pt x="187" y="445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5" y="445"/>
                  </a:lnTo>
                  <a:lnTo>
                    <a:pt x="185" y="445"/>
                  </a:lnTo>
                  <a:lnTo>
                    <a:pt x="185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1" y="444"/>
                  </a:lnTo>
                  <a:lnTo>
                    <a:pt x="181" y="444"/>
                  </a:lnTo>
                  <a:lnTo>
                    <a:pt x="180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6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4" y="443"/>
                  </a:lnTo>
                  <a:lnTo>
                    <a:pt x="174" y="443"/>
                  </a:lnTo>
                  <a:lnTo>
                    <a:pt x="174" y="442"/>
                  </a:lnTo>
                  <a:lnTo>
                    <a:pt x="173" y="442"/>
                  </a:lnTo>
                  <a:lnTo>
                    <a:pt x="173" y="442"/>
                  </a:lnTo>
                  <a:lnTo>
                    <a:pt x="172" y="442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1"/>
                  </a:lnTo>
                  <a:lnTo>
                    <a:pt x="171" y="441"/>
                  </a:lnTo>
                  <a:lnTo>
                    <a:pt x="170" y="441"/>
                  </a:lnTo>
                  <a:lnTo>
                    <a:pt x="170" y="441"/>
                  </a:lnTo>
                  <a:lnTo>
                    <a:pt x="170" y="440"/>
                  </a:lnTo>
                  <a:lnTo>
                    <a:pt x="169" y="440"/>
                  </a:lnTo>
                  <a:lnTo>
                    <a:pt x="169" y="441"/>
                  </a:lnTo>
                  <a:lnTo>
                    <a:pt x="168" y="441"/>
                  </a:lnTo>
                  <a:lnTo>
                    <a:pt x="168" y="441"/>
                  </a:lnTo>
                  <a:lnTo>
                    <a:pt x="168" y="440"/>
                  </a:lnTo>
                  <a:lnTo>
                    <a:pt x="167" y="440"/>
                  </a:lnTo>
                  <a:lnTo>
                    <a:pt x="167" y="440"/>
                  </a:lnTo>
                  <a:lnTo>
                    <a:pt x="166" y="440"/>
                  </a:lnTo>
                  <a:lnTo>
                    <a:pt x="166" y="440"/>
                  </a:lnTo>
                  <a:lnTo>
                    <a:pt x="165" y="440"/>
                  </a:lnTo>
                  <a:lnTo>
                    <a:pt x="165" y="441"/>
                  </a:lnTo>
                  <a:lnTo>
                    <a:pt x="164" y="441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3" y="442"/>
                  </a:lnTo>
                  <a:lnTo>
                    <a:pt x="163" y="442"/>
                  </a:lnTo>
                  <a:lnTo>
                    <a:pt x="163" y="441"/>
                  </a:lnTo>
                  <a:lnTo>
                    <a:pt x="163" y="441"/>
                  </a:lnTo>
                  <a:lnTo>
                    <a:pt x="163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39"/>
                  </a:lnTo>
                  <a:lnTo>
                    <a:pt x="161" y="439"/>
                  </a:lnTo>
                  <a:lnTo>
                    <a:pt x="161" y="439"/>
                  </a:lnTo>
                  <a:lnTo>
                    <a:pt x="160" y="439"/>
                  </a:lnTo>
                  <a:lnTo>
                    <a:pt x="160" y="438"/>
                  </a:lnTo>
                  <a:lnTo>
                    <a:pt x="160" y="438"/>
                  </a:lnTo>
                  <a:lnTo>
                    <a:pt x="160" y="437"/>
                  </a:lnTo>
                  <a:lnTo>
                    <a:pt x="159" y="437"/>
                  </a:lnTo>
                  <a:lnTo>
                    <a:pt x="159" y="437"/>
                  </a:lnTo>
                  <a:lnTo>
                    <a:pt x="159" y="436"/>
                  </a:lnTo>
                  <a:lnTo>
                    <a:pt x="158" y="436"/>
                  </a:lnTo>
                  <a:lnTo>
                    <a:pt x="157" y="436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6" y="435"/>
                  </a:lnTo>
                  <a:lnTo>
                    <a:pt x="156" y="434"/>
                  </a:lnTo>
                  <a:lnTo>
                    <a:pt x="156" y="433"/>
                  </a:lnTo>
                  <a:lnTo>
                    <a:pt x="156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2"/>
                  </a:lnTo>
                  <a:lnTo>
                    <a:pt x="154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0" y="431"/>
                  </a:lnTo>
                  <a:lnTo>
                    <a:pt x="149" y="431"/>
                  </a:lnTo>
                  <a:lnTo>
                    <a:pt x="149" y="430"/>
                  </a:lnTo>
                  <a:lnTo>
                    <a:pt x="149" y="430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9" y="429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47" y="428"/>
                  </a:lnTo>
                  <a:lnTo>
                    <a:pt x="148" y="428"/>
                  </a:lnTo>
                  <a:lnTo>
                    <a:pt x="147" y="428"/>
                  </a:lnTo>
                  <a:lnTo>
                    <a:pt x="147" y="428"/>
                  </a:lnTo>
                  <a:lnTo>
                    <a:pt x="147" y="427"/>
                  </a:lnTo>
                  <a:lnTo>
                    <a:pt x="147" y="428"/>
                  </a:lnTo>
                  <a:lnTo>
                    <a:pt x="146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3" y="427"/>
                  </a:lnTo>
                  <a:lnTo>
                    <a:pt x="143" y="426"/>
                  </a:lnTo>
                  <a:lnTo>
                    <a:pt x="143" y="426"/>
                  </a:lnTo>
                  <a:lnTo>
                    <a:pt x="142" y="426"/>
                  </a:lnTo>
                  <a:lnTo>
                    <a:pt x="142" y="425"/>
                  </a:lnTo>
                  <a:lnTo>
                    <a:pt x="142" y="425"/>
                  </a:lnTo>
                  <a:lnTo>
                    <a:pt x="142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0" y="424"/>
                  </a:lnTo>
                  <a:lnTo>
                    <a:pt x="140" y="423"/>
                  </a:lnTo>
                  <a:lnTo>
                    <a:pt x="140" y="423"/>
                  </a:lnTo>
                  <a:lnTo>
                    <a:pt x="139" y="423"/>
                  </a:lnTo>
                  <a:lnTo>
                    <a:pt x="138" y="423"/>
                  </a:lnTo>
                  <a:lnTo>
                    <a:pt x="138" y="423"/>
                  </a:lnTo>
                  <a:lnTo>
                    <a:pt x="138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1"/>
                  </a:lnTo>
                  <a:lnTo>
                    <a:pt x="138" y="421"/>
                  </a:lnTo>
                  <a:lnTo>
                    <a:pt x="138" y="422"/>
                  </a:lnTo>
                  <a:lnTo>
                    <a:pt x="138" y="421"/>
                  </a:lnTo>
                  <a:lnTo>
                    <a:pt x="138" y="421"/>
                  </a:lnTo>
                  <a:lnTo>
                    <a:pt x="139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39" y="421"/>
                  </a:lnTo>
                  <a:lnTo>
                    <a:pt x="138" y="421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19"/>
                  </a:lnTo>
                  <a:lnTo>
                    <a:pt x="139" y="419"/>
                  </a:lnTo>
                  <a:lnTo>
                    <a:pt x="140" y="419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2" y="420"/>
                  </a:lnTo>
                  <a:lnTo>
                    <a:pt x="142" y="420"/>
                  </a:lnTo>
                  <a:lnTo>
                    <a:pt x="143" y="420"/>
                  </a:lnTo>
                  <a:lnTo>
                    <a:pt x="143" y="421"/>
                  </a:lnTo>
                  <a:lnTo>
                    <a:pt x="143" y="420"/>
                  </a:lnTo>
                  <a:lnTo>
                    <a:pt x="144" y="420"/>
                  </a:lnTo>
                  <a:lnTo>
                    <a:pt x="144" y="420"/>
                  </a:lnTo>
                  <a:lnTo>
                    <a:pt x="145" y="420"/>
                  </a:lnTo>
                  <a:lnTo>
                    <a:pt x="145" y="419"/>
                  </a:lnTo>
                  <a:lnTo>
                    <a:pt x="145" y="418"/>
                  </a:lnTo>
                  <a:lnTo>
                    <a:pt x="145" y="418"/>
                  </a:lnTo>
                  <a:lnTo>
                    <a:pt x="145" y="417"/>
                  </a:lnTo>
                  <a:lnTo>
                    <a:pt x="145" y="417"/>
                  </a:lnTo>
                  <a:lnTo>
                    <a:pt x="145" y="416"/>
                  </a:lnTo>
                  <a:lnTo>
                    <a:pt x="146" y="416"/>
                  </a:lnTo>
                  <a:lnTo>
                    <a:pt x="146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7" y="414"/>
                  </a:lnTo>
                  <a:lnTo>
                    <a:pt x="147" y="414"/>
                  </a:lnTo>
                  <a:lnTo>
                    <a:pt x="148" y="413"/>
                  </a:lnTo>
                  <a:lnTo>
                    <a:pt x="148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9" y="412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2"/>
                  </a:lnTo>
                  <a:lnTo>
                    <a:pt x="149" y="411"/>
                  </a:lnTo>
                  <a:lnTo>
                    <a:pt x="150" y="411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2"/>
                  </a:lnTo>
                  <a:lnTo>
                    <a:pt x="152" y="412"/>
                  </a:lnTo>
                  <a:lnTo>
                    <a:pt x="152" y="412"/>
                  </a:lnTo>
                  <a:lnTo>
                    <a:pt x="153" y="412"/>
                  </a:lnTo>
                  <a:lnTo>
                    <a:pt x="153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1" y="411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09"/>
                  </a:lnTo>
                  <a:lnTo>
                    <a:pt x="149" y="409"/>
                  </a:lnTo>
                  <a:lnTo>
                    <a:pt x="149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9"/>
                  </a:lnTo>
                  <a:lnTo>
                    <a:pt x="148" y="409"/>
                  </a:lnTo>
                  <a:lnTo>
                    <a:pt x="148" y="408"/>
                  </a:lnTo>
                  <a:lnTo>
                    <a:pt x="147" y="408"/>
                  </a:lnTo>
                  <a:lnTo>
                    <a:pt x="147" y="407"/>
                  </a:lnTo>
                  <a:lnTo>
                    <a:pt x="147" y="407"/>
                  </a:lnTo>
                  <a:lnTo>
                    <a:pt x="147" y="406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6" y="404"/>
                  </a:lnTo>
                  <a:lnTo>
                    <a:pt x="147" y="405"/>
                  </a:lnTo>
                  <a:lnTo>
                    <a:pt x="147" y="405"/>
                  </a:lnTo>
                  <a:lnTo>
                    <a:pt x="147" y="406"/>
                  </a:lnTo>
                  <a:lnTo>
                    <a:pt x="148" y="406"/>
                  </a:lnTo>
                  <a:lnTo>
                    <a:pt x="148" y="406"/>
                  </a:lnTo>
                  <a:lnTo>
                    <a:pt x="148" y="405"/>
                  </a:lnTo>
                  <a:lnTo>
                    <a:pt x="149" y="405"/>
                  </a:lnTo>
                  <a:lnTo>
                    <a:pt x="149" y="404"/>
                  </a:lnTo>
                  <a:lnTo>
                    <a:pt x="149" y="404"/>
                  </a:lnTo>
                  <a:lnTo>
                    <a:pt x="150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5"/>
                  </a:lnTo>
                  <a:lnTo>
                    <a:pt x="151" y="405"/>
                  </a:lnTo>
                  <a:lnTo>
                    <a:pt x="152" y="405"/>
                  </a:lnTo>
                  <a:lnTo>
                    <a:pt x="152" y="405"/>
                  </a:lnTo>
                  <a:lnTo>
                    <a:pt x="153" y="405"/>
                  </a:lnTo>
                  <a:lnTo>
                    <a:pt x="153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3" y="403"/>
                  </a:lnTo>
                  <a:lnTo>
                    <a:pt x="153" y="403"/>
                  </a:lnTo>
                  <a:lnTo>
                    <a:pt x="154" y="403"/>
                  </a:lnTo>
                  <a:lnTo>
                    <a:pt x="154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6" y="402"/>
                  </a:lnTo>
                  <a:lnTo>
                    <a:pt x="156" y="401"/>
                  </a:lnTo>
                  <a:lnTo>
                    <a:pt x="157" y="401"/>
                  </a:lnTo>
                  <a:lnTo>
                    <a:pt x="157" y="400"/>
                  </a:lnTo>
                  <a:lnTo>
                    <a:pt x="157" y="401"/>
                  </a:lnTo>
                  <a:lnTo>
                    <a:pt x="157" y="401"/>
                  </a:lnTo>
                  <a:lnTo>
                    <a:pt x="158" y="401"/>
                  </a:lnTo>
                  <a:lnTo>
                    <a:pt x="159" y="401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2" y="400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5" y="399"/>
                  </a:lnTo>
                  <a:lnTo>
                    <a:pt x="165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5" y="398"/>
                  </a:lnTo>
                  <a:lnTo>
                    <a:pt x="165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60" y="398"/>
                  </a:lnTo>
                  <a:lnTo>
                    <a:pt x="160" y="398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58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6" y="398"/>
                  </a:lnTo>
                  <a:lnTo>
                    <a:pt x="156" y="398"/>
                  </a:lnTo>
                  <a:lnTo>
                    <a:pt x="156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4" y="399"/>
                  </a:lnTo>
                  <a:lnTo>
                    <a:pt x="153" y="399"/>
                  </a:lnTo>
                  <a:lnTo>
                    <a:pt x="153" y="399"/>
                  </a:lnTo>
                  <a:lnTo>
                    <a:pt x="152" y="400"/>
                  </a:lnTo>
                  <a:lnTo>
                    <a:pt x="153" y="400"/>
                  </a:lnTo>
                  <a:lnTo>
                    <a:pt x="152" y="400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0" y="400"/>
                  </a:lnTo>
                  <a:lnTo>
                    <a:pt x="150" y="399"/>
                  </a:lnTo>
                  <a:lnTo>
                    <a:pt x="150" y="399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0" y="398"/>
                  </a:lnTo>
                  <a:lnTo>
                    <a:pt x="150" y="397"/>
                  </a:lnTo>
                  <a:lnTo>
                    <a:pt x="151" y="397"/>
                  </a:lnTo>
                  <a:lnTo>
                    <a:pt x="151" y="396"/>
                  </a:lnTo>
                  <a:lnTo>
                    <a:pt x="151" y="396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4"/>
                  </a:lnTo>
                  <a:lnTo>
                    <a:pt x="152" y="394"/>
                  </a:lnTo>
                  <a:lnTo>
                    <a:pt x="152" y="394"/>
                  </a:lnTo>
                  <a:lnTo>
                    <a:pt x="153" y="394"/>
                  </a:lnTo>
                  <a:lnTo>
                    <a:pt x="153" y="394"/>
                  </a:lnTo>
                  <a:lnTo>
                    <a:pt x="153" y="393"/>
                  </a:lnTo>
                  <a:lnTo>
                    <a:pt x="154" y="393"/>
                  </a:lnTo>
                  <a:lnTo>
                    <a:pt x="154" y="394"/>
                  </a:lnTo>
                  <a:lnTo>
                    <a:pt x="154" y="393"/>
                  </a:lnTo>
                  <a:lnTo>
                    <a:pt x="155" y="392"/>
                  </a:lnTo>
                  <a:lnTo>
                    <a:pt x="155" y="392"/>
                  </a:lnTo>
                  <a:lnTo>
                    <a:pt x="155" y="391"/>
                  </a:lnTo>
                  <a:lnTo>
                    <a:pt x="155" y="391"/>
                  </a:lnTo>
                  <a:lnTo>
                    <a:pt x="156" y="391"/>
                  </a:lnTo>
                  <a:lnTo>
                    <a:pt x="156" y="391"/>
                  </a:lnTo>
                  <a:lnTo>
                    <a:pt x="157" y="391"/>
                  </a:lnTo>
                  <a:lnTo>
                    <a:pt x="157" y="391"/>
                  </a:lnTo>
                  <a:lnTo>
                    <a:pt x="158" y="391"/>
                  </a:lnTo>
                  <a:lnTo>
                    <a:pt x="159" y="391"/>
                  </a:lnTo>
                  <a:lnTo>
                    <a:pt x="159" y="391"/>
                  </a:lnTo>
                  <a:lnTo>
                    <a:pt x="159" y="392"/>
                  </a:lnTo>
                  <a:lnTo>
                    <a:pt x="159" y="391"/>
                  </a:lnTo>
                  <a:lnTo>
                    <a:pt x="160" y="391"/>
                  </a:lnTo>
                  <a:lnTo>
                    <a:pt x="160" y="392"/>
                  </a:lnTo>
                  <a:lnTo>
                    <a:pt x="161" y="391"/>
                  </a:lnTo>
                  <a:lnTo>
                    <a:pt x="162" y="392"/>
                  </a:lnTo>
                  <a:lnTo>
                    <a:pt x="162" y="392"/>
                  </a:lnTo>
                  <a:lnTo>
                    <a:pt x="162" y="391"/>
                  </a:lnTo>
                  <a:lnTo>
                    <a:pt x="163" y="391"/>
                  </a:lnTo>
                  <a:lnTo>
                    <a:pt x="163" y="391"/>
                  </a:lnTo>
                  <a:lnTo>
                    <a:pt x="163" y="390"/>
                  </a:lnTo>
                  <a:lnTo>
                    <a:pt x="163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8"/>
                  </a:lnTo>
                  <a:lnTo>
                    <a:pt x="163" y="388"/>
                  </a:lnTo>
                  <a:lnTo>
                    <a:pt x="164" y="388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6"/>
                  </a:lnTo>
                  <a:lnTo>
                    <a:pt x="163" y="386"/>
                  </a:lnTo>
                  <a:lnTo>
                    <a:pt x="163" y="386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4" y="385"/>
                  </a:lnTo>
                  <a:lnTo>
                    <a:pt x="164" y="385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3"/>
                  </a:lnTo>
                  <a:lnTo>
                    <a:pt x="163" y="383"/>
                  </a:lnTo>
                  <a:lnTo>
                    <a:pt x="162" y="383"/>
                  </a:lnTo>
                  <a:lnTo>
                    <a:pt x="162" y="383"/>
                  </a:lnTo>
                  <a:lnTo>
                    <a:pt x="162" y="382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5" y="380"/>
                  </a:lnTo>
                  <a:lnTo>
                    <a:pt x="164" y="379"/>
                  </a:lnTo>
                  <a:lnTo>
                    <a:pt x="164" y="379"/>
                  </a:lnTo>
                  <a:lnTo>
                    <a:pt x="164" y="380"/>
                  </a:lnTo>
                  <a:lnTo>
                    <a:pt x="164" y="379"/>
                  </a:lnTo>
                  <a:lnTo>
                    <a:pt x="163" y="379"/>
                  </a:lnTo>
                  <a:lnTo>
                    <a:pt x="163" y="379"/>
                  </a:lnTo>
                  <a:lnTo>
                    <a:pt x="162" y="379"/>
                  </a:lnTo>
                  <a:lnTo>
                    <a:pt x="162" y="378"/>
                  </a:lnTo>
                  <a:lnTo>
                    <a:pt x="163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3" y="377"/>
                  </a:lnTo>
                  <a:lnTo>
                    <a:pt x="163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6"/>
                  </a:lnTo>
                  <a:lnTo>
                    <a:pt x="164" y="376"/>
                  </a:lnTo>
                  <a:lnTo>
                    <a:pt x="165" y="376"/>
                  </a:lnTo>
                  <a:lnTo>
                    <a:pt x="165" y="375"/>
                  </a:lnTo>
                  <a:lnTo>
                    <a:pt x="166" y="375"/>
                  </a:lnTo>
                  <a:lnTo>
                    <a:pt x="166" y="374"/>
                  </a:lnTo>
                  <a:lnTo>
                    <a:pt x="166" y="374"/>
                  </a:lnTo>
                  <a:lnTo>
                    <a:pt x="166" y="373"/>
                  </a:lnTo>
                  <a:lnTo>
                    <a:pt x="165" y="373"/>
                  </a:lnTo>
                  <a:lnTo>
                    <a:pt x="164" y="373"/>
                  </a:lnTo>
                  <a:lnTo>
                    <a:pt x="164" y="372"/>
                  </a:lnTo>
                  <a:lnTo>
                    <a:pt x="164" y="372"/>
                  </a:lnTo>
                  <a:lnTo>
                    <a:pt x="165" y="372"/>
                  </a:lnTo>
                  <a:lnTo>
                    <a:pt x="166" y="371"/>
                  </a:lnTo>
                  <a:lnTo>
                    <a:pt x="165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3" y="372"/>
                  </a:lnTo>
                  <a:lnTo>
                    <a:pt x="163" y="372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1" y="370"/>
                  </a:lnTo>
                  <a:lnTo>
                    <a:pt x="161" y="370"/>
                  </a:lnTo>
                  <a:lnTo>
                    <a:pt x="161" y="369"/>
                  </a:lnTo>
                  <a:lnTo>
                    <a:pt x="160" y="369"/>
                  </a:lnTo>
                  <a:lnTo>
                    <a:pt x="160" y="369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58" y="369"/>
                  </a:lnTo>
                  <a:lnTo>
                    <a:pt x="158" y="368"/>
                  </a:lnTo>
                  <a:lnTo>
                    <a:pt x="157" y="367"/>
                  </a:lnTo>
                  <a:lnTo>
                    <a:pt x="157" y="368"/>
                  </a:lnTo>
                  <a:lnTo>
                    <a:pt x="156" y="368"/>
                  </a:lnTo>
                  <a:lnTo>
                    <a:pt x="156" y="369"/>
                  </a:lnTo>
                  <a:lnTo>
                    <a:pt x="155" y="369"/>
                  </a:lnTo>
                  <a:lnTo>
                    <a:pt x="155" y="368"/>
                  </a:lnTo>
                  <a:lnTo>
                    <a:pt x="155" y="367"/>
                  </a:lnTo>
                  <a:lnTo>
                    <a:pt x="155" y="367"/>
                  </a:lnTo>
                  <a:lnTo>
                    <a:pt x="154" y="367"/>
                  </a:lnTo>
                  <a:lnTo>
                    <a:pt x="154" y="367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4" y="366"/>
                  </a:lnTo>
                  <a:lnTo>
                    <a:pt x="153" y="366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2" y="367"/>
                  </a:lnTo>
                  <a:lnTo>
                    <a:pt x="152" y="366"/>
                  </a:lnTo>
                  <a:lnTo>
                    <a:pt x="152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5"/>
                  </a:lnTo>
                  <a:lnTo>
                    <a:pt x="150" y="365"/>
                  </a:lnTo>
                  <a:lnTo>
                    <a:pt x="149" y="365"/>
                  </a:lnTo>
                  <a:lnTo>
                    <a:pt x="149" y="366"/>
                  </a:lnTo>
                  <a:lnTo>
                    <a:pt x="150" y="366"/>
                  </a:lnTo>
                  <a:lnTo>
                    <a:pt x="149" y="366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7" y="366"/>
                  </a:lnTo>
                  <a:lnTo>
                    <a:pt x="147" y="365"/>
                  </a:lnTo>
                  <a:lnTo>
                    <a:pt x="146" y="365"/>
                  </a:lnTo>
                  <a:lnTo>
                    <a:pt x="145" y="365"/>
                  </a:lnTo>
                  <a:lnTo>
                    <a:pt x="145" y="364"/>
                  </a:lnTo>
                  <a:lnTo>
                    <a:pt x="145" y="364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2"/>
                  </a:lnTo>
                  <a:lnTo>
                    <a:pt x="145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3" y="361"/>
                  </a:lnTo>
                  <a:lnTo>
                    <a:pt x="142" y="361"/>
                  </a:lnTo>
                  <a:lnTo>
                    <a:pt x="142" y="362"/>
                  </a:lnTo>
                  <a:lnTo>
                    <a:pt x="142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0" y="362"/>
                  </a:lnTo>
                  <a:lnTo>
                    <a:pt x="140" y="362"/>
                  </a:lnTo>
                  <a:lnTo>
                    <a:pt x="139" y="362"/>
                  </a:lnTo>
                  <a:lnTo>
                    <a:pt x="138" y="362"/>
                  </a:lnTo>
                  <a:lnTo>
                    <a:pt x="138" y="363"/>
                  </a:lnTo>
                  <a:lnTo>
                    <a:pt x="138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6" y="363"/>
                  </a:lnTo>
                  <a:lnTo>
                    <a:pt x="136" y="362"/>
                  </a:lnTo>
                  <a:lnTo>
                    <a:pt x="136" y="362"/>
                  </a:lnTo>
                  <a:lnTo>
                    <a:pt x="135" y="362"/>
                  </a:lnTo>
                  <a:lnTo>
                    <a:pt x="135" y="363"/>
                  </a:lnTo>
                  <a:lnTo>
                    <a:pt x="134" y="363"/>
                  </a:lnTo>
                  <a:lnTo>
                    <a:pt x="134" y="362"/>
                  </a:lnTo>
                  <a:lnTo>
                    <a:pt x="134" y="362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2" y="361"/>
                  </a:lnTo>
                  <a:lnTo>
                    <a:pt x="131" y="361"/>
                  </a:lnTo>
                  <a:lnTo>
                    <a:pt x="131" y="361"/>
                  </a:lnTo>
                  <a:lnTo>
                    <a:pt x="130" y="361"/>
                  </a:lnTo>
                  <a:lnTo>
                    <a:pt x="130" y="362"/>
                  </a:lnTo>
                  <a:lnTo>
                    <a:pt x="130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1"/>
                  </a:lnTo>
                  <a:lnTo>
                    <a:pt x="129" y="361"/>
                  </a:lnTo>
                  <a:lnTo>
                    <a:pt x="128" y="361"/>
                  </a:lnTo>
                  <a:lnTo>
                    <a:pt x="127" y="360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8" y="358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7" y="357"/>
                  </a:lnTo>
                  <a:lnTo>
                    <a:pt x="128" y="357"/>
                  </a:lnTo>
                  <a:lnTo>
                    <a:pt x="127" y="357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5" y="354"/>
                  </a:lnTo>
                  <a:lnTo>
                    <a:pt x="125" y="353"/>
                  </a:lnTo>
                  <a:lnTo>
                    <a:pt x="125" y="352"/>
                  </a:lnTo>
                  <a:lnTo>
                    <a:pt x="125" y="352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5" y="352"/>
                  </a:lnTo>
                  <a:lnTo>
                    <a:pt x="124" y="352"/>
                  </a:lnTo>
                  <a:lnTo>
                    <a:pt x="124" y="351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1" y="352"/>
                  </a:lnTo>
                  <a:lnTo>
                    <a:pt x="121" y="351"/>
                  </a:lnTo>
                  <a:lnTo>
                    <a:pt x="121" y="351"/>
                  </a:lnTo>
                  <a:lnTo>
                    <a:pt x="120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0"/>
                  </a:lnTo>
                  <a:lnTo>
                    <a:pt x="119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49"/>
                  </a:lnTo>
                  <a:lnTo>
                    <a:pt x="118" y="349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7" y="347"/>
                  </a:lnTo>
                  <a:lnTo>
                    <a:pt x="116" y="347"/>
                  </a:lnTo>
                  <a:lnTo>
                    <a:pt x="116" y="346"/>
                  </a:lnTo>
                  <a:lnTo>
                    <a:pt x="117" y="346"/>
                  </a:lnTo>
                  <a:lnTo>
                    <a:pt x="118" y="346"/>
                  </a:lnTo>
                  <a:lnTo>
                    <a:pt x="118" y="346"/>
                  </a:lnTo>
                  <a:lnTo>
                    <a:pt x="118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8" y="344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7" y="343"/>
                  </a:lnTo>
                  <a:lnTo>
                    <a:pt x="117" y="342"/>
                  </a:lnTo>
                  <a:lnTo>
                    <a:pt x="116" y="342"/>
                  </a:lnTo>
                  <a:lnTo>
                    <a:pt x="116" y="341"/>
                  </a:lnTo>
                  <a:lnTo>
                    <a:pt x="116" y="341"/>
                  </a:lnTo>
                  <a:lnTo>
                    <a:pt x="117" y="341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5" y="340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3" y="339"/>
                  </a:lnTo>
                  <a:lnTo>
                    <a:pt x="112" y="339"/>
                  </a:lnTo>
                  <a:lnTo>
                    <a:pt x="112" y="339"/>
                  </a:lnTo>
                  <a:lnTo>
                    <a:pt x="112" y="338"/>
                  </a:lnTo>
                  <a:lnTo>
                    <a:pt x="111" y="338"/>
                  </a:lnTo>
                  <a:lnTo>
                    <a:pt x="111" y="338"/>
                  </a:lnTo>
                  <a:lnTo>
                    <a:pt x="110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09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6" y="339"/>
                  </a:lnTo>
                  <a:lnTo>
                    <a:pt x="106" y="339"/>
                  </a:lnTo>
                  <a:lnTo>
                    <a:pt x="105" y="339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03" y="339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40"/>
                  </a:lnTo>
                  <a:lnTo>
                    <a:pt x="103" y="341"/>
                  </a:lnTo>
                  <a:lnTo>
                    <a:pt x="102" y="341"/>
                  </a:lnTo>
                  <a:lnTo>
                    <a:pt x="102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2"/>
                  </a:lnTo>
                  <a:lnTo>
                    <a:pt x="100" y="342"/>
                  </a:lnTo>
                  <a:lnTo>
                    <a:pt x="100" y="341"/>
                  </a:lnTo>
                  <a:lnTo>
                    <a:pt x="100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100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8" y="341"/>
                  </a:lnTo>
                  <a:lnTo>
                    <a:pt x="98" y="340"/>
                  </a:lnTo>
                  <a:lnTo>
                    <a:pt x="97" y="340"/>
                  </a:lnTo>
                  <a:lnTo>
                    <a:pt x="97" y="340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8"/>
                  </a:lnTo>
                  <a:lnTo>
                    <a:pt x="97" y="337"/>
                  </a:lnTo>
                  <a:lnTo>
                    <a:pt x="97" y="337"/>
                  </a:lnTo>
                  <a:lnTo>
                    <a:pt x="96" y="337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5"/>
                  </a:lnTo>
                  <a:lnTo>
                    <a:pt x="96" y="335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6" y="333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5" y="332"/>
                  </a:lnTo>
                  <a:lnTo>
                    <a:pt x="95" y="331"/>
                  </a:lnTo>
                  <a:lnTo>
                    <a:pt x="95" y="330"/>
                  </a:lnTo>
                  <a:lnTo>
                    <a:pt x="95" y="330"/>
                  </a:lnTo>
                  <a:lnTo>
                    <a:pt x="94" y="330"/>
                  </a:lnTo>
                  <a:lnTo>
                    <a:pt x="95" y="330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8"/>
                  </a:lnTo>
                  <a:lnTo>
                    <a:pt x="95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8" y="328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100" y="329"/>
                  </a:lnTo>
                  <a:lnTo>
                    <a:pt x="100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2" y="329"/>
                  </a:lnTo>
                  <a:lnTo>
                    <a:pt x="103" y="329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4" y="326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5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3" y="323"/>
                  </a:lnTo>
                  <a:lnTo>
                    <a:pt x="103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104" y="321"/>
                  </a:lnTo>
                  <a:lnTo>
                    <a:pt x="103" y="321"/>
                  </a:lnTo>
                  <a:lnTo>
                    <a:pt x="103" y="321"/>
                  </a:lnTo>
                  <a:lnTo>
                    <a:pt x="103" y="322"/>
                  </a:lnTo>
                  <a:lnTo>
                    <a:pt x="103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0"/>
                  </a:lnTo>
                  <a:lnTo>
                    <a:pt x="101" y="321"/>
                  </a:lnTo>
                  <a:lnTo>
                    <a:pt x="100" y="321"/>
                  </a:lnTo>
                  <a:lnTo>
                    <a:pt x="100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8" y="321"/>
                  </a:lnTo>
                  <a:lnTo>
                    <a:pt x="98" y="320"/>
                  </a:lnTo>
                  <a:lnTo>
                    <a:pt x="99" y="320"/>
                  </a:lnTo>
                  <a:lnTo>
                    <a:pt x="99" y="319"/>
                  </a:lnTo>
                  <a:lnTo>
                    <a:pt x="99" y="319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6" y="317"/>
                  </a:lnTo>
                  <a:lnTo>
                    <a:pt x="96" y="316"/>
                  </a:lnTo>
                  <a:lnTo>
                    <a:pt x="96" y="316"/>
                  </a:lnTo>
                  <a:lnTo>
                    <a:pt x="96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4" y="313"/>
                  </a:lnTo>
                  <a:lnTo>
                    <a:pt x="94" y="313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2" y="310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1" y="309"/>
                  </a:lnTo>
                  <a:lnTo>
                    <a:pt x="91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5"/>
                  </a:lnTo>
                  <a:lnTo>
                    <a:pt x="92" y="305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3"/>
                  </a:lnTo>
                  <a:lnTo>
                    <a:pt x="91" y="303"/>
                  </a:lnTo>
                  <a:lnTo>
                    <a:pt x="91" y="303"/>
                  </a:lnTo>
                  <a:lnTo>
                    <a:pt x="90" y="302"/>
                  </a:lnTo>
                  <a:lnTo>
                    <a:pt x="90" y="302"/>
                  </a:lnTo>
                  <a:lnTo>
                    <a:pt x="91" y="302"/>
                  </a:lnTo>
                  <a:lnTo>
                    <a:pt x="91" y="301"/>
                  </a:lnTo>
                  <a:lnTo>
                    <a:pt x="91" y="300"/>
                  </a:lnTo>
                  <a:lnTo>
                    <a:pt x="91" y="300"/>
                  </a:lnTo>
                  <a:lnTo>
                    <a:pt x="92" y="300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8"/>
                  </a:lnTo>
                  <a:lnTo>
                    <a:pt x="90" y="297"/>
                  </a:lnTo>
                  <a:lnTo>
                    <a:pt x="89" y="297"/>
                  </a:lnTo>
                  <a:lnTo>
                    <a:pt x="89" y="298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7" y="296"/>
                  </a:lnTo>
                  <a:lnTo>
                    <a:pt x="86" y="296"/>
                  </a:lnTo>
                  <a:lnTo>
                    <a:pt x="86" y="295"/>
                  </a:lnTo>
                  <a:lnTo>
                    <a:pt x="86" y="295"/>
                  </a:lnTo>
                  <a:lnTo>
                    <a:pt x="85" y="295"/>
                  </a:lnTo>
                  <a:lnTo>
                    <a:pt x="85" y="295"/>
                  </a:lnTo>
                  <a:lnTo>
                    <a:pt x="85" y="296"/>
                  </a:lnTo>
                  <a:lnTo>
                    <a:pt x="85" y="295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83" y="295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9" y="296"/>
                  </a:lnTo>
                  <a:lnTo>
                    <a:pt x="79" y="295"/>
                  </a:lnTo>
                  <a:lnTo>
                    <a:pt x="79" y="295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78" y="294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6" y="293"/>
                  </a:lnTo>
                  <a:lnTo>
                    <a:pt x="76" y="293"/>
                  </a:lnTo>
                  <a:lnTo>
                    <a:pt x="75" y="293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2" y="292"/>
                  </a:lnTo>
                  <a:lnTo>
                    <a:pt x="72" y="292"/>
                  </a:lnTo>
                  <a:lnTo>
                    <a:pt x="71" y="292"/>
                  </a:lnTo>
                  <a:lnTo>
                    <a:pt x="71" y="292"/>
                  </a:lnTo>
                  <a:lnTo>
                    <a:pt x="71" y="293"/>
                  </a:lnTo>
                  <a:lnTo>
                    <a:pt x="70" y="292"/>
                  </a:lnTo>
                  <a:lnTo>
                    <a:pt x="70" y="293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69" y="292"/>
                  </a:lnTo>
                  <a:lnTo>
                    <a:pt x="69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70" y="290"/>
                  </a:lnTo>
                  <a:lnTo>
                    <a:pt x="70" y="289"/>
                  </a:lnTo>
                  <a:lnTo>
                    <a:pt x="69" y="289"/>
                  </a:lnTo>
                  <a:lnTo>
                    <a:pt x="69" y="289"/>
                  </a:lnTo>
                  <a:lnTo>
                    <a:pt x="69" y="288"/>
                  </a:lnTo>
                  <a:lnTo>
                    <a:pt x="69" y="288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8" y="286"/>
                  </a:lnTo>
                  <a:lnTo>
                    <a:pt x="68" y="285"/>
                  </a:lnTo>
                  <a:lnTo>
                    <a:pt x="68" y="285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6" y="282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5" y="283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6" y="282"/>
                  </a:lnTo>
                  <a:lnTo>
                    <a:pt x="66" y="281"/>
                  </a:lnTo>
                  <a:lnTo>
                    <a:pt x="66" y="281"/>
                  </a:lnTo>
                  <a:lnTo>
                    <a:pt x="66" y="280"/>
                  </a:lnTo>
                  <a:lnTo>
                    <a:pt x="66" y="280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2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4" y="266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58"/>
                  </a:lnTo>
                  <a:lnTo>
                    <a:pt x="63" y="258"/>
                  </a:lnTo>
                  <a:lnTo>
                    <a:pt x="64" y="257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49"/>
                  </a:lnTo>
                  <a:lnTo>
                    <a:pt x="68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71" y="245"/>
                  </a:lnTo>
                  <a:lnTo>
                    <a:pt x="72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6" y="245"/>
                  </a:lnTo>
                  <a:lnTo>
                    <a:pt x="76" y="244"/>
                  </a:lnTo>
                  <a:lnTo>
                    <a:pt x="76" y="244"/>
                  </a:lnTo>
                  <a:lnTo>
                    <a:pt x="75" y="244"/>
                  </a:lnTo>
                  <a:lnTo>
                    <a:pt x="76" y="244"/>
                  </a:lnTo>
                  <a:lnTo>
                    <a:pt x="76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9" y="243"/>
                  </a:lnTo>
                  <a:lnTo>
                    <a:pt x="80" y="243"/>
                  </a:lnTo>
                  <a:lnTo>
                    <a:pt x="80" y="243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2" y="244"/>
                  </a:lnTo>
                  <a:lnTo>
                    <a:pt x="82" y="244"/>
                  </a:lnTo>
                  <a:lnTo>
                    <a:pt x="83" y="244"/>
                  </a:lnTo>
                  <a:lnTo>
                    <a:pt x="83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6" y="244"/>
                  </a:lnTo>
                  <a:lnTo>
                    <a:pt x="86" y="243"/>
                  </a:lnTo>
                  <a:lnTo>
                    <a:pt x="87" y="243"/>
                  </a:lnTo>
                  <a:lnTo>
                    <a:pt x="87" y="24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90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7" y="244"/>
                  </a:lnTo>
                  <a:lnTo>
                    <a:pt x="87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2" y="241"/>
                  </a:lnTo>
                  <a:lnTo>
                    <a:pt x="82" y="240"/>
                  </a:lnTo>
                  <a:lnTo>
                    <a:pt x="82" y="240"/>
                  </a:lnTo>
                  <a:lnTo>
                    <a:pt x="81" y="240"/>
                  </a:lnTo>
                  <a:lnTo>
                    <a:pt x="81" y="240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0" y="241"/>
                  </a:lnTo>
                  <a:lnTo>
                    <a:pt x="79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7" y="240"/>
                  </a:lnTo>
                  <a:lnTo>
                    <a:pt x="77" y="241"/>
                  </a:lnTo>
                  <a:lnTo>
                    <a:pt x="77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4" y="239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7"/>
                  </a:lnTo>
                  <a:lnTo>
                    <a:pt x="72" y="237"/>
                  </a:lnTo>
                  <a:lnTo>
                    <a:pt x="72" y="237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4" y="237"/>
                  </a:lnTo>
                  <a:lnTo>
                    <a:pt x="73" y="237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5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4" y="233"/>
                  </a:lnTo>
                  <a:lnTo>
                    <a:pt x="74" y="232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8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1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8" y="226"/>
                  </a:lnTo>
                  <a:lnTo>
                    <a:pt x="78" y="226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1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2" y="221"/>
                  </a:lnTo>
                  <a:lnTo>
                    <a:pt x="83" y="221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6" y="218"/>
                  </a:lnTo>
                  <a:lnTo>
                    <a:pt x="86" y="217"/>
                  </a:lnTo>
                  <a:lnTo>
                    <a:pt x="86" y="217"/>
                  </a:lnTo>
                  <a:lnTo>
                    <a:pt x="86" y="216"/>
                  </a:lnTo>
                  <a:lnTo>
                    <a:pt x="87" y="216"/>
                  </a:lnTo>
                  <a:lnTo>
                    <a:pt x="87" y="216"/>
                  </a:lnTo>
                  <a:lnTo>
                    <a:pt x="88" y="215"/>
                  </a:lnTo>
                  <a:lnTo>
                    <a:pt x="89" y="215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90" y="214"/>
                  </a:lnTo>
                  <a:lnTo>
                    <a:pt x="90" y="213"/>
                  </a:lnTo>
                  <a:lnTo>
                    <a:pt x="90" y="213"/>
                  </a:lnTo>
                  <a:lnTo>
                    <a:pt x="91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3" y="211"/>
                  </a:lnTo>
                  <a:lnTo>
                    <a:pt x="93" y="211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08"/>
                  </a:lnTo>
                  <a:lnTo>
                    <a:pt x="95" y="208"/>
                  </a:lnTo>
                  <a:lnTo>
                    <a:pt x="95" y="207"/>
                  </a:lnTo>
                  <a:lnTo>
                    <a:pt x="95" y="206"/>
                  </a:lnTo>
                  <a:lnTo>
                    <a:pt x="96" y="206"/>
                  </a:lnTo>
                  <a:lnTo>
                    <a:pt x="96" y="205"/>
                  </a:lnTo>
                  <a:lnTo>
                    <a:pt x="96" y="204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5" y="203"/>
                  </a:lnTo>
                  <a:lnTo>
                    <a:pt x="95" y="202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1" y="199"/>
                  </a:lnTo>
                  <a:lnTo>
                    <a:pt x="90" y="199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5"/>
                  </a:lnTo>
                  <a:lnTo>
                    <a:pt x="85" y="194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4" y="193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8" y="190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7" y="186"/>
                  </a:lnTo>
                  <a:lnTo>
                    <a:pt x="86" y="185"/>
                  </a:lnTo>
                  <a:lnTo>
                    <a:pt x="85" y="185"/>
                  </a:lnTo>
                  <a:lnTo>
                    <a:pt x="85" y="185"/>
                  </a:lnTo>
                  <a:lnTo>
                    <a:pt x="84" y="184"/>
                  </a:lnTo>
                  <a:lnTo>
                    <a:pt x="84" y="184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1"/>
                  </a:lnTo>
                  <a:lnTo>
                    <a:pt x="85" y="181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2" y="179"/>
                  </a:lnTo>
                  <a:lnTo>
                    <a:pt x="82" y="179"/>
                  </a:lnTo>
                  <a:lnTo>
                    <a:pt x="81" y="179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1" y="177"/>
                  </a:lnTo>
                  <a:lnTo>
                    <a:pt x="81" y="177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4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2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0"/>
                  </a:lnTo>
                  <a:lnTo>
                    <a:pt x="82" y="169"/>
                  </a:lnTo>
                  <a:lnTo>
                    <a:pt x="83" y="168"/>
                  </a:lnTo>
                  <a:lnTo>
                    <a:pt x="82" y="168"/>
                  </a:lnTo>
                  <a:lnTo>
                    <a:pt x="81" y="167"/>
                  </a:lnTo>
                  <a:lnTo>
                    <a:pt x="83" y="167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5" y="166"/>
                  </a:lnTo>
                  <a:lnTo>
                    <a:pt x="85" y="165"/>
                  </a:lnTo>
                  <a:lnTo>
                    <a:pt x="84" y="164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3" y="161"/>
                  </a:lnTo>
                  <a:lnTo>
                    <a:pt x="83" y="160"/>
                  </a:lnTo>
                  <a:lnTo>
                    <a:pt x="82" y="159"/>
                  </a:lnTo>
                  <a:lnTo>
                    <a:pt x="81" y="159"/>
                  </a:lnTo>
                  <a:lnTo>
                    <a:pt x="81" y="158"/>
                  </a:lnTo>
                  <a:lnTo>
                    <a:pt x="81" y="157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9" y="155"/>
                  </a:lnTo>
                  <a:lnTo>
                    <a:pt x="79" y="154"/>
                  </a:lnTo>
                  <a:lnTo>
                    <a:pt x="78" y="153"/>
                  </a:lnTo>
                  <a:lnTo>
                    <a:pt x="78" y="152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7" y="151"/>
                  </a:lnTo>
                  <a:lnTo>
                    <a:pt x="76" y="151"/>
                  </a:lnTo>
                  <a:lnTo>
                    <a:pt x="76" y="150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7" y="148"/>
                  </a:lnTo>
                  <a:lnTo>
                    <a:pt x="79" y="146"/>
                  </a:lnTo>
                  <a:lnTo>
                    <a:pt x="80" y="145"/>
                  </a:lnTo>
                  <a:lnTo>
                    <a:pt x="80" y="145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3"/>
                  </a:lnTo>
                  <a:lnTo>
                    <a:pt x="82" y="143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3" y="141"/>
                  </a:lnTo>
                  <a:lnTo>
                    <a:pt x="84" y="140"/>
                  </a:lnTo>
                  <a:lnTo>
                    <a:pt x="84" y="139"/>
                  </a:lnTo>
                  <a:lnTo>
                    <a:pt x="81" y="137"/>
                  </a:lnTo>
                  <a:lnTo>
                    <a:pt x="78" y="134"/>
                  </a:lnTo>
                  <a:lnTo>
                    <a:pt x="73" y="132"/>
                  </a:lnTo>
                  <a:lnTo>
                    <a:pt x="73" y="131"/>
                  </a:lnTo>
                  <a:lnTo>
                    <a:pt x="71" y="127"/>
                  </a:lnTo>
                  <a:lnTo>
                    <a:pt x="72" y="126"/>
                  </a:lnTo>
                  <a:lnTo>
                    <a:pt x="73" y="125"/>
                  </a:lnTo>
                  <a:lnTo>
                    <a:pt x="74" y="124"/>
                  </a:lnTo>
                  <a:lnTo>
                    <a:pt x="74" y="122"/>
                  </a:lnTo>
                  <a:lnTo>
                    <a:pt x="73" y="122"/>
                  </a:lnTo>
                  <a:lnTo>
                    <a:pt x="71" y="122"/>
                  </a:lnTo>
                  <a:lnTo>
                    <a:pt x="71" y="122"/>
                  </a:lnTo>
                  <a:lnTo>
                    <a:pt x="72" y="122"/>
                  </a:lnTo>
                  <a:lnTo>
                    <a:pt x="74" y="120"/>
                  </a:lnTo>
                  <a:lnTo>
                    <a:pt x="75" y="120"/>
                  </a:lnTo>
                  <a:lnTo>
                    <a:pt x="76" y="120"/>
                  </a:lnTo>
                  <a:lnTo>
                    <a:pt x="77" y="120"/>
                  </a:lnTo>
                  <a:lnTo>
                    <a:pt x="77" y="119"/>
                  </a:lnTo>
                  <a:lnTo>
                    <a:pt x="77" y="119"/>
                  </a:lnTo>
                  <a:lnTo>
                    <a:pt x="78" y="119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9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1" y="116"/>
                  </a:lnTo>
                  <a:lnTo>
                    <a:pt x="81" y="115"/>
                  </a:lnTo>
                  <a:lnTo>
                    <a:pt x="82" y="115"/>
                  </a:lnTo>
                  <a:lnTo>
                    <a:pt x="82" y="115"/>
                  </a:lnTo>
                  <a:lnTo>
                    <a:pt x="82" y="114"/>
                  </a:lnTo>
                  <a:lnTo>
                    <a:pt x="83" y="114"/>
                  </a:lnTo>
                  <a:lnTo>
                    <a:pt x="83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4"/>
                  </a:lnTo>
                  <a:lnTo>
                    <a:pt x="85" y="114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7" y="112"/>
                  </a:lnTo>
                  <a:lnTo>
                    <a:pt x="88" y="112"/>
                  </a:lnTo>
                  <a:lnTo>
                    <a:pt x="89" y="112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2"/>
                  </a:lnTo>
                  <a:lnTo>
                    <a:pt x="91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1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0"/>
                  </a:lnTo>
                  <a:lnTo>
                    <a:pt x="91" y="109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10"/>
                  </a:lnTo>
                  <a:lnTo>
                    <a:pt x="94" y="110"/>
                  </a:lnTo>
                  <a:lnTo>
                    <a:pt x="93" y="110"/>
                  </a:lnTo>
                  <a:lnTo>
                    <a:pt x="93" y="109"/>
                  </a:lnTo>
                  <a:lnTo>
                    <a:pt x="94" y="109"/>
                  </a:lnTo>
                  <a:lnTo>
                    <a:pt x="94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3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7" y="111"/>
                  </a:lnTo>
                  <a:lnTo>
                    <a:pt x="98" y="111"/>
                  </a:lnTo>
                  <a:lnTo>
                    <a:pt x="98" y="111"/>
                  </a:lnTo>
                  <a:lnTo>
                    <a:pt x="99" y="111"/>
                  </a:lnTo>
                  <a:lnTo>
                    <a:pt x="98" y="111"/>
                  </a:lnTo>
                  <a:lnTo>
                    <a:pt x="97" y="110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98" y="109"/>
                  </a:lnTo>
                  <a:lnTo>
                    <a:pt x="98" y="108"/>
                  </a:lnTo>
                  <a:lnTo>
                    <a:pt x="99" y="108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1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99" y="108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1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4" y="108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8" y="109"/>
                  </a:lnTo>
                  <a:lnTo>
                    <a:pt x="108" y="109"/>
                  </a:lnTo>
                  <a:lnTo>
                    <a:pt x="108" y="110"/>
                  </a:lnTo>
                  <a:lnTo>
                    <a:pt x="108" y="109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5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1"/>
                  </a:lnTo>
                  <a:lnTo>
                    <a:pt x="103" y="111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2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09"/>
                  </a:lnTo>
                  <a:lnTo>
                    <a:pt x="101" y="110"/>
                  </a:lnTo>
                  <a:lnTo>
                    <a:pt x="100" y="110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3"/>
                  </a:lnTo>
                  <a:lnTo>
                    <a:pt x="104" y="113"/>
                  </a:lnTo>
                  <a:lnTo>
                    <a:pt x="104" y="114"/>
                  </a:lnTo>
                  <a:close/>
                  <a:moveTo>
                    <a:pt x="127" y="186"/>
                  </a:move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close/>
                  <a:moveTo>
                    <a:pt x="305" y="190"/>
                  </a:moveTo>
                  <a:lnTo>
                    <a:pt x="305" y="190"/>
                  </a:lnTo>
                  <a:lnTo>
                    <a:pt x="305" y="190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8"/>
                  </a:lnTo>
                  <a:lnTo>
                    <a:pt x="316" y="168"/>
                  </a:lnTo>
                  <a:lnTo>
                    <a:pt x="317" y="168"/>
                  </a:lnTo>
                  <a:lnTo>
                    <a:pt x="317" y="167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7" y="167"/>
                  </a:lnTo>
                  <a:close/>
                  <a:moveTo>
                    <a:pt x="354" y="148"/>
                  </a:moveTo>
                  <a:lnTo>
                    <a:pt x="353" y="148"/>
                  </a:lnTo>
                  <a:lnTo>
                    <a:pt x="354" y="148"/>
                  </a:lnTo>
                  <a:close/>
                  <a:moveTo>
                    <a:pt x="266" y="142"/>
                  </a:moveTo>
                  <a:lnTo>
                    <a:pt x="266" y="141"/>
                  </a:lnTo>
                  <a:lnTo>
                    <a:pt x="266" y="142"/>
                  </a:lnTo>
                  <a:lnTo>
                    <a:pt x="266" y="141"/>
                  </a:lnTo>
                  <a:lnTo>
                    <a:pt x="266" y="142"/>
                  </a:lnTo>
                  <a:close/>
                  <a:moveTo>
                    <a:pt x="321" y="130"/>
                  </a:moveTo>
                  <a:lnTo>
                    <a:pt x="320" y="130"/>
                  </a:lnTo>
                  <a:lnTo>
                    <a:pt x="321" y="130"/>
                  </a:lnTo>
                  <a:close/>
                  <a:moveTo>
                    <a:pt x="296" y="132"/>
                  </a:moveTo>
                  <a:lnTo>
                    <a:pt x="296" y="133"/>
                  </a:lnTo>
                  <a:lnTo>
                    <a:pt x="296" y="132"/>
                  </a:lnTo>
                  <a:close/>
                  <a:moveTo>
                    <a:pt x="189" y="204"/>
                  </a:move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close/>
                  <a:moveTo>
                    <a:pt x="189" y="204"/>
                  </a:moveTo>
                  <a:lnTo>
                    <a:pt x="188" y="204"/>
                  </a:lnTo>
                  <a:lnTo>
                    <a:pt x="188" y="203"/>
                  </a:lnTo>
                  <a:lnTo>
                    <a:pt x="188" y="204"/>
                  </a:lnTo>
                  <a:lnTo>
                    <a:pt x="189" y="204"/>
                  </a:lnTo>
                  <a:close/>
                  <a:moveTo>
                    <a:pt x="188" y="204"/>
                  </a:moveTo>
                  <a:lnTo>
                    <a:pt x="189" y="204"/>
                  </a:lnTo>
                  <a:lnTo>
                    <a:pt x="188" y="204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307" y="179"/>
                  </a:moveTo>
                  <a:lnTo>
                    <a:pt x="307" y="178"/>
                  </a:lnTo>
                  <a:lnTo>
                    <a:pt x="307" y="179"/>
                  </a:lnTo>
                  <a:close/>
                  <a:moveTo>
                    <a:pt x="300" y="163"/>
                  </a:moveTo>
                  <a:lnTo>
                    <a:pt x="300" y="163"/>
                  </a:lnTo>
                  <a:lnTo>
                    <a:pt x="300" y="163"/>
                  </a:lnTo>
                  <a:close/>
                  <a:moveTo>
                    <a:pt x="271" y="173"/>
                  </a:moveTo>
                  <a:lnTo>
                    <a:pt x="272" y="173"/>
                  </a:lnTo>
                  <a:lnTo>
                    <a:pt x="271" y="173"/>
                  </a:lnTo>
                  <a:close/>
                  <a:moveTo>
                    <a:pt x="252" y="170"/>
                  </a:moveTo>
                  <a:lnTo>
                    <a:pt x="253" y="170"/>
                  </a:lnTo>
                  <a:lnTo>
                    <a:pt x="252" y="170"/>
                  </a:lnTo>
                  <a:close/>
                  <a:moveTo>
                    <a:pt x="264" y="160"/>
                  </a:moveTo>
                  <a:lnTo>
                    <a:pt x="264" y="160"/>
                  </a:lnTo>
                  <a:lnTo>
                    <a:pt x="264" y="160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7" y="137"/>
                  </a:moveTo>
                  <a:lnTo>
                    <a:pt x="267" y="137"/>
                  </a:lnTo>
                  <a:lnTo>
                    <a:pt x="267" y="137"/>
                  </a:lnTo>
                  <a:close/>
                  <a:moveTo>
                    <a:pt x="274" y="129"/>
                  </a:move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close/>
                  <a:moveTo>
                    <a:pt x="200" y="150"/>
                  </a:moveTo>
                  <a:lnTo>
                    <a:pt x="201" y="150"/>
                  </a:lnTo>
                  <a:lnTo>
                    <a:pt x="200" y="150"/>
                  </a:lnTo>
                  <a:close/>
                  <a:moveTo>
                    <a:pt x="185" y="205"/>
                  </a:move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close/>
                  <a:moveTo>
                    <a:pt x="177" y="197"/>
                  </a:move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7" y="197"/>
                  </a:lnTo>
                  <a:close/>
                  <a:moveTo>
                    <a:pt x="285" y="95"/>
                  </a:move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close/>
                  <a:moveTo>
                    <a:pt x="270" y="86"/>
                  </a:move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0" y="87"/>
                  </a:lnTo>
                  <a:lnTo>
                    <a:pt x="271" y="87"/>
                  </a:lnTo>
                  <a:lnTo>
                    <a:pt x="270" y="86"/>
                  </a:lnTo>
                  <a:lnTo>
                    <a:pt x="270" y="86"/>
                  </a:lnTo>
                  <a:lnTo>
                    <a:pt x="270" y="86"/>
                  </a:lnTo>
                  <a:close/>
                  <a:moveTo>
                    <a:pt x="270" y="85"/>
                  </a:move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0" y="85"/>
                  </a:lnTo>
                  <a:close/>
                  <a:moveTo>
                    <a:pt x="292" y="65"/>
                  </a:moveTo>
                  <a:lnTo>
                    <a:pt x="291" y="65"/>
                  </a:lnTo>
                  <a:lnTo>
                    <a:pt x="292" y="65"/>
                  </a:lnTo>
                  <a:lnTo>
                    <a:pt x="291" y="65"/>
                  </a:lnTo>
                  <a:lnTo>
                    <a:pt x="291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1" y="65"/>
                  </a:lnTo>
                  <a:lnTo>
                    <a:pt x="292" y="65"/>
                  </a:lnTo>
                  <a:lnTo>
                    <a:pt x="292" y="66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1" y="67"/>
                  </a:lnTo>
                  <a:lnTo>
                    <a:pt x="291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8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6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8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8" y="69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8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4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0"/>
                  </a:lnTo>
                  <a:lnTo>
                    <a:pt x="289" y="70"/>
                  </a:lnTo>
                  <a:lnTo>
                    <a:pt x="289" y="71"/>
                  </a:lnTo>
                  <a:lnTo>
                    <a:pt x="289" y="71"/>
                  </a:lnTo>
                  <a:lnTo>
                    <a:pt x="288" y="71"/>
                  </a:lnTo>
                  <a:lnTo>
                    <a:pt x="288" y="72"/>
                  </a:lnTo>
                  <a:lnTo>
                    <a:pt x="289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7" y="73"/>
                  </a:lnTo>
                  <a:lnTo>
                    <a:pt x="288" y="72"/>
                  </a:lnTo>
                  <a:lnTo>
                    <a:pt x="289" y="73"/>
                  </a:lnTo>
                  <a:lnTo>
                    <a:pt x="288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6"/>
                  </a:lnTo>
                  <a:lnTo>
                    <a:pt x="288" y="76"/>
                  </a:lnTo>
                  <a:lnTo>
                    <a:pt x="287" y="76"/>
                  </a:lnTo>
                  <a:lnTo>
                    <a:pt x="287" y="77"/>
                  </a:lnTo>
                  <a:lnTo>
                    <a:pt x="288" y="77"/>
                  </a:lnTo>
                  <a:lnTo>
                    <a:pt x="287" y="77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7"/>
                  </a:lnTo>
                  <a:lnTo>
                    <a:pt x="288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5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9" y="81"/>
                  </a:lnTo>
                  <a:lnTo>
                    <a:pt x="289" y="81"/>
                  </a:lnTo>
                  <a:lnTo>
                    <a:pt x="290" y="81"/>
                  </a:lnTo>
                  <a:lnTo>
                    <a:pt x="290" y="82"/>
                  </a:lnTo>
                  <a:lnTo>
                    <a:pt x="289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1" y="83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4" y="88"/>
                  </a:lnTo>
                  <a:lnTo>
                    <a:pt x="294" y="89"/>
                  </a:lnTo>
                  <a:lnTo>
                    <a:pt x="295" y="89"/>
                  </a:lnTo>
                  <a:lnTo>
                    <a:pt x="296" y="89"/>
                  </a:lnTo>
                  <a:lnTo>
                    <a:pt x="296" y="90"/>
                  </a:lnTo>
                  <a:lnTo>
                    <a:pt x="296" y="90"/>
                  </a:lnTo>
                  <a:lnTo>
                    <a:pt x="297" y="90"/>
                  </a:lnTo>
                  <a:lnTo>
                    <a:pt x="297" y="90"/>
                  </a:lnTo>
                  <a:lnTo>
                    <a:pt x="297" y="91"/>
                  </a:lnTo>
                  <a:lnTo>
                    <a:pt x="298" y="91"/>
                  </a:lnTo>
                  <a:lnTo>
                    <a:pt x="298" y="92"/>
                  </a:lnTo>
                  <a:lnTo>
                    <a:pt x="298" y="92"/>
                  </a:lnTo>
                  <a:lnTo>
                    <a:pt x="299" y="92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3" y="94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4" y="95"/>
                  </a:lnTo>
                  <a:lnTo>
                    <a:pt x="305" y="95"/>
                  </a:lnTo>
                  <a:lnTo>
                    <a:pt x="305" y="95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4" y="97"/>
                  </a:lnTo>
                  <a:lnTo>
                    <a:pt x="305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3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6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6"/>
                  </a:lnTo>
                  <a:lnTo>
                    <a:pt x="299" y="96"/>
                  </a:lnTo>
                  <a:lnTo>
                    <a:pt x="298" y="96"/>
                  </a:lnTo>
                  <a:lnTo>
                    <a:pt x="299" y="96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8"/>
                  </a:lnTo>
                  <a:lnTo>
                    <a:pt x="303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9"/>
                  </a:lnTo>
                  <a:lnTo>
                    <a:pt x="302" y="99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9"/>
                  </a:lnTo>
                  <a:lnTo>
                    <a:pt x="302" y="99"/>
                  </a:lnTo>
                  <a:lnTo>
                    <a:pt x="301" y="99"/>
                  </a:lnTo>
                  <a:lnTo>
                    <a:pt x="301" y="99"/>
                  </a:lnTo>
                  <a:lnTo>
                    <a:pt x="301" y="98"/>
                  </a:lnTo>
                  <a:lnTo>
                    <a:pt x="300" y="99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299" y="98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6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5"/>
                  </a:lnTo>
                  <a:lnTo>
                    <a:pt x="297" y="95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5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6"/>
                  </a:lnTo>
                  <a:lnTo>
                    <a:pt x="292" y="96"/>
                  </a:lnTo>
                  <a:lnTo>
                    <a:pt x="293" y="96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2" y="96"/>
                  </a:lnTo>
                  <a:lnTo>
                    <a:pt x="291" y="96"/>
                  </a:lnTo>
                  <a:lnTo>
                    <a:pt x="292" y="96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3" y="98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89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8" y="95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6" y="95"/>
                  </a:lnTo>
                  <a:lnTo>
                    <a:pt x="286" y="94"/>
                  </a:lnTo>
                  <a:lnTo>
                    <a:pt x="285" y="94"/>
                  </a:lnTo>
                  <a:lnTo>
                    <a:pt x="286" y="94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4" y="95"/>
                  </a:lnTo>
                  <a:lnTo>
                    <a:pt x="285" y="95"/>
                  </a:lnTo>
                  <a:lnTo>
                    <a:pt x="285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9" y="97"/>
                  </a:lnTo>
                  <a:lnTo>
                    <a:pt x="288" y="97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8" y="97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8" y="97"/>
                  </a:lnTo>
                  <a:lnTo>
                    <a:pt x="287" y="97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7"/>
                  </a:lnTo>
                  <a:lnTo>
                    <a:pt x="287" y="97"/>
                  </a:lnTo>
                  <a:lnTo>
                    <a:pt x="287" y="97"/>
                  </a:lnTo>
                  <a:lnTo>
                    <a:pt x="287" y="98"/>
                  </a:lnTo>
                  <a:lnTo>
                    <a:pt x="286" y="98"/>
                  </a:lnTo>
                  <a:lnTo>
                    <a:pt x="286" y="98"/>
                  </a:lnTo>
                  <a:lnTo>
                    <a:pt x="285" y="98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4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2" y="96"/>
                  </a:lnTo>
                  <a:lnTo>
                    <a:pt x="282" y="96"/>
                  </a:lnTo>
                  <a:lnTo>
                    <a:pt x="282" y="95"/>
                  </a:lnTo>
                  <a:lnTo>
                    <a:pt x="282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0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0" y="95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2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79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9" y="96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7" y="96"/>
                  </a:lnTo>
                  <a:lnTo>
                    <a:pt x="278" y="96"/>
                  </a:lnTo>
                  <a:lnTo>
                    <a:pt x="277" y="96"/>
                  </a:lnTo>
                  <a:lnTo>
                    <a:pt x="276" y="96"/>
                  </a:lnTo>
                  <a:lnTo>
                    <a:pt x="276" y="95"/>
                  </a:lnTo>
                  <a:lnTo>
                    <a:pt x="276" y="95"/>
                  </a:lnTo>
                  <a:lnTo>
                    <a:pt x="276" y="94"/>
                  </a:lnTo>
                  <a:lnTo>
                    <a:pt x="276" y="94"/>
                  </a:lnTo>
                  <a:lnTo>
                    <a:pt x="275" y="94"/>
                  </a:lnTo>
                  <a:lnTo>
                    <a:pt x="276" y="94"/>
                  </a:lnTo>
                  <a:lnTo>
                    <a:pt x="276" y="95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5" y="94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3" y="94"/>
                  </a:lnTo>
                  <a:lnTo>
                    <a:pt x="273" y="93"/>
                  </a:lnTo>
                  <a:lnTo>
                    <a:pt x="274" y="93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5" y="93"/>
                  </a:lnTo>
                  <a:lnTo>
                    <a:pt x="275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3" y="91"/>
                  </a:lnTo>
                  <a:lnTo>
                    <a:pt x="273" y="90"/>
                  </a:lnTo>
                  <a:lnTo>
                    <a:pt x="274" y="90"/>
                  </a:lnTo>
                  <a:lnTo>
                    <a:pt x="274" y="91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5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2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0"/>
                  </a:lnTo>
                  <a:lnTo>
                    <a:pt x="276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7" y="90"/>
                  </a:lnTo>
                  <a:lnTo>
                    <a:pt x="276" y="90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9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79" y="89"/>
                  </a:lnTo>
                  <a:lnTo>
                    <a:pt x="280" y="90"/>
                  </a:lnTo>
                  <a:lnTo>
                    <a:pt x="280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8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3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6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1" y="84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3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69" y="85"/>
                  </a:lnTo>
                  <a:lnTo>
                    <a:pt x="269" y="84"/>
                  </a:lnTo>
                  <a:lnTo>
                    <a:pt x="268" y="84"/>
                  </a:lnTo>
                  <a:lnTo>
                    <a:pt x="269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9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6" y="85"/>
                  </a:lnTo>
                  <a:lnTo>
                    <a:pt x="266" y="84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5" y="83"/>
                  </a:lnTo>
                  <a:lnTo>
                    <a:pt x="266" y="83"/>
                  </a:lnTo>
                  <a:lnTo>
                    <a:pt x="266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4"/>
                  </a:lnTo>
                  <a:lnTo>
                    <a:pt x="263" y="84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2" y="84"/>
                  </a:lnTo>
                  <a:lnTo>
                    <a:pt x="263" y="84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2" y="84"/>
                  </a:lnTo>
                  <a:lnTo>
                    <a:pt x="262" y="85"/>
                  </a:lnTo>
                  <a:lnTo>
                    <a:pt x="261" y="85"/>
                  </a:lnTo>
                  <a:lnTo>
                    <a:pt x="261" y="85"/>
                  </a:lnTo>
                  <a:lnTo>
                    <a:pt x="260" y="85"/>
                  </a:lnTo>
                  <a:lnTo>
                    <a:pt x="260" y="85"/>
                  </a:lnTo>
                  <a:lnTo>
                    <a:pt x="259" y="84"/>
                  </a:lnTo>
                  <a:lnTo>
                    <a:pt x="259" y="84"/>
                  </a:lnTo>
                  <a:lnTo>
                    <a:pt x="258" y="84"/>
                  </a:lnTo>
                  <a:lnTo>
                    <a:pt x="258" y="83"/>
                  </a:lnTo>
                  <a:lnTo>
                    <a:pt x="258" y="84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6" y="80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7"/>
                  </a:lnTo>
                  <a:lnTo>
                    <a:pt x="257" y="77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5"/>
                  </a:lnTo>
                  <a:lnTo>
                    <a:pt x="258" y="75"/>
                  </a:lnTo>
                  <a:lnTo>
                    <a:pt x="259" y="75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6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6" y="73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1"/>
                  </a:lnTo>
                  <a:lnTo>
                    <a:pt x="265" y="71"/>
                  </a:lnTo>
                  <a:lnTo>
                    <a:pt x="266" y="71"/>
                  </a:lnTo>
                  <a:lnTo>
                    <a:pt x="266" y="71"/>
                  </a:lnTo>
                  <a:lnTo>
                    <a:pt x="266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8" y="72"/>
                  </a:lnTo>
                  <a:lnTo>
                    <a:pt x="268" y="71"/>
                  </a:lnTo>
                  <a:lnTo>
                    <a:pt x="268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6" y="71"/>
                  </a:lnTo>
                  <a:lnTo>
                    <a:pt x="267" y="71"/>
                  </a:lnTo>
                  <a:lnTo>
                    <a:pt x="266" y="71"/>
                  </a:lnTo>
                  <a:lnTo>
                    <a:pt x="266" y="70"/>
                  </a:lnTo>
                  <a:lnTo>
                    <a:pt x="266" y="71"/>
                  </a:lnTo>
                  <a:lnTo>
                    <a:pt x="267" y="70"/>
                  </a:lnTo>
                  <a:lnTo>
                    <a:pt x="267" y="71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69"/>
                  </a:lnTo>
                  <a:lnTo>
                    <a:pt x="268" y="70"/>
                  </a:lnTo>
                  <a:lnTo>
                    <a:pt x="268" y="69"/>
                  </a:lnTo>
                  <a:lnTo>
                    <a:pt x="267" y="69"/>
                  </a:lnTo>
                  <a:lnTo>
                    <a:pt x="268" y="69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9" y="68"/>
                  </a:lnTo>
                  <a:lnTo>
                    <a:pt x="269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69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69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5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5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7" y="64"/>
                  </a:lnTo>
                  <a:lnTo>
                    <a:pt x="267" y="64"/>
                  </a:lnTo>
                  <a:lnTo>
                    <a:pt x="267" y="63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3" y="64"/>
                  </a:lnTo>
                  <a:lnTo>
                    <a:pt x="274" y="63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1"/>
                  </a:lnTo>
                  <a:lnTo>
                    <a:pt x="271" y="61"/>
                  </a:lnTo>
                  <a:lnTo>
                    <a:pt x="271" y="62"/>
                  </a:lnTo>
                  <a:lnTo>
                    <a:pt x="271" y="62"/>
                  </a:lnTo>
                  <a:lnTo>
                    <a:pt x="272" y="62"/>
                  </a:lnTo>
                  <a:lnTo>
                    <a:pt x="272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0" y="61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1" y="60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3" y="59"/>
                  </a:lnTo>
                  <a:lnTo>
                    <a:pt x="274" y="59"/>
                  </a:lnTo>
                  <a:lnTo>
                    <a:pt x="274" y="58"/>
                  </a:lnTo>
                  <a:lnTo>
                    <a:pt x="274" y="58"/>
                  </a:lnTo>
                  <a:lnTo>
                    <a:pt x="274" y="57"/>
                  </a:lnTo>
                  <a:lnTo>
                    <a:pt x="275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6" y="58"/>
                  </a:lnTo>
                  <a:lnTo>
                    <a:pt x="277" y="58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79" y="58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7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4" y="56"/>
                  </a:lnTo>
                  <a:lnTo>
                    <a:pt x="284" y="55"/>
                  </a:lnTo>
                  <a:lnTo>
                    <a:pt x="284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7" y="56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8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1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3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5" y="58"/>
                  </a:lnTo>
                  <a:lnTo>
                    <a:pt x="296" y="59"/>
                  </a:lnTo>
                  <a:lnTo>
                    <a:pt x="296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6" y="60"/>
                  </a:lnTo>
                  <a:lnTo>
                    <a:pt x="296" y="60"/>
                  </a:lnTo>
                  <a:lnTo>
                    <a:pt x="295" y="60"/>
                  </a:lnTo>
                  <a:lnTo>
                    <a:pt x="294" y="60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5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5" y="62"/>
                  </a:lnTo>
                  <a:lnTo>
                    <a:pt x="294" y="62"/>
                  </a:lnTo>
                  <a:lnTo>
                    <a:pt x="294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2" y="62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1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89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1" y="63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3" y="63"/>
                  </a:lnTo>
                  <a:lnTo>
                    <a:pt x="293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5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3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2" y="65"/>
                  </a:lnTo>
                  <a:close/>
                  <a:moveTo>
                    <a:pt x="298" y="52"/>
                  </a:moveTo>
                  <a:lnTo>
                    <a:pt x="298" y="51"/>
                  </a:lnTo>
                  <a:lnTo>
                    <a:pt x="298" y="52"/>
                  </a:lnTo>
                  <a:close/>
                  <a:moveTo>
                    <a:pt x="313" y="41"/>
                  </a:moveTo>
                  <a:lnTo>
                    <a:pt x="313" y="40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3" y="41"/>
                  </a:lnTo>
                  <a:close/>
                  <a:moveTo>
                    <a:pt x="397" y="4"/>
                  </a:move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7" y="8"/>
                  </a:lnTo>
                  <a:lnTo>
                    <a:pt x="396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3" y="9"/>
                  </a:lnTo>
                  <a:lnTo>
                    <a:pt x="393" y="9"/>
                  </a:lnTo>
                  <a:lnTo>
                    <a:pt x="393" y="10"/>
                  </a:lnTo>
                  <a:lnTo>
                    <a:pt x="393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2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8" y="12"/>
                  </a:lnTo>
                  <a:lnTo>
                    <a:pt x="387" y="12"/>
                  </a:lnTo>
                  <a:lnTo>
                    <a:pt x="387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5" y="13"/>
                  </a:lnTo>
                  <a:lnTo>
                    <a:pt x="385" y="13"/>
                  </a:lnTo>
                  <a:lnTo>
                    <a:pt x="384" y="13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1" y="15"/>
                  </a:lnTo>
                  <a:lnTo>
                    <a:pt x="380" y="15"/>
                  </a:lnTo>
                  <a:lnTo>
                    <a:pt x="380" y="15"/>
                  </a:lnTo>
                  <a:lnTo>
                    <a:pt x="379" y="15"/>
                  </a:lnTo>
                  <a:lnTo>
                    <a:pt x="379" y="15"/>
                  </a:lnTo>
                  <a:lnTo>
                    <a:pt x="378" y="15"/>
                  </a:lnTo>
                  <a:lnTo>
                    <a:pt x="378" y="15"/>
                  </a:lnTo>
                  <a:lnTo>
                    <a:pt x="378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6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4" y="16"/>
                  </a:lnTo>
                  <a:lnTo>
                    <a:pt x="374" y="17"/>
                  </a:lnTo>
                  <a:lnTo>
                    <a:pt x="374" y="17"/>
                  </a:lnTo>
                  <a:lnTo>
                    <a:pt x="373" y="17"/>
                  </a:lnTo>
                  <a:lnTo>
                    <a:pt x="372" y="17"/>
                  </a:lnTo>
                  <a:lnTo>
                    <a:pt x="372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0" y="17"/>
                  </a:lnTo>
                  <a:lnTo>
                    <a:pt x="369" y="17"/>
                  </a:lnTo>
                  <a:lnTo>
                    <a:pt x="369" y="17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7" y="18"/>
                  </a:lnTo>
                  <a:lnTo>
                    <a:pt x="367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3" y="19"/>
                  </a:lnTo>
                  <a:lnTo>
                    <a:pt x="363" y="19"/>
                  </a:lnTo>
                  <a:lnTo>
                    <a:pt x="363" y="20"/>
                  </a:lnTo>
                  <a:lnTo>
                    <a:pt x="362" y="20"/>
                  </a:lnTo>
                  <a:lnTo>
                    <a:pt x="361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59" y="20"/>
                  </a:lnTo>
                  <a:lnTo>
                    <a:pt x="359" y="20"/>
                  </a:lnTo>
                  <a:lnTo>
                    <a:pt x="358" y="20"/>
                  </a:lnTo>
                  <a:lnTo>
                    <a:pt x="357" y="20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6" y="21"/>
                  </a:lnTo>
                  <a:lnTo>
                    <a:pt x="356" y="21"/>
                  </a:lnTo>
                  <a:lnTo>
                    <a:pt x="356" y="22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6" y="22"/>
                  </a:lnTo>
                  <a:lnTo>
                    <a:pt x="355" y="21"/>
                  </a:lnTo>
                  <a:lnTo>
                    <a:pt x="354" y="21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2" y="22"/>
                  </a:lnTo>
                  <a:lnTo>
                    <a:pt x="352" y="22"/>
                  </a:lnTo>
                  <a:lnTo>
                    <a:pt x="351" y="23"/>
                  </a:lnTo>
                  <a:lnTo>
                    <a:pt x="350" y="23"/>
                  </a:lnTo>
                  <a:lnTo>
                    <a:pt x="350" y="23"/>
                  </a:lnTo>
                  <a:lnTo>
                    <a:pt x="349" y="23"/>
                  </a:lnTo>
                  <a:lnTo>
                    <a:pt x="349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7" y="23"/>
                  </a:lnTo>
                  <a:lnTo>
                    <a:pt x="346" y="24"/>
                  </a:lnTo>
                  <a:lnTo>
                    <a:pt x="346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4" y="24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2" y="24"/>
                  </a:lnTo>
                  <a:lnTo>
                    <a:pt x="342" y="24"/>
                  </a:lnTo>
                  <a:lnTo>
                    <a:pt x="341" y="24"/>
                  </a:lnTo>
                  <a:lnTo>
                    <a:pt x="341" y="24"/>
                  </a:lnTo>
                  <a:lnTo>
                    <a:pt x="340" y="24"/>
                  </a:lnTo>
                  <a:lnTo>
                    <a:pt x="340" y="25"/>
                  </a:lnTo>
                  <a:lnTo>
                    <a:pt x="340" y="26"/>
                  </a:lnTo>
                  <a:lnTo>
                    <a:pt x="340" y="25"/>
                  </a:lnTo>
                  <a:lnTo>
                    <a:pt x="341" y="25"/>
                  </a:lnTo>
                  <a:lnTo>
                    <a:pt x="341" y="26"/>
                  </a:lnTo>
                  <a:lnTo>
                    <a:pt x="340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8" y="26"/>
                  </a:lnTo>
                  <a:lnTo>
                    <a:pt x="338" y="26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7" y="27"/>
                  </a:lnTo>
                  <a:lnTo>
                    <a:pt x="337" y="28"/>
                  </a:lnTo>
                  <a:lnTo>
                    <a:pt x="337" y="28"/>
                  </a:lnTo>
                  <a:lnTo>
                    <a:pt x="336" y="28"/>
                  </a:lnTo>
                  <a:lnTo>
                    <a:pt x="336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5" y="26"/>
                  </a:lnTo>
                  <a:lnTo>
                    <a:pt x="335" y="26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4" y="27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3" y="28"/>
                  </a:lnTo>
                  <a:lnTo>
                    <a:pt x="333" y="29"/>
                  </a:lnTo>
                  <a:lnTo>
                    <a:pt x="332" y="29"/>
                  </a:lnTo>
                  <a:lnTo>
                    <a:pt x="331" y="29"/>
                  </a:lnTo>
                  <a:lnTo>
                    <a:pt x="331" y="29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7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6" y="32"/>
                  </a:lnTo>
                  <a:lnTo>
                    <a:pt x="327" y="31"/>
                  </a:lnTo>
                  <a:lnTo>
                    <a:pt x="326" y="31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5" y="31"/>
                  </a:lnTo>
                  <a:lnTo>
                    <a:pt x="324" y="31"/>
                  </a:lnTo>
                  <a:lnTo>
                    <a:pt x="324" y="32"/>
                  </a:lnTo>
                  <a:lnTo>
                    <a:pt x="325" y="32"/>
                  </a:lnTo>
                  <a:lnTo>
                    <a:pt x="326" y="32"/>
                  </a:lnTo>
                  <a:lnTo>
                    <a:pt x="326" y="33"/>
                  </a:lnTo>
                  <a:lnTo>
                    <a:pt x="326" y="32"/>
                  </a:lnTo>
                  <a:lnTo>
                    <a:pt x="327" y="33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27" y="32"/>
                  </a:lnTo>
                  <a:lnTo>
                    <a:pt x="327" y="32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29" y="33"/>
                  </a:lnTo>
                  <a:lnTo>
                    <a:pt x="329" y="34"/>
                  </a:lnTo>
                  <a:lnTo>
                    <a:pt x="328" y="34"/>
                  </a:lnTo>
                  <a:lnTo>
                    <a:pt x="328" y="34"/>
                  </a:lnTo>
                  <a:lnTo>
                    <a:pt x="327" y="34"/>
                  </a:lnTo>
                  <a:lnTo>
                    <a:pt x="327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7" y="34"/>
                  </a:lnTo>
                  <a:lnTo>
                    <a:pt x="327" y="35"/>
                  </a:lnTo>
                  <a:lnTo>
                    <a:pt x="327" y="35"/>
                  </a:lnTo>
                  <a:lnTo>
                    <a:pt x="326" y="35"/>
                  </a:lnTo>
                  <a:lnTo>
                    <a:pt x="326" y="35"/>
                  </a:lnTo>
                  <a:lnTo>
                    <a:pt x="325" y="35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3" y="36"/>
                  </a:lnTo>
                  <a:lnTo>
                    <a:pt x="323" y="35"/>
                  </a:lnTo>
                  <a:lnTo>
                    <a:pt x="323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2" y="36"/>
                  </a:lnTo>
                  <a:lnTo>
                    <a:pt x="322" y="36"/>
                  </a:lnTo>
                  <a:lnTo>
                    <a:pt x="323" y="36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4" y="37"/>
                  </a:lnTo>
                  <a:lnTo>
                    <a:pt x="323" y="38"/>
                  </a:lnTo>
                  <a:lnTo>
                    <a:pt x="323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1" y="38"/>
                  </a:lnTo>
                  <a:lnTo>
                    <a:pt x="321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19" y="37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8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6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7" y="37"/>
                  </a:lnTo>
                  <a:lnTo>
                    <a:pt x="317" y="37"/>
                  </a:lnTo>
                  <a:lnTo>
                    <a:pt x="316" y="37"/>
                  </a:lnTo>
                  <a:lnTo>
                    <a:pt x="317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7" y="39"/>
                  </a:lnTo>
                  <a:lnTo>
                    <a:pt x="318" y="39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7" y="40"/>
                  </a:lnTo>
                  <a:lnTo>
                    <a:pt x="316" y="40"/>
                  </a:lnTo>
                  <a:lnTo>
                    <a:pt x="316" y="40"/>
                  </a:lnTo>
                  <a:lnTo>
                    <a:pt x="315" y="40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4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2" y="39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1" y="39"/>
                  </a:lnTo>
                  <a:lnTo>
                    <a:pt x="311" y="39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1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4" y="42"/>
                  </a:lnTo>
                  <a:lnTo>
                    <a:pt x="314" y="42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4" y="43"/>
                  </a:lnTo>
                  <a:lnTo>
                    <a:pt x="313" y="43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5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0" y="45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09" y="46"/>
                  </a:lnTo>
                  <a:lnTo>
                    <a:pt x="309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1" y="46"/>
                  </a:lnTo>
                  <a:lnTo>
                    <a:pt x="311" y="47"/>
                  </a:lnTo>
                  <a:lnTo>
                    <a:pt x="311" y="46"/>
                  </a:lnTo>
                  <a:lnTo>
                    <a:pt x="310" y="46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09" y="47"/>
                  </a:lnTo>
                  <a:lnTo>
                    <a:pt x="308" y="46"/>
                  </a:lnTo>
                  <a:lnTo>
                    <a:pt x="308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6" y="46"/>
                  </a:lnTo>
                  <a:lnTo>
                    <a:pt x="307" y="46"/>
                  </a:lnTo>
                  <a:lnTo>
                    <a:pt x="306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5"/>
                  </a:lnTo>
                  <a:lnTo>
                    <a:pt x="305" y="45"/>
                  </a:lnTo>
                  <a:lnTo>
                    <a:pt x="305" y="45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5"/>
                  </a:lnTo>
                  <a:lnTo>
                    <a:pt x="303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3" y="46"/>
                  </a:lnTo>
                  <a:lnTo>
                    <a:pt x="304" y="46"/>
                  </a:lnTo>
                  <a:lnTo>
                    <a:pt x="304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7" y="47"/>
                  </a:lnTo>
                  <a:lnTo>
                    <a:pt x="307" y="47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8" y="4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49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07" y="50"/>
                  </a:lnTo>
                  <a:lnTo>
                    <a:pt x="307" y="50"/>
                  </a:lnTo>
                  <a:lnTo>
                    <a:pt x="307" y="51"/>
                  </a:lnTo>
                  <a:lnTo>
                    <a:pt x="306" y="51"/>
                  </a:lnTo>
                  <a:lnTo>
                    <a:pt x="306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49"/>
                  </a:lnTo>
                  <a:lnTo>
                    <a:pt x="304" y="49"/>
                  </a:lnTo>
                  <a:lnTo>
                    <a:pt x="304" y="49"/>
                  </a:lnTo>
                  <a:lnTo>
                    <a:pt x="303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7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3" y="49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5" y="50"/>
                  </a:lnTo>
                  <a:lnTo>
                    <a:pt x="305" y="51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3"/>
                  </a:lnTo>
                  <a:lnTo>
                    <a:pt x="305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2" y="53"/>
                  </a:lnTo>
                  <a:lnTo>
                    <a:pt x="302" y="53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0" y="52"/>
                  </a:lnTo>
                  <a:lnTo>
                    <a:pt x="300" y="52"/>
                  </a:lnTo>
                  <a:lnTo>
                    <a:pt x="299" y="52"/>
                  </a:lnTo>
                  <a:lnTo>
                    <a:pt x="299" y="52"/>
                  </a:lnTo>
                  <a:lnTo>
                    <a:pt x="298" y="52"/>
                  </a:lnTo>
                  <a:lnTo>
                    <a:pt x="298" y="51"/>
                  </a:lnTo>
                  <a:lnTo>
                    <a:pt x="298" y="51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9" y="52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1" y="54"/>
                  </a:lnTo>
                  <a:lnTo>
                    <a:pt x="302" y="54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6"/>
                  </a:lnTo>
                  <a:lnTo>
                    <a:pt x="301" y="56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8" y="56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8" y="58"/>
                  </a:lnTo>
                  <a:lnTo>
                    <a:pt x="298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5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3" y="58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8" y="57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7" y="56"/>
                  </a:lnTo>
                  <a:lnTo>
                    <a:pt x="287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4" y="55"/>
                  </a:lnTo>
                  <a:lnTo>
                    <a:pt x="283" y="55"/>
                  </a:lnTo>
                  <a:lnTo>
                    <a:pt x="283" y="55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0" y="56"/>
                  </a:lnTo>
                  <a:lnTo>
                    <a:pt x="280" y="57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78" y="57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7" y="57"/>
                  </a:lnTo>
                  <a:lnTo>
                    <a:pt x="277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5"/>
                  </a:lnTo>
                  <a:lnTo>
                    <a:pt x="280" y="55"/>
                  </a:lnTo>
                  <a:lnTo>
                    <a:pt x="281" y="55"/>
                  </a:lnTo>
                  <a:lnTo>
                    <a:pt x="281" y="55"/>
                  </a:lnTo>
                  <a:lnTo>
                    <a:pt x="280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8" y="55"/>
                  </a:lnTo>
                  <a:lnTo>
                    <a:pt x="279" y="55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3"/>
                  </a:lnTo>
                  <a:lnTo>
                    <a:pt x="280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4" y="52"/>
                  </a:lnTo>
                  <a:lnTo>
                    <a:pt x="284" y="52"/>
                  </a:lnTo>
                  <a:lnTo>
                    <a:pt x="285" y="52"/>
                  </a:lnTo>
                  <a:lnTo>
                    <a:pt x="285" y="52"/>
                  </a:lnTo>
                  <a:lnTo>
                    <a:pt x="286" y="52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2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7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8" y="51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7" y="50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5" y="51"/>
                  </a:lnTo>
                  <a:lnTo>
                    <a:pt x="285" y="51"/>
                  </a:lnTo>
                  <a:lnTo>
                    <a:pt x="284" y="51"/>
                  </a:lnTo>
                  <a:lnTo>
                    <a:pt x="284" y="52"/>
                  </a:lnTo>
                  <a:lnTo>
                    <a:pt x="283" y="52"/>
                  </a:lnTo>
                  <a:lnTo>
                    <a:pt x="283" y="51"/>
                  </a:lnTo>
                  <a:lnTo>
                    <a:pt x="284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2"/>
                  </a:lnTo>
                  <a:lnTo>
                    <a:pt x="282" y="52"/>
                  </a:lnTo>
                  <a:lnTo>
                    <a:pt x="282" y="52"/>
                  </a:lnTo>
                  <a:lnTo>
                    <a:pt x="282" y="51"/>
                  </a:lnTo>
                  <a:lnTo>
                    <a:pt x="281" y="51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79" y="52"/>
                  </a:lnTo>
                  <a:lnTo>
                    <a:pt x="279" y="52"/>
                  </a:lnTo>
                  <a:lnTo>
                    <a:pt x="279" y="53"/>
                  </a:lnTo>
                  <a:lnTo>
                    <a:pt x="278" y="53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77" y="53"/>
                  </a:lnTo>
                  <a:lnTo>
                    <a:pt x="277" y="52"/>
                  </a:lnTo>
                  <a:lnTo>
                    <a:pt x="277" y="53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5" y="52"/>
                  </a:lnTo>
                  <a:lnTo>
                    <a:pt x="275" y="51"/>
                  </a:lnTo>
                  <a:lnTo>
                    <a:pt x="275" y="51"/>
                  </a:lnTo>
                  <a:lnTo>
                    <a:pt x="274" y="51"/>
                  </a:lnTo>
                  <a:lnTo>
                    <a:pt x="274" y="50"/>
                  </a:lnTo>
                  <a:lnTo>
                    <a:pt x="274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7" y="50"/>
                  </a:lnTo>
                  <a:lnTo>
                    <a:pt x="277" y="49"/>
                  </a:lnTo>
                  <a:lnTo>
                    <a:pt x="277" y="49"/>
                  </a:lnTo>
                  <a:lnTo>
                    <a:pt x="278" y="49"/>
                  </a:lnTo>
                  <a:lnTo>
                    <a:pt x="278" y="49"/>
                  </a:lnTo>
                  <a:lnTo>
                    <a:pt x="278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1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5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6" y="44"/>
                  </a:lnTo>
                  <a:lnTo>
                    <a:pt x="286" y="44"/>
                  </a:lnTo>
                  <a:lnTo>
                    <a:pt x="286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8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91" y="45"/>
                  </a:lnTo>
                  <a:lnTo>
                    <a:pt x="291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6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89" y="45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7" y="44"/>
                  </a:lnTo>
                  <a:lnTo>
                    <a:pt x="287" y="44"/>
                  </a:lnTo>
                  <a:lnTo>
                    <a:pt x="287" y="43"/>
                  </a:lnTo>
                  <a:lnTo>
                    <a:pt x="287" y="44"/>
                  </a:lnTo>
                  <a:lnTo>
                    <a:pt x="286" y="43"/>
                  </a:lnTo>
                  <a:lnTo>
                    <a:pt x="286" y="43"/>
                  </a:lnTo>
                  <a:lnTo>
                    <a:pt x="285" y="43"/>
                  </a:lnTo>
                  <a:lnTo>
                    <a:pt x="286" y="43"/>
                  </a:lnTo>
                  <a:lnTo>
                    <a:pt x="286" y="42"/>
                  </a:lnTo>
                  <a:lnTo>
                    <a:pt x="286" y="42"/>
                  </a:lnTo>
                  <a:lnTo>
                    <a:pt x="287" y="42"/>
                  </a:lnTo>
                  <a:lnTo>
                    <a:pt x="286" y="42"/>
                  </a:lnTo>
                  <a:lnTo>
                    <a:pt x="286" y="43"/>
                  </a:lnTo>
                  <a:lnTo>
                    <a:pt x="287" y="43"/>
                  </a:lnTo>
                  <a:lnTo>
                    <a:pt x="287" y="42"/>
                  </a:lnTo>
                  <a:lnTo>
                    <a:pt x="287" y="42"/>
                  </a:lnTo>
                  <a:lnTo>
                    <a:pt x="288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90" y="42"/>
                  </a:lnTo>
                  <a:lnTo>
                    <a:pt x="290" y="43"/>
                  </a:lnTo>
                  <a:lnTo>
                    <a:pt x="290" y="43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89" y="41"/>
                  </a:lnTo>
                  <a:lnTo>
                    <a:pt x="288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8" y="41"/>
                  </a:lnTo>
                  <a:lnTo>
                    <a:pt x="289" y="41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91" y="40"/>
                  </a:lnTo>
                  <a:lnTo>
                    <a:pt x="292" y="40"/>
                  </a:lnTo>
                  <a:lnTo>
                    <a:pt x="292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40"/>
                  </a:lnTo>
                  <a:lnTo>
                    <a:pt x="297" y="40"/>
                  </a:lnTo>
                  <a:lnTo>
                    <a:pt x="297" y="40"/>
                  </a:lnTo>
                  <a:lnTo>
                    <a:pt x="298" y="40"/>
                  </a:lnTo>
                  <a:lnTo>
                    <a:pt x="298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0"/>
                  </a:lnTo>
                  <a:lnTo>
                    <a:pt x="299" y="40"/>
                  </a:lnTo>
                  <a:lnTo>
                    <a:pt x="298" y="40"/>
                  </a:lnTo>
                  <a:lnTo>
                    <a:pt x="298" y="40"/>
                  </a:lnTo>
                  <a:lnTo>
                    <a:pt x="298" y="39"/>
                  </a:lnTo>
                  <a:lnTo>
                    <a:pt x="297" y="39"/>
                  </a:lnTo>
                  <a:lnTo>
                    <a:pt x="297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4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1" y="39"/>
                  </a:lnTo>
                  <a:lnTo>
                    <a:pt x="290" y="39"/>
                  </a:lnTo>
                  <a:lnTo>
                    <a:pt x="290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1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3" y="37"/>
                  </a:lnTo>
                  <a:lnTo>
                    <a:pt x="293" y="37"/>
                  </a:lnTo>
                  <a:lnTo>
                    <a:pt x="294" y="37"/>
                  </a:lnTo>
                  <a:lnTo>
                    <a:pt x="294" y="37"/>
                  </a:lnTo>
                  <a:lnTo>
                    <a:pt x="295" y="37"/>
                  </a:lnTo>
                  <a:lnTo>
                    <a:pt x="295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9" y="37"/>
                  </a:lnTo>
                  <a:lnTo>
                    <a:pt x="300" y="37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6"/>
                  </a:lnTo>
                  <a:lnTo>
                    <a:pt x="299" y="36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7" y="37"/>
                  </a:lnTo>
                  <a:lnTo>
                    <a:pt x="297" y="36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6" y="35"/>
                  </a:lnTo>
                  <a:lnTo>
                    <a:pt x="295" y="35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2" y="35"/>
                  </a:lnTo>
                  <a:lnTo>
                    <a:pt x="292" y="35"/>
                  </a:lnTo>
                  <a:lnTo>
                    <a:pt x="291" y="35"/>
                  </a:lnTo>
                  <a:lnTo>
                    <a:pt x="292" y="34"/>
                  </a:lnTo>
                  <a:lnTo>
                    <a:pt x="292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3" y="31"/>
                  </a:lnTo>
                  <a:lnTo>
                    <a:pt x="293" y="31"/>
                  </a:lnTo>
                  <a:lnTo>
                    <a:pt x="293" y="32"/>
                  </a:lnTo>
                  <a:lnTo>
                    <a:pt x="292" y="32"/>
                  </a:lnTo>
                  <a:lnTo>
                    <a:pt x="292" y="32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1" y="31"/>
                  </a:lnTo>
                  <a:lnTo>
                    <a:pt x="290" y="31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1" y="30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4" y="28"/>
                  </a:lnTo>
                  <a:lnTo>
                    <a:pt x="293" y="29"/>
                  </a:lnTo>
                  <a:lnTo>
                    <a:pt x="294" y="30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96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29"/>
                  </a:lnTo>
                  <a:lnTo>
                    <a:pt x="298" y="29"/>
                  </a:lnTo>
                  <a:lnTo>
                    <a:pt x="298" y="29"/>
                  </a:lnTo>
                  <a:lnTo>
                    <a:pt x="298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299" y="27"/>
                  </a:lnTo>
                  <a:lnTo>
                    <a:pt x="298" y="27"/>
                  </a:lnTo>
                  <a:lnTo>
                    <a:pt x="298" y="27"/>
                  </a:lnTo>
                  <a:lnTo>
                    <a:pt x="299" y="26"/>
                  </a:lnTo>
                  <a:lnTo>
                    <a:pt x="300" y="26"/>
                  </a:lnTo>
                  <a:lnTo>
                    <a:pt x="300" y="26"/>
                  </a:lnTo>
                  <a:lnTo>
                    <a:pt x="301" y="26"/>
                  </a:lnTo>
                  <a:lnTo>
                    <a:pt x="301" y="26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3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5" y="26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7" y="27"/>
                  </a:lnTo>
                  <a:lnTo>
                    <a:pt x="307" y="27"/>
                  </a:lnTo>
                  <a:lnTo>
                    <a:pt x="308" y="27"/>
                  </a:lnTo>
                  <a:lnTo>
                    <a:pt x="308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8" y="22"/>
                  </a:lnTo>
                  <a:lnTo>
                    <a:pt x="309" y="22"/>
                  </a:lnTo>
                  <a:lnTo>
                    <a:pt x="309" y="21"/>
                  </a:lnTo>
                  <a:lnTo>
                    <a:pt x="310" y="21"/>
                  </a:lnTo>
                  <a:lnTo>
                    <a:pt x="311" y="21"/>
                  </a:lnTo>
                  <a:lnTo>
                    <a:pt x="311" y="21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9" y="17"/>
                  </a:lnTo>
                  <a:lnTo>
                    <a:pt x="320" y="18"/>
                  </a:lnTo>
                  <a:lnTo>
                    <a:pt x="320" y="17"/>
                  </a:lnTo>
                  <a:lnTo>
                    <a:pt x="319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1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4" y="17"/>
                  </a:lnTo>
                  <a:lnTo>
                    <a:pt x="324" y="17"/>
                  </a:lnTo>
                  <a:lnTo>
                    <a:pt x="324" y="16"/>
                  </a:lnTo>
                  <a:lnTo>
                    <a:pt x="325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4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6" y="15"/>
                  </a:lnTo>
                  <a:lnTo>
                    <a:pt x="325" y="16"/>
                  </a:lnTo>
                  <a:lnTo>
                    <a:pt x="325" y="15"/>
                  </a:lnTo>
                  <a:lnTo>
                    <a:pt x="326" y="15"/>
                  </a:lnTo>
                  <a:lnTo>
                    <a:pt x="326" y="15"/>
                  </a:lnTo>
                  <a:lnTo>
                    <a:pt x="327" y="15"/>
                  </a:lnTo>
                  <a:lnTo>
                    <a:pt x="327" y="15"/>
                  </a:lnTo>
                  <a:lnTo>
                    <a:pt x="327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9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1" y="14"/>
                  </a:lnTo>
                  <a:lnTo>
                    <a:pt x="331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29" y="15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5"/>
                  </a:lnTo>
                  <a:lnTo>
                    <a:pt x="332" y="15"/>
                  </a:lnTo>
                  <a:lnTo>
                    <a:pt x="333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4" y="14"/>
                  </a:lnTo>
                  <a:lnTo>
                    <a:pt x="334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4" y="11"/>
                  </a:lnTo>
                  <a:lnTo>
                    <a:pt x="334" y="11"/>
                  </a:lnTo>
                  <a:lnTo>
                    <a:pt x="334" y="12"/>
                  </a:lnTo>
                  <a:lnTo>
                    <a:pt x="335" y="12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7" y="12"/>
                  </a:lnTo>
                  <a:lnTo>
                    <a:pt x="337" y="11"/>
                  </a:lnTo>
                  <a:lnTo>
                    <a:pt x="338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2"/>
                  </a:lnTo>
                  <a:lnTo>
                    <a:pt x="338" y="11"/>
                  </a:lnTo>
                  <a:lnTo>
                    <a:pt x="338" y="12"/>
                  </a:lnTo>
                  <a:lnTo>
                    <a:pt x="339" y="12"/>
                  </a:lnTo>
                  <a:lnTo>
                    <a:pt x="339" y="11"/>
                  </a:lnTo>
                  <a:lnTo>
                    <a:pt x="339" y="12"/>
                  </a:lnTo>
                  <a:lnTo>
                    <a:pt x="340" y="12"/>
                  </a:lnTo>
                  <a:lnTo>
                    <a:pt x="341" y="12"/>
                  </a:lnTo>
                  <a:lnTo>
                    <a:pt x="341" y="12"/>
                  </a:lnTo>
                  <a:lnTo>
                    <a:pt x="342" y="12"/>
                  </a:lnTo>
                  <a:lnTo>
                    <a:pt x="342" y="12"/>
                  </a:lnTo>
                  <a:lnTo>
                    <a:pt x="343" y="12"/>
                  </a:lnTo>
                  <a:lnTo>
                    <a:pt x="343" y="12"/>
                  </a:lnTo>
                  <a:lnTo>
                    <a:pt x="344" y="12"/>
                  </a:lnTo>
                  <a:lnTo>
                    <a:pt x="344" y="12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4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6" y="13"/>
                  </a:lnTo>
                  <a:lnTo>
                    <a:pt x="345" y="12"/>
                  </a:lnTo>
                  <a:lnTo>
                    <a:pt x="346" y="12"/>
                  </a:lnTo>
                  <a:lnTo>
                    <a:pt x="346" y="13"/>
                  </a:lnTo>
                  <a:lnTo>
                    <a:pt x="346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7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1" y="12"/>
                  </a:lnTo>
                  <a:lnTo>
                    <a:pt x="352" y="12"/>
                  </a:lnTo>
                  <a:lnTo>
                    <a:pt x="352" y="12"/>
                  </a:lnTo>
                  <a:lnTo>
                    <a:pt x="353" y="12"/>
                  </a:lnTo>
                  <a:lnTo>
                    <a:pt x="353" y="12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5" y="11"/>
                  </a:lnTo>
                  <a:lnTo>
                    <a:pt x="356" y="11"/>
                  </a:lnTo>
                  <a:lnTo>
                    <a:pt x="356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8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2"/>
                  </a:lnTo>
                  <a:lnTo>
                    <a:pt x="360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0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1" y="11"/>
                  </a:lnTo>
                  <a:lnTo>
                    <a:pt x="361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11"/>
                  </a:lnTo>
                  <a:lnTo>
                    <a:pt x="364" y="11"/>
                  </a:lnTo>
                  <a:lnTo>
                    <a:pt x="364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6" y="8"/>
                  </a:lnTo>
                  <a:lnTo>
                    <a:pt x="366" y="9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70" y="7"/>
                  </a:lnTo>
                  <a:lnTo>
                    <a:pt x="371" y="7"/>
                  </a:lnTo>
                  <a:lnTo>
                    <a:pt x="371" y="8"/>
                  </a:lnTo>
                  <a:lnTo>
                    <a:pt x="372" y="8"/>
                  </a:lnTo>
                  <a:lnTo>
                    <a:pt x="372" y="8"/>
                  </a:lnTo>
                  <a:lnTo>
                    <a:pt x="373" y="8"/>
                  </a:lnTo>
                  <a:lnTo>
                    <a:pt x="373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5" y="8"/>
                  </a:lnTo>
                  <a:lnTo>
                    <a:pt x="374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4" y="7"/>
                  </a:lnTo>
                  <a:lnTo>
                    <a:pt x="374" y="7"/>
                  </a:lnTo>
                  <a:lnTo>
                    <a:pt x="373" y="7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3" y="6"/>
                  </a:lnTo>
                  <a:lnTo>
                    <a:pt x="372" y="6"/>
                  </a:lnTo>
                  <a:lnTo>
                    <a:pt x="372" y="6"/>
                  </a:lnTo>
                  <a:lnTo>
                    <a:pt x="372" y="5"/>
                  </a:lnTo>
                  <a:lnTo>
                    <a:pt x="371" y="5"/>
                  </a:lnTo>
                  <a:lnTo>
                    <a:pt x="372" y="5"/>
                  </a:lnTo>
                  <a:lnTo>
                    <a:pt x="372" y="5"/>
                  </a:lnTo>
                  <a:lnTo>
                    <a:pt x="373" y="4"/>
                  </a:lnTo>
                  <a:lnTo>
                    <a:pt x="374" y="4"/>
                  </a:lnTo>
                  <a:lnTo>
                    <a:pt x="374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80" y="2"/>
                  </a:lnTo>
                  <a:lnTo>
                    <a:pt x="381" y="2"/>
                  </a:lnTo>
                  <a:lnTo>
                    <a:pt x="381" y="1"/>
                  </a:lnTo>
                  <a:lnTo>
                    <a:pt x="380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4" y="1"/>
                  </a:lnTo>
                  <a:lnTo>
                    <a:pt x="385" y="1"/>
                  </a:lnTo>
                  <a:lnTo>
                    <a:pt x="385" y="0"/>
                  </a:lnTo>
                  <a:lnTo>
                    <a:pt x="385" y="0"/>
                  </a:lnTo>
                  <a:lnTo>
                    <a:pt x="386" y="0"/>
                  </a:lnTo>
                  <a:lnTo>
                    <a:pt x="386" y="0"/>
                  </a:lnTo>
                  <a:lnTo>
                    <a:pt x="387" y="0"/>
                  </a:lnTo>
                  <a:lnTo>
                    <a:pt x="387" y="0"/>
                  </a:lnTo>
                  <a:lnTo>
                    <a:pt x="388" y="0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1"/>
                  </a:lnTo>
                  <a:lnTo>
                    <a:pt x="391" y="1"/>
                  </a:lnTo>
                  <a:lnTo>
                    <a:pt x="391" y="1"/>
                  </a:lnTo>
                  <a:lnTo>
                    <a:pt x="392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4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6" y="4"/>
                  </a:lnTo>
                  <a:lnTo>
                    <a:pt x="397" y="4"/>
                  </a:lnTo>
                  <a:lnTo>
                    <a:pt x="39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2" name="Freeform 98"/>
            <p:cNvSpPr>
              <a:spLocks noEditPoints="1"/>
            </p:cNvSpPr>
            <p:nvPr/>
          </p:nvSpPr>
          <p:spPr bwMode="auto">
            <a:xfrm>
              <a:off x="5968020" y="3049379"/>
              <a:ext cx="471223" cy="705449"/>
            </a:xfrm>
            <a:custGeom>
              <a:avLst/>
              <a:gdLst>
                <a:gd name="T0" fmla="*/ 223 w 361"/>
                <a:gd name="T1" fmla="*/ 497 h 512"/>
                <a:gd name="T2" fmla="*/ 224 w 361"/>
                <a:gd name="T3" fmla="*/ 496 h 512"/>
                <a:gd name="T4" fmla="*/ 232 w 361"/>
                <a:gd name="T5" fmla="*/ 491 h 512"/>
                <a:gd name="T6" fmla="*/ 155 w 361"/>
                <a:gd name="T7" fmla="*/ 476 h 512"/>
                <a:gd name="T8" fmla="*/ 83 w 361"/>
                <a:gd name="T9" fmla="*/ 319 h 512"/>
                <a:gd name="T10" fmla="*/ 68 w 361"/>
                <a:gd name="T11" fmla="*/ 314 h 512"/>
                <a:gd name="T12" fmla="*/ 69 w 361"/>
                <a:gd name="T13" fmla="*/ 310 h 512"/>
                <a:gd name="T14" fmla="*/ 185 w 361"/>
                <a:gd name="T15" fmla="*/ 282 h 512"/>
                <a:gd name="T16" fmla="*/ 152 w 361"/>
                <a:gd name="T17" fmla="*/ 270 h 512"/>
                <a:gd name="T18" fmla="*/ 174 w 361"/>
                <a:gd name="T19" fmla="*/ 262 h 512"/>
                <a:gd name="T20" fmla="*/ 173 w 361"/>
                <a:gd name="T21" fmla="*/ 262 h 512"/>
                <a:gd name="T22" fmla="*/ 124 w 361"/>
                <a:gd name="T23" fmla="*/ 261 h 512"/>
                <a:gd name="T24" fmla="*/ 164 w 361"/>
                <a:gd name="T25" fmla="*/ 258 h 512"/>
                <a:gd name="T26" fmla="*/ 162 w 361"/>
                <a:gd name="T27" fmla="*/ 258 h 512"/>
                <a:gd name="T28" fmla="*/ 125 w 361"/>
                <a:gd name="T29" fmla="*/ 257 h 512"/>
                <a:gd name="T30" fmla="*/ 189 w 361"/>
                <a:gd name="T31" fmla="*/ 257 h 512"/>
                <a:gd name="T32" fmla="*/ 165 w 361"/>
                <a:gd name="T33" fmla="*/ 255 h 512"/>
                <a:gd name="T34" fmla="*/ 122 w 361"/>
                <a:gd name="T35" fmla="*/ 253 h 512"/>
                <a:gd name="T36" fmla="*/ 120 w 361"/>
                <a:gd name="T37" fmla="*/ 251 h 512"/>
                <a:gd name="T38" fmla="*/ 126 w 361"/>
                <a:gd name="T39" fmla="*/ 252 h 512"/>
                <a:gd name="T40" fmla="*/ 265 w 361"/>
                <a:gd name="T41" fmla="*/ 249 h 512"/>
                <a:gd name="T42" fmla="*/ 261 w 361"/>
                <a:gd name="T43" fmla="*/ 247 h 512"/>
                <a:gd name="T44" fmla="*/ 298 w 361"/>
                <a:gd name="T45" fmla="*/ 244 h 512"/>
                <a:gd name="T46" fmla="*/ 120 w 361"/>
                <a:gd name="T47" fmla="*/ 243 h 512"/>
                <a:gd name="T48" fmla="*/ 282 w 361"/>
                <a:gd name="T49" fmla="*/ 240 h 512"/>
                <a:gd name="T50" fmla="*/ 189 w 361"/>
                <a:gd name="T51" fmla="*/ 238 h 512"/>
                <a:gd name="T52" fmla="*/ 294 w 361"/>
                <a:gd name="T53" fmla="*/ 235 h 512"/>
                <a:gd name="T54" fmla="*/ 289 w 361"/>
                <a:gd name="T55" fmla="*/ 234 h 512"/>
                <a:gd name="T56" fmla="*/ 108 w 361"/>
                <a:gd name="T57" fmla="*/ 232 h 512"/>
                <a:gd name="T58" fmla="*/ 107 w 361"/>
                <a:gd name="T59" fmla="*/ 230 h 512"/>
                <a:gd name="T60" fmla="*/ 197 w 361"/>
                <a:gd name="T61" fmla="*/ 225 h 512"/>
                <a:gd name="T62" fmla="*/ 260 w 361"/>
                <a:gd name="T63" fmla="*/ 222 h 512"/>
                <a:gd name="T64" fmla="*/ 260 w 361"/>
                <a:gd name="T65" fmla="*/ 216 h 512"/>
                <a:gd name="T66" fmla="*/ 264 w 361"/>
                <a:gd name="T67" fmla="*/ 214 h 512"/>
                <a:gd name="T68" fmla="*/ 273 w 361"/>
                <a:gd name="T69" fmla="*/ 211 h 512"/>
                <a:gd name="T70" fmla="*/ 266 w 361"/>
                <a:gd name="T71" fmla="*/ 209 h 512"/>
                <a:gd name="T72" fmla="*/ 275 w 361"/>
                <a:gd name="T73" fmla="*/ 207 h 512"/>
                <a:gd name="T74" fmla="*/ 248 w 361"/>
                <a:gd name="T75" fmla="*/ 206 h 512"/>
                <a:gd name="T76" fmla="*/ 235 w 361"/>
                <a:gd name="T77" fmla="*/ 201 h 512"/>
                <a:gd name="T78" fmla="*/ 305 w 361"/>
                <a:gd name="T79" fmla="*/ 199 h 512"/>
                <a:gd name="T80" fmla="*/ 286 w 361"/>
                <a:gd name="T81" fmla="*/ 198 h 512"/>
                <a:gd name="T82" fmla="*/ 132 w 361"/>
                <a:gd name="T83" fmla="*/ 195 h 512"/>
                <a:gd name="T84" fmla="*/ 104 w 361"/>
                <a:gd name="T85" fmla="*/ 192 h 512"/>
                <a:gd name="T86" fmla="*/ 105 w 361"/>
                <a:gd name="T87" fmla="*/ 191 h 512"/>
                <a:gd name="T88" fmla="*/ 94 w 361"/>
                <a:gd name="T89" fmla="*/ 184 h 512"/>
                <a:gd name="T90" fmla="*/ 293 w 361"/>
                <a:gd name="T91" fmla="*/ 174 h 512"/>
                <a:gd name="T92" fmla="*/ 294 w 361"/>
                <a:gd name="T93" fmla="*/ 172 h 512"/>
                <a:gd name="T94" fmla="*/ 269 w 361"/>
                <a:gd name="T95" fmla="*/ 166 h 512"/>
                <a:gd name="T96" fmla="*/ 275 w 361"/>
                <a:gd name="T97" fmla="*/ 165 h 512"/>
                <a:gd name="T98" fmla="*/ 267 w 361"/>
                <a:gd name="T99" fmla="*/ 162 h 512"/>
                <a:gd name="T100" fmla="*/ 260 w 361"/>
                <a:gd name="T101" fmla="*/ 159 h 512"/>
                <a:gd name="T102" fmla="*/ 273 w 361"/>
                <a:gd name="T103" fmla="*/ 131 h 512"/>
                <a:gd name="T104" fmla="*/ 316 w 361"/>
                <a:gd name="T105" fmla="*/ 116 h 512"/>
                <a:gd name="T106" fmla="*/ 313 w 361"/>
                <a:gd name="T107" fmla="*/ 93 h 512"/>
                <a:gd name="T108" fmla="*/ 311 w 361"/>
                <a:gd name="T109" fmla="*/ 31 h 512"/>
                <a:gd name="T110" fmla="*/ 295 w 361"/>
                <a:gd name="T111" fmla="*/ 27 h 512"/>
                <a:gd name="T112" fmla="*/ 277 w 361"/>
                <a:gd name="T113" fmla="*/ 23 h 512"/>
                <a:gd name="T114" fmla="*/ 263 w 361"/>
                <a:gd name="T115" fmla="*/ 22 h 512"/>
                <a:gd name="T116" fmla="*/ 278 w 361"/>
                <a:gd name="T117" fmla="*/ 20 h 512"/>
                <a:gd name="T118" fmla="*/ 313 w 361"/>
                <a:gd name="T119" fmla="*/ 17 h 512"/>
                <a:gd name="T120" fmla="*/ 311 w 361"/>
                <a:gd name="T121" fmla="*/ 10 h 512"/>
                <a:gd name="T122" fmla="*/ 322 w 361"/>
                <a:gd name="T123" fmla="*/ 6 h 512"/>
                <a:gd name="T124" fmla="*/ 310 w 361"/>
                <a:gd name="T125" fmla="*/ 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512">
                  <a:moveTo>
                    <a:pt x="223" y="512"/>
                  </a:move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1"/>
                  </a:lnTo>
                  <a:lnTo>
                    <a:pt x="223" y="511"/>
                  </a:lnTo>
                  <a:lnTo>
                    <a:pt x="223" y="512"/>
                  </a:lnTo>
                  <a:close/>
                  <a:moveTo>
                    <a:pt x="221" y="506"/>
                  </a:moveTo>
                  <a:lnTo>
                    <a:pt x="222" y="506"/>
                  </a:lnTo>
                  <a:lnTo>
                    <a:pt x="222" y="507"/>
                  </a:lnTo>
                  <a:lnTo>
                    <a:pt x="221" y="507"/>
                  </a:lnTo>
                  <a:lnTo>
                    <a:pt x="221" y="506"/>
                  </a:lnTo>
                  <a:close/>
                  <a:moveTo>
                    <a:pt x="221" y="506"/>
                  </a:moveTo>
                  <a:lnTo>
                    <a:pt x="221" y="507"/>
                  </a:lnTo>
                  <a:lnTo>
                    <a:pt x="221" y="507"/>
                  </a:lnTo>
                  <a:lnTo>
                    <a:pt x="221" y="506"/>
                  </a:lnTo>
                  <a:lnTo>
                    <a:pt x="221" y="506"/>
                  </a:lnTo>
                  <a:close/>
                  <a:moveTo>
                    <a:pt x="220" y="502"/>
                  </a:moveTo>
                  <a:lnTo>
                    <a:pt x="220" y="502"/>
                  </a:lnTo>
                  <a:lnTo>
                    <a:pt x="220" y="501"/>
                  </a:lnTo>
                  <a:lnTo>
                    <a:pt x="220" y="502"/>
                  </a:lnTo>
                  <a:lnTo>
                    <a:pt x="220" y="502"/>
                  </a:lnTo>
                  <a:close/>
                  <a:moveTo>
                    <a:pt x="228" y="500"/>
                  </a:moveTo>
                  <a:lnTo>
                    <a:pt x="228" y="500"/>
                  </a:lnTo>
                  <a:lnTo>
                    <a:pt x="228" y="500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1" y="498"/>
                  </a:move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7"/>
                  </a:lnTo>
                  <a:lnTo>
                    <a:pt x="223" y="498"/>
                  </a:lnTo>
                  <a:close/>
                  <a:moveTo>
                    <a:pt x="226" y="497"/>
                  </a:moveTo>
                  <a:lnTo>
                    <a:pt x="226" y="497"/>
                  </a:lnTo>
                  <a:lnTo>
                    <a:pt x="226" y="498"/>
                  </a:lnTo>
                  <a:lnTo>
                    <a:pt x="226" y="498"/>
                  </a:lnTo>
                  <a:lnTo>
                    <a:pt x="225" y="498"/>
                  </a:lnTo>
                  <a:lnTo>
                    <a:pt x="225" y="497"/>
                  </a:lnTo>
                  <a:lnTo>
                    <a:pt x="226" y="497"/>
                  </a:lnTo>
                  <a:close/>
                  <a:moveTo>
                    <a:pt x="223" y="497"/>
                  </a:moveTo>
                  <a:lnTo>
                    <a:pt x="223" y="497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close/>
                  <a:moveTo>
                    <a:pt x="223" y="497"/>
                  </a:moveTo>
                  <a:lnTo>
                    <a:pt x="223" y="496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close/>
                  <a:moveTo>
                    <a:pt x="224" y="496"/>
                  </a:moveTo>
                  <a:lnTo>
                    <a:pt x="223" y="496"/>
                  </a:lnTo>
                  <a:lnTo>
                    <a:pt x="224" y="496"/>
                  </a:lnTo>
                  <a:lnTo>
                    <a:pt x="223" y="496"/>
                  </a:lnTo>
                  <a:lnTo>
                    <a:pt x="223" y="497"/>
                  </a:lnTo>
                  <a:lnTo>
                    <a:pt x="224" y="497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8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3" y="496"/>
                  </a:moveTo>
                  <a:lnTo>
                    <a:pt x="223" y="496"/>
                  </a:lnTo>
                  <a:lnTo>
                    <a:pt x="223" y="496"/>
                  </a:lnTo>
                  <a:close/>
                  <a:moveTo>
                    <a:pt x="223" y="496"/>
                  </a:move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close/>
                  <a:moveTo>
                    <a:pt x="224" y="496"/>
                  </a:move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7"/>
                  </a:lnTo>
                  <a:lnTo>
                    <a:pt x="224" y="497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7" y="495"/>
                  </a:moveTo>
                  <a:lnTo>
                    <a:pt x="228" y="495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7" y="495"/>
                  </a:lnTo>
                  <a:close/>
                  <a:moveTo>
                    <a:pt x="224" y="495"/>
                  </a:moveTo>
                  <a:lnTo>
                    <a:pt x="223" y="495"/>
                  </a:lnTo>
                  <a:lnTo>
                    <a:pt x="224" y="495"/>
                  </a:lnTo>
                  <a:close/>
                  <a:moveTo>
                    <a:pt x="228" y="494"/>
                  </a:moveTo>
                  <a:lnTo>
                    <a:pt x="228" y="495"/>
                  </a:lnTo>
                  <a:lnTo>
                    <a:pt x="228" y="494"/>
                  </a:lnTo>
                  <a:lnTo>
                    <a:pt x="227" y="494"/>
                  </a:lnTo>
                  <a:lnTo>
                    <a:pt x="228" y="494"/>
                  </a:lnTo>
                  <a:close/>
                  <a:moveTo>
                    <a:pt x="223" y="495"/>
                  </a:moveTo>
                  <a:lnTo>
                    <a:pt x="223" y="494"/>
                  </a:lnTo>
                  <a:lnTo>
                    <a:pt x="223" y="494"/>
                  </a:lnTo>
                  <a:lnTo>
                    <a:pt x="223" y="495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6" y="494"/>
                  </a:moveTo>
                  <a:lnTo>
                    <a:pt x="226" y="494"/>
                  </a:lnTo>
                  <a:lnTo>
                    <a:pt x="226" y="494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6" y="493"/>
                  </a:ln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8" y="493"/>
                  </a:moveTo>
                  <a:lnTo>
                    <a:pt x="228" y="493"/>
                  </a:lnTo>
                  <a:lnTo>
                    <a:pt x="228" y="493"/>
                  </a:lnTo>
                  <a:close/>
                  <a:moveTo>
                    <a:pt x="227" y="492"/>
                  </a:move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2"/>
                  </a:lnTo>
                  <a:close/>
                  <a:moveTo>
                    <a:pt x="223" y="491"/>
                  </a:moveTo>
                  <a:lnTo>
                    <a:pt x="223" y="492"/>
                  </a:lnTo>
                  <a:lnTo>
                    <a:pt x="223" y="491"/>
                  </a:lnTo>
                  <a:lnTo>
                    <a:pt x="222" y="491"/>
                  </a:lnTo>
                  <a:lnTo>
                    <a:pt x="223" y="491"/>
                  </a:lnTo>
                  <a:close/>
                  <a:moveTo>
                    <a:pt x="232" y="491"/>
                  </a:move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close/>
                  <a:moveTo>
                    <a:pt x="223" y="491"/>
                  </a:moveTo>
                  <a:lnTo>
                    <a:pt x="223" y="491"/>
                  </a:lnTo>
                  <a:lnTo>
                    <a:pt x="222" y="491"/>
                  </a:lnTo>
                  <a:lnTo>
                    <a:pt x="221" y="491"/>
                  </a:lnTo>
                  <a:lnTo>
                    <a:pt x="222" y="490"/>
                  </a:lnTo>
                  <a:lnTo>
                    <a:pt x="222" y="491"/>
                  </a:lnTo>
                  <a:lnTo>
                    <a:pt x="222" y="490"/>
                  </a:lnTo>
                  <a:lnTo>
                    <a:pt x="223" y="490"/>
                  </a:lnTo>
                  <a:lnTo>
                    <a:pt x="223" y="491"/>
                  </a:lnTo>
                  <a:close/>
                  <a:moveTo>
                    <a:pt x="232" y="490"/>
                  </a:move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close/>
                  <a:moveTo>
                    <a:pt x="234" y="489"/>
                  </a:moveTo>
                  <a:lnTo>
                    <a:pt x="234" y="490"/>
                  </a:lnTo>
                  <a:lnTo>
                    <a:pt x="234" y="489"/>
                  </a:lnTo>
                  <a:close/>
                  <a:moveTo>
                    <a:pt x="238" y="489"/>
                  </a:moveTo>
                  <a:lnTo>
                    <a:pt x="238" y="489"/>
                  </a:lnTo>
                  <a:lnTo>
                    <a:pt x="238" y="490"/>
                  </a:lnTo>
                  <a:lnTo>
                    <a:pt x="238" y="490"/>
                  </a:lnTo>
                  <a:lnTo>
                    <a:pt x="238" y="489"/>
                  </a:lnTo>
                  <a:close/>
                  <a:moveTo>
                    <a:pt x="237" y="489"/>
                  </a:moveTo>
                  <a:lnTo>
                    <a:pt x="237" y="489"/>
                  </a:lnTo>
                  <a:lnTo>
                    <a:pt x="237" y="489"/>
                  </a:lnTo>
                  <a:lnTo>
                    <a:pt x="237" y="490"/>
                  </a:lnTo>
                  <a:lnTo>
                    <a:pt x="237" y="489"/>
                  </a:lnTo>
                  <a:close/>
                  <a:moveTo>
                    <a:pt x="233" y="488"/>
                  </a:moveTo>
                  <a:lnTo>
                    <a:pt x="233" y="489"/>
                  </a:lnTo>
                  <a:lnTo>
                    <a:pt x="233" y="488"/>
                  </a:lnTo>
                  <a:close/>
                  <a:moveTo>
                    <a:pt x="234" y="488"/>
                  </a:move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5" y="489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8"/>
                  </a:lnTo>
                  <a:close/>
                  <a:moveTo>
                    <a:pt x="235" y="486"/>
                  </a:moveTo>
                  <a:lnTo>
                    <a:pt x="236" y="486"/>
                  </a:lnTo>
                  <a:lnTo>
                    <a:pt x="235" y="486"/>
                  </a:lnTo>
                  <a:close/>
                  <a:moveTo>
                    <a:pt x="148" y="480"/>
                  </a:moveTo>
                  <a:lnTo>
                    <a:pt x="148" y="480"/>
                  </a:lnTo>
                  <a:lnTo>
                    <a:pt x="148" y="480"/>
                  </a:lnTo>
                  <a:close/>
                  <a:moveTo>
                    <a:pt x="155" y="476"/>
                  </a:moveTo>
                  <a:lnTo>
                    <a:pt x="155" y="476"/>
                  </a:lnTo>
                  <a:lnTo>
                    <a:pt x="155" y="476"/>
                  </a:lnTo>
                  <a:lnTo>
                    <a:pt x="156" y="476"/>
                  </a:lnTo>
                  <a:lnTo>
                    <a:pt x="155" y="476"/>
                  </a:lnTo>
                  <a:close/>
                  <a:moveTo>
                    <a:pt x="157" y="475"/>
                  </a:moveTo>
                  <a:lnTo>
                    <a:pt x="157" y="476"/>
                  </a:lnTo>
                  <a:lnTo>
                    <a:pt x="157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7" y="475"/>
                  </a:lnTo>
                  <a:lnTo>
                    <a:pt x="157" y="476"/>
                  </a:lnTo>
                  <a:lnTo>
                    <a:pt x="156" y="476"/>
                  </a:lnTo>
                  <a:lnTo>
                    <a:pt x="156" y="476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5" y="475"/>
                  </a:moveTo>
                  <a:lnTo>
                    <a:pt x="155" y="475"/>
                  </a:lnTo>
                  <a:lnTo>
                    <a:pt x="155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5" y="475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9" y="475"/>
                  </a:moveTo>
                  <a:lnTo>
                    <a:pt x="160" y="475"/>
                  </a:lnTo>
                  <a:lnTo>
                    <a:pt x="159" y="475"/>
                  </a:lnTo>
                  <a:close/>
                  <a:moveTo>
                    <a:pt x="0" y="386"/>
                  </a:moveTo>
                  <a:lnTo>
                    <a:pt x="0" y="386"/>
                  </a:lnTo>
                  <a:lnTo>
                    <a:pt x="0" y="386"/>
                  </a:lnTo>
                  <a:close/>
                  <a:moveTo>
                    <a:pt x="1" y="386"/>
                  </a:moveTo>
                  <a:lnTo>
                    <a:pt x="1" y="386"/>
                  </a:lnTo>
                  <a:lnTo>
                    <a:pt x="1" y="386"/>
                  </a:lnTo>
                  <a:close/>
                  <a:moveTo>
                    <a:pt x="3" y="386"/>
                  </a:moveTo>
                  <a:lnTo>
                    <a:pt x="3" y="386"/>
                  </a:lnTo>
                  <a:lnTo>
                    <a:pt x="3" y="386"/>
                  </a:lnTo>
                  <a:close/>
                  <a:moveTo>
                    <a:pt x="2" y="386"/>
                  </a:moveTo>
                  <a:lnTo>
                    <a:pt x="3" y="386"/>
                  </a:lnTo>
                  <a:lnTo>
                    <a:pt x="2" y="386"/>
                  </a:lnTo>
                  <a:close/>
                  <a:moveTo>
                    <a:pt x="56" y="321"/>
                  </a:move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close/>
                  <a:moveTo>
                    <a:pt x="58" y="321"/>
                  </a:moveTo>
                  <a:lnTo>
                    <a:pt x="58" y="320"/>
                  </a:lnTo>
                  <a:lnTo>
                    <a:pt x="59" y="320"/>
                  </a:lnTo>
                  <a:lnTo>
                    <a:pt x="59" y="321"/>
                  </a:lnTo>
                  <a:lnTo>
                    <a:pt x="58" y="321"/>
                  </a:lnTo>
                  <a:close/>
                  <a:moveTo>
                    <a:pt x="83" y="320"/>
                  </a:moveTo>
                  <a:lnTo>
                    <a:pt x="82" y="320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3" y="320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0" y="318"/>
                  </a:moveTo>
                  <a:lnTo>
                    <a:pt x="80" y="319"/>
                  </a:lnTo>
                  <a:lnTo>
                    <a:pt x="80" y="318"/>
                  </a:lnTo>
                  <a:lnTo>
                    <a:pt x="79" y="319"/>
                  </a:lnTo>
                  <a:lnTo>
                    <a:pt x="80" y="319"/>
                  </a:lnTo>
                  <a:lnTo>
                    <a:pt x="81" y="318"/>
                  </a:lnTo>
                  <a:lnTo>
                    <a:pt x="80" y="318"/>
                  </a:lnTo>
                  <a:close/>
                  <a:moveTo>
                    <a:pt x="65" y="318"/>
                  </a:moveTo>
                  <a:lnTo>
                    <a:pt x="65" y="319"/>
                  </a:lnTo>
                  <a:lnTo>
                    <a:pt x="65" y="318"/>
                  </a:lnTo>
                  <a:close/>
                  <a:moveTo>
                    <a:pt x="68" y="318"/>
                  </a:moveTo>
                  <a:lnTo>
                    <a:pt x="68" y="319"/>
                  </a:lnTo>
                  <a:lnTo>
                    <a:pt x="68" y="318"/>
                  </a:lnTo>
                  <a:lnTo>
                    <a:pt x="68" y="319"/>
                  </a:lnTo>
                  <a:lnTo>
                    <a:pt x="68" y="318"/>
                  </a:lnTo>
                  <a:close/>
                  <a:moveTo>
                    <a:pt x="63" y="318"/>
                  </a:moveTo>
                  <a:lnTo>
                    <a:pt x="63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8"/>
                  </a:lnTo>
                  <a:close/>
                  <a:moveTo>
                    <a:pt x="56" y="317"/>
                  </a:moveTo>
                  <a:lnTo>
                    <a:pt x="57" y="318"/>
                  </a:lnTo>
                  <a:lnTo>
                    <a:pt x="57" y="319"/>
                  </a:lnTo>
                  <a:lnTo>
                    <a:pt x="56" y="319"/>
                  </a:lnTo>
                  <a:lnTo>
                    <a:pt x="56" y="318"/>
                  </a:lnTo>
                  <a:lnTo>
                    <a:pt x="56" y="317"/>
                  </a:lnTo>
                  <a:close/>
                  <a:moveTo>
                    <a:pt x="69" y="314"/>
                  </a:move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1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69" y="315"/>
                  </a:lnTo>
                  <a:lnTo>
                    <a:pt x="69" y="314"/>
                  </a:lnTo>
                  <a:lnTo>
                    <a:pt x="69" y="314"/>
                  </a:lnTo>
                  <a:lnTo>
                    <a:pt x="69" y="314"/>
                  </a:lnTo>
                  <a:close/>
                  <a:moveTo>
                    <a:pt x="68" y="314"/>
                  </a:moveTo>
                  <a:lnTo>
                    <a:pt x="69" y="314"/>
                  </a:lnTo>
                  <a:lnTo>
                    <a:pt x="69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close/>
                  <a:moveTo>
                    <a:pt x="63" y="313"/>
                  </a:moveTo>
                  <a:lnTo>
                    <a:pt x="63" y="313"/>
                  </a:lnTo>
                  <a:lnTo>
                    <a:pt x="63" y="313"/>
                  </a:lnTo>
                  <a:close/>
                  <a:moveTo>
                    <a:pt x="68" y="313"/>
                  </a:move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9" y="314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8" y="313"/>
                  </a:lnTo>
                  <a:close/>
                  <a:moveTo>
                    <a:pt x="64" y="313"/>
                  </a:moveTo>
                  <a:lnTo>
                    <a:pt x="64" y="312"/>
                  </a:lnTo>
                  <a:lnTo>
                    <a:pt x="64" y="313"/>
                  </a:lnTo>
                  <a:close/>
                  <a:moveTo>
                    <a:pt x="64" y="312"/>
                  </a:moveTo>
                  <a:lnTo>
                    <a:pt x="64" y="313"/>
                  </a:lnTo>
                  <a:lnTo>
                    <a:pt x="64" y="312"/>
                  </a:lnTo>
                  <a:close/>
                  <a:moveTo>
                    <a:pt x="70" y="312"/>
                  </a:moveTo>
                  <a:lnTo>
                    <a:pt x="70" y="312"/>
                  </a:lnTo>
                  <a:lnTo>
                    <a:pt x="70" y="312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2"/>
                  </a:lnTo>
                  <a:lnTo>
                    <a:pt x="69" y="312"/>
                  </a:lnTo>
                  <a:lnTo>
                    <a:pt x="70" y="312"/>
                  </a:lnTo>
                  <a:close/>
                  <a:moveTo>
                    <a:pt x="69" y="311"/>
                  </a:moveTo>
                  <a:lnTo>
                    <a:pt x="70" y="312"/>
                  </a:lnTo>
                  <a:lnTo>
                    <a:pt x="69" y="311"/>
                  </a:lnTo>
                  <a:close/>
                  <a:moveTo>
                    <a:pt x="68" y="311"/>
                  </a:moveTo>
                  <a:lnTo>
                    <a:pt x="68" y="312"/>
                  </a:lnTo>
                  <a:lnTo>
                    <a:pt x="68" y="311"/>
                  </a:lnTo>
                  <a:lnTo>
                    <a:pt x="68" y="311"/>
                  </a:lnTo>
                  <a:close/>
                  <a:moveTo>
                    <a:pt x="70" y="311"/>
                  </a:moveTo>
                  <a:lnTo>
                    <a:pt x="70" y="310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0" y="311"/>
                  </a:lnTo>
                  <a:close/>
                  <a:moveTo>
                    <a:pt x="70" y="310"/>
                  </a:moveTo>
                  <a:lnTo>
                    <a:pt x="70" y="311"/>
                  </a:lnTo>
                  <a:lnTo>
                    <a:pt x="70" y="310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70" y="310"/>
                  </a:ln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70" y="310"/>
                  </a:move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lnTo>
                    <a:pt x="69" y="310"/>
                  </a:lnTo>
                  <a:close/>
                  <a:moveTo>
                    <a:pt x="70" y="310"/>
                  </a:moveTo>
                  <a:lnTo>
                    <a:pt x="70" y="310"/>
                  </a:lnTo>
                  <a:lnTo>
                    <a:pt x="70" y="310"/>
                  </a:lnTo>
                  <a:close/>
                  <a:moveTo>
                    <a:pt x="71" y="309"/>
                  </a:moveTo>
                  <a:lnTo>
                    <a:pt x="70" y="309"/>
                  </a:lnTo>
                  <a:lnTo>
                    <a:pt x="70" y="309"/>
                  </a:lnTo>
                  <a:lnTo>
                    <a:pt x="71" y="309"/>
                  </a:lnTo>
                  <a:close/>
                  <a:moveTo>
                    <a:pt x="184" y="291"/>
                  </a:moveTo>
                  <a:lnTo>
                    <a:pt x="184" y="291"/>
                  </a:lnTo>
                  <a:lnTo>
                    <a:pt x="184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4" y="290"/>
                  </a:moveTo>
                  <a:lnTo>
                    <a:pt x="185" y="290"/>
                  </a:lnTo>
                  <a:lnTo>
                    <a:pt x="184" y="290"/>
                  </a:lnTo>
                  <a:close/>
                  <a:moveTo>
                    <a:pt x="186" y="288"/>
                  </a:moveTo>
                  <a:lnTo>
                    <a:pt x="186" y="289"/>
                  </a:lnTo>
                  <a:lnTo>
                    <a:pt x="186" y="288"/>
                  </a:lnTo>
                  <a:close/>
                  <a:moveTo>
                    <a:pt x="186" y="288"/>
                  </a:moveTo>
                  <a:lnTo>
                    <a:pt x="186" y="288"/>
                  </a:lnTo>
                  <a:lnTo>
                    <a:pt x="186" y="288"/>
                  </a:lnTo>
                  <a:close/>
                  <a:moveTo>
                    <a:pt x="197" y="288"/>
                  </a:moveTo>
                  <a:lnTo>
                    <a:pt x="197" y="288"/>
                  </a:lnTo>
                  <a:lnTo>
                    <a:pt x="197" y="288"/>
                  </a:lnTo>
                  <a:close/>
                  <a:moveTo>
                    <a:pt x="185" y="288"/>
                  </a:moveTo>
                  <a:lnTo>
                    <a:pt x="185" y="287"/>
                  </a:lnTo>
                  <a:lnTo>
                    <a:pt x="185" y="288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1" y="286"/>
                  </a:moveTo>
                  <a:lnTo>
                    <a:pt x="191" y="286"/>
                  </a:lnTo>
                  <a:lnTo>
                    <a:pt x="191" y="286"/>
                  </a:lnTo>
                  <a:close/>
                  <a:moveTo>
                    <a:pt x="190" y="285"/>
                  </a:moveTo>
                  <a:lnTo>
                    <a:pt x="191" y="285"/>
                  </a:lnTo>
                  <a:lnTo>
                    <a:pt x="191" y="286"/>
                  </a:lnTo>
                  <a:lnTo>
                    <a:pt x="190" y="285"/>
                  </a:lnTo>
                  <a:close/>
                  <a:moveTo>
                    <a:pt x="190" y="284"/>
                  </a:moveTo>
                  <a:lnTo>
                    <a:pt x="190" y="285"/>
                  </a:lnTo>
                  <a:lnTo>
                    <a:pt x="190" y="284"/>
                  </a:lnTo>
                  <a:lnTo>
                    <a:pt x="190" y="284"/>
                  </a:lnTo>
                  <a:close/>
                  <a:moveTo>
                    <a:pt x="294" y="284"/>
                  </a:moveTo>
                  <a:lnTo>
                    <a:pt x="294" y="284"/>
                  </a:lnTo>
                  <a:lnTo>
                    <a:pt x="294" y="284"/>
                  </a:lnTo>
                  <a:close/>
                  <a:moveTo>
                    <a:pt x="186" y="283"/>
                  </a:moveTo>
                  <a:lnTo>
                    <a:pt x="186" y="283"/>
                  </a:lnTo>
                  <a:lnTo>
                    <a:pt x="186" y="283"/>
                  </a:lnTo>
                  <a:close/>
                  <a:moveTo>
                    <a:pt x="185" y="281"/>
                  </a:move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close/>
                  <a:moveTo>
                    <a:pt x="183" y="281"/>
                  </a:moveTo>
                  <a:lnTo>
                    <a:pt x="184" y="281"/>
                  </a:lnTo>
                  <a:lnTo>
                    <a:pt x="184" y="281"/>
                  </a:lnTo>
                  <a:lnTo>
                    <a:pt x="183" y="281"/>
                  </a:lnTo>
                  <a:lnTo>
                    <a:pt x="183" y="281"/>
                  </a:lnTo>
                  <a:lnTo>
                    <a:pt x="183" y="281"/>
                  </a:lnTo>
                  <a:close/>
                  <a:moveTo>
                    <a:pt x="291" y="280"/>
                  </a:moveTo>
                  <a:lnTo>
                    <a:pt x="291" y="280"/>
                  </a:lnTo>
                  <a:lnTo>
                    <a:pt x="291" y="280"/>
                  </a:lnTo>
                  <a:close/>
                  <a:moveTo>
                    <a:pt x="182" y="280"/>
                  </a:move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close/>
                  <a:moveTo>
                    <a:pt x="182" y="279"/>
                  </a:moveTo>
                  <a:lnTo>
                    <a:pt x="182" y="279"/>
                  </a:lnTo>
                  <a:lnTo>
                    <a:pt x="182" y="279"/>
                  </a:lnTo>
                  <a:close/>
                  <a:moveTo>
                    <a:pt x="177" y="274"/>
                  </a:moveTo>
                  <a:lnTo>
                    <a:pt x="177" y="275"/>
                  </a:lnTo>
                  <a:lnTo>
                    <a:pt x="177" y="274"/>
                  </a:lnTo>
                  <a:close/>
                  <a:moveTo>
                    <a:pt x="176" y="273"/>
                  </a:moveTo>
                  <a:lnTo>
                    <a:pt x="176" y="274"/>
                  </a:lnTo>
                  <a:lnTo>
                    <a:pt x="176" y="273"/>
                  </a:lnTo>
                  <a:lnTo>
                    <a:pt x="176" y="274"/>
                  </a:lnTo>
                  <a:lnTo>
                    <a:pt x="176" y="273"/>
                  </a:ln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6" y="274"/>
                  </a:moveTo>
                  <a:lnTo>
                    <a:pt x="176" y="273"/>
                  </a:lnTo>
                  <a:lnTo>
                    <a:pt x="176" y="274"/>
                  </a:lnTo>
                  <a:close/>
                  <a:moveTo>
                    <a:pt x="176" y="273"/>
                  </a:move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7" y="272"/>
                  </a:moveTo>
                  <a:lnTo>
                    <a:pt x="176" y="272"/>
                  </a:lnTo>
                  <a:lnTo>
                    <a:pt x="177" y="272"/>
                  </a:lnTo>
                  <a:close/>
                  <a:moveTo>
                    <a:pt x="176" y="271"/>
                  </a:moveTo>
                  <a:lnTo>
                    <a:pt x="176" y="272"/>
                  </a:lnTo>
                  <a:lnTo>
                    <a:pt x="176" y="271"/>
                  </a:lnTo>
                  <a:close/>
                  <a:moveTo>
                    <a:pt x="176" y="272"/>
                  </a:moveTo>
                  <a:lnTo>
                    <a:pt x="176" y="272"/>
                  </a:lnTo>
                  <a:lnTo>
                    <a:pt x="176" y="272"/>
                  </a:lnTo>
                  <a:lnTo>
                    <a:pt x="176" y="271"/>
                  </a:lnTo>
                  <a:lnTo>
                    <a:pt x="176" y="271"/>
                  </a:lnTo>
                  <a:lnTo>
                    <a:pt x="176" y="272"/>
                  </a:lnTo>
                  <a:close/>
                  <a:moveTo>
                    <a:pt x="294" y="271"/>
                  </a:moveTo>
                  <a:lnTo>
                    <a:pt x="295" y="271"/>
                  </a:lnTo>
                  <a:lnTo>
                    <a:pt x="294" y="271"/>
                  </a:lnTo>
                  <a:close/>
                  <a:moveTo>
                    <a:pt x="174" y="270"/>
                  </a:moveTo>
                  <a:lnTo>
                    <a:pt x="174" y="270"/>
                  </a:lnTo>
                  <a:lnTo>
                    <a:pt x="174" y="270"/>
                  </a:lnTo>
                  <a:close/>
                  <a:moveTo>
                    <a:pt x="295" y="270"/>
                  </a:moveTo>
                  <a:lnTo>
                    <a:pt x="295" y="269"/>
                  </a:lnTo>
                  <a:lnTo>
                    <a:pt x="295" y="270"/>
                  </a:lnTo>
                  <a:close/>
                  <a:moveTo>
                    <a:pt x="153" y="271"/>
                  </a:moveTo>
                  <a:lnTo>
                    <a:pt x="153" y="271"/>
                  </a:lnTo>
                  <a:lnTo>
                    <a:pt x="153" y="272"/>
                  </a:lnTo>
                  <a:lnTo>
                    <a:pt x="152" y="272"/>
                  </a:lnTo>
                  <a:lnTo>
                    <a:pt x="152" y="271"/>
                  </a:lnTo>
                  <a:lnTo>
                    <a:pt x="152" y="271"/>
                  </a:lnTo>
                  <a:lnTo>
                    <a:pt x="151" y="271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2" y="270"/>
                  </a:lnTo>
                  <a:lnTo>
                    <a:pt x="152" y="269"/>
                  </a:lnTo>
                  <a:lnTo>
                    <a:pt x="152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1"/>
                  </a:lnTo>
                  <a:close/>
                  <a:moveTo>
                    <a:pt x="302" y="266"/>
                  </a:moveTo>
                  <a:lnTo>
                    <a:pt x="302" y="267"/>
                  </a:lnTo>
                  <a:lnTo>
                    <a:pt x="302" y="266"/>
                  </a:lnTo>
                  <a:lnTo>
                    <a:pt x="302" y="266"/>
                  </a:lnTo>
                  <a:close/>
                  <a:moveTo>
                    <a:pt x="135" y="265"/>
                  </a:moveTo>
                  <a:lnTo>
                    <a:pt x="135" y="266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close/>
                  <a:moveTo>
                    <a:pt x="140" y="264"/>
                  </a:moveTo>
                  <a:lnTo>
                    <a:pt x="140" y="265"/>
                  </a:lnTo>
                  <a:lnTo>
                    <a:pt x="141" y="265"/>
                  </a:lnTo>
                  <a:lnTo>
                    <a:pt x="140" y="265"/>
                  </a:lnTo>
                  <a:lnTo>
                    <a:pt x="140" y="264"/>
                  </a:lnTo>
                  <a:close/>
                  <a:moveTo>
                    <a:pt x="134" y="264"/>
                  </a:moveTo>
                  <a:lnTo>
                    <a:pt x="134" y="265"/>
                  </a:lnTo>
                  <a:lnTo>
                    <a:pt x="134" y="264"/>
                  </a:lnTo>
                  <a:lnTo>
                    <a:pt x="134" y="265"/>
                  </a:lnTo>
                  <a:lnTo>
                    <a:pt x="134" y="264"/>
                  </a:lnTo>
                  <a:close/>
                  <a:moveTo>
                    <a:pt x="302" y="264"/>
                  </a:moveTo>
                  <a:lnTo>
                    <a:pt x="303" y="264"/>
                  </a:lnTo>
                  <a:lnTo>
                    <a:pt x="302" y="264"/>
                  </a:lnTo>
                  <a:close/>
                  <a:moveTo>
                    <a:pt x="175" y="264"/>
                  </a:moveTo>
                  <a:lnTo>
                    <a:pt x="176" y="264"/>
                  </a:lnTo>
                  <a:lnTo>
                    <a:pt x="175" y="264"/>
                  </a:lnTo>
                  <a:close/>
                  <a:moveTo>
                    <a:pt x="176" y="264"/>
                  </a:move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close/>
                  <a:moveTo>
                    <a:pt x="138" y="264"/>
                  </a:moveTo>
                  <a:lnTo>
                    <a:pt x="138" y="264"/>
                  </a:lnTo>
                  <a:lnTo>
                    <a:pt x="138" y="264"/>
                  </a:lnTo>
                  <a:close/>
                  <a:moveTo>
                    <a:pt x="135" y="263"/>
                  </a:moveTo>
                  <a:lnTo>
                    <a:pt x="135" y="264"/>
                  </a:lnTo>
                  <a:lnTo>
                    <a:pt x="135" y="263"/>
                  </a:lnTo>
                  <a:close/>
                  <a:moveTo>
                    <a:pt x="175" y="263"/>
                  </a:moveTo>
                  <a:lnTo>
                    <a:pt x="176" y="263"/>
                  </a:lnTo>
                  <a:lnTo>
                    <a:pt x="175" y="263"/>
                  </a:lnTo>
                  <a:close/>
                  <a:moveTo>
                    <a:pt x="134" y="262"/>
                  </a:moveTo>
                  <a:lnTo>
                    <a:pt x="134" y="262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2"/>
                  </a:lnTo>
                  <a:close/>
                  <a:moveTo>
                    <a:pt x="175" y="262"/>
                  </a:moveTo>
                  <a:lnTo>
                    <a:pt x="174" y="262"/>
                  </a:lnTo>
                  <a:lnTo>
                    <a:pt x="175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3" y="262"/>
                  </a:moveTo>
                  <a:lnTo>
                    <a:pt x="133" y="262"/>
                  </a:lnTo>
                  <a:lnTo>
                    <a:pt x="133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2" y="262"/>
                  </a:moveTo>
                  <a:lnTo>
                    <a:pt x="133" y="262"/>
                  </a:lnTo>
                  <a:lnTo>
                    <a:pt x="132" y="262"/>
                  </a:lnTo>
                  <a:close/>
                  <a:moveTo>
                    <a:pt x="173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close/>
                  <a:moveTo>
                    <a:pt x="174" y="262"/>
                  </a:move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1" y="261"/>
                  </a:moveTo>
                  <a:lnTo>
                    <a:pt x="131" y="262"/>
                  </a:lnTo>
                  <a:lnTo>
                    <a:pt x="131" y="261"/>
                  </a:lnTo>
                  <a:close/>
                  <a:moveTo>
                    <a:pt x="174" y="261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33" y="261"/>
                  </a:moveTo>
                  <a:lnTo>
                    <a:pt x="133" y="261"/>
                  </a:lnTo>
                  <a:lnTo>
                    <a:pt x="133" y="261"/>
                  </a:lnTo>
                  <a:close/>
                  <a:moveTo>
                    <a:pt x="174" y="261"/>
                  </a:move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28" y="261"/>
                  </a:moveTo>
                  <a:lnTo>
                    <a:pt x="128" y="262"/>
                  </a:lnTo>
                  <a:lnTo>
                    <a:pt x="128" y="261"/>
                  </a:lnTo>
                  <a:close/>
                  <a:moveTo>
                    <a:pt x="171" y="261"/>
                  </a:moveTo>
                  <a:lnTo>
                    <a:pt x="171" y="261"/>
                  </a:lnTo>
                  <a:lnTo>
                    <a:pt x="171" y="261"/>
                  </a:lnTo>
                  <a:close/>
                  <a:moveTo>
                    <a:pt x="172" y="261"/>
                  </a:moveTo>
                  <a:lnTo>
                    <a:pt x="171" y="261"/>
                  </a:lnTo>
                  <a:lnTo>
                    <a:pt x="172" y="261"/>
                  </a:lnTo>
                  <a:close/>
                  <a:moveTo>
                    <a:pt x="171" y="261"/>
                  </a:moveTo>
                  <a:lnTo>
                    <a:pt x="170" y="261"/>
                  </a:lnTo>
                  <a:lnTo>
                    <a:pt x="171" y="261"/>
                  </a:lnTo>
                  <a:lnTo>
                    <a:pt x="170" y="261"/>
                  </a:lnTo>
                  <a:lnTo>
                    <a:pt x="171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169" y="261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304" y="261"/>
                  </a:moveTo>
                  <a:lnTo>
                    <a:pt x="303" y="261"/>
                  </a:lnTo>
                  <a:lnTo>
                    <a:pt x="304" y="261"/>
                  </a:lnTo>
                  <a:close/>
                  <a:moveTo>
                    <a:pt x="169" y="261"/>
                  </a:move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27" y="261"/>
                  </a:moveTo>
                  <a:lnTo>
                    <a:pt x="127" y="261"/>
                  </a:lnTo>
                  <a:lnTo>
                    <a:pt x="127" y="261"/>
                  </a:lnTo>
                  <a:close/>
                  <a:moveTo>
                    <a:pt x="128" y="261"/>
                  </a:moveTo>
                  <a:lnTo>
                    <a:pt x="129" y="261"/>
                  </a:lnTo>
                  <a:lnTo>
                    <a:pt x="129" y="261"/>
                  </a:lnTo>
                  <a:lnTo>
                    <a:pt x="129" y="262"/>
                  </a:lnTo>
                  <a:lnTo>
                    <a:pt x="128" y="262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close/>
                  <a:moveTo>
                    <a:pt x="123" y="261"/>
                  </a:moveTo>
                  <a:lnTo>
                    <a:pt x="123" y="260"/>
                  </a:lnTo>
                  <a:lnTo>
                    <a:pt x="123" y="261"/>
                  </a:lnTo>
                  <a:close/>
                  <a:moveTo>
                    <a:pt x="127" y="261"/>
                  </a:moveTo>
                  <a:lnTo>
                    <a:pt x="127" y="260"/>
                  </a:lnTo>
                  <a:lnTo>
                    <a:pt x="127" y="261"/>
                  </a:lnTo>
                  <a:close/>
                  <a:moveTo>
                    <a:pt x="124" y="260"/>
                  </a:moveTo>
                  <a:lnTo>
                    <a:pt x="124" y="261"/>
                  </a:lnTo>
                  <a:lnTo>
                    <a:pt x="124" y="260"/>
                  </a:lnTo>
                  <a:close/>
                  <a:moveTo>
                    <a:pt x="168" y="261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close/>
                  <a:moveTo>
                    <a:pt x="126" y="260"/>
                  </a:moveTo>
                  <a:lnTo>
                    <a:pt x="126" y="261"/>
                  </a:lnTo>
                  <a:lnTo>
                    <a:pt x="125" y="261"/>
                  </a:lnTo>
                  <a:lnTo>
                    <a:pt x="125" y="260"/>
                  </a:lnTo>
                  <a:lnTo>
                    <a:pt x="126" y="260"/>
                  </a:lnTo>
                  <a:close/>
                  <a:moveTo>
                    <a:pt x="169" y="260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9" y="260"/>
                  </a:lnTo>
                  <a:close/>
                  <a:moveTo>
                    <a:pt x="126" y="260"/>
                  </a:moveTo>
                  <a:lnTo>
                    <a:pt x="126" y="260"/>
                  </a:lnTo>
                  <a:lnTo>
                    <a:pt x="126" y="260"/>
                  </a:lnTo>
                  <a:close/>
                  <a:moveTo>
                    <a:pt x="168" y="260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close/>
                  <a:moveTo>
                    <a:pt x="166" y="259"/>
                  </a:moveTo>
                  <a:lnTo>
                    <a:pt x="166" y="260"/>
                  </a:lnTo>
                  <a:lnTo>
                    <a:pt x="167" y="260"/>
                  </a:lnTo>
                  <a:lnTo>
                    <a:pt x="166" y="260"/>
                  </a:lnTo>
                  <a:lnTo>
                    <a:pt x="166" y="259"/>
                  </a:lnTo>
                  <a:close/>
                  <a:moveTo>
                    <a:pt x="187" y="260"/>
                  </a:moveTo>
                  <a:lnTo>
                    <a:pt x="187" y="259"/>
                  </a:lnTo>
                  <a:lnTo>
                    <a:pt x="187" y="259"/>
                  </a:lnTo>
                  <a:lnTo>
                    <a:pt x="187" y="260"/>
                  </a:lnTo>
                  <a:lnTo>
                    <a:pt x="187" y="260"/>
                  </a:lnTo>
                  <a:close/>
                  <a:moveTo>
                    <a:pt x="187" y="259"/>
                  </a:moveTo>
                  <a:lnTo>
                    <a:pt x="187" y="259"/>
                  </a:lnTo>
                  <a:lnTo>
                    <a:pt x="187" y="259"/>
                  </a:lnTo>
                  <a:close/>
                  <a:moveTo>
                    <a:pt x="166" y="259"/>
                  </a:moveTo>
                  <a:lnTo>
                    <a:pt x="167" y="259"/>
                  </a:lnTo>
                  <a:lnTo>
                    <a:pt x="166" y="259"/>
                  </a:lnTo>
                  <a:close/>
                  <a:moveTo>
                    <a:pt x="165" y="259"/>
                  </a:moveTo>
                  <a:lnTo>
                    <a:pt x="164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5" y="259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3" y="258"/>
                  </a:moveTo>
                  <a:lnTo>
                    <a:pt x="163" y="258"/>
                  </a:lnTo>
                  <a:lnTo>
                    <a:pt x="163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3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0" y="258"/>
                  </a:moveTo>
                  <a:lnTo>
                    <a:pt x="160" y="258"/>
                  </a:lnTo>
                  <a:lnTo>
                    <a:pt x="160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close/>
                  <a:moveTo>
                    <a:pt x="165" y="257"/>
                  </a:moveTo>
                  <a:lnTo>
                    <a:pt x="165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5" y="257"/>
                  </a:lnTo>
                  <a:close/>
                  <a:moveTo>
                    <a:pt x="162" y="257"/>
                  </a:moveTo>
                  <a:lnTo>
                    <a:pt x="162" y="258"/>
                  </a:lnTo>
                  <a:lnTo>
                    <a:pt x="162" y="257"/>
                  </a:lnTo>
                  <a:lnTo>
                    <a:pt x="162" y="258"/>
                  </a:lnTo>
                  <a:lnTo>
                    <a:pt x="162" y="257"/>
                  </a:lnTo>
                  <a:close/>
                  <a:moveTo>
                    <a:pt x="166" y="258"/>
                  </a:moveTo>
                  <a:lnTo>
                    <a:pt x="166" y="257"/>
                  </a:lnTo>
                  <a:lnTo>
                    <a:pt x="166" y="258"/>
                  </a:lnTo>
                  <a:close/>
                  <a:moveTo>
                    <a:pt x="164" y="257"/>
                  </a:moveTo>
                  <a:lnTo>
                    <a:pt x="164" y="258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2" y="257"/>
                  </a:moveTo>
                  <a:lnTo>
                    <a:pt x="161" y="257"/>
                  </a:lnTo>
                  <a:lnTo>
                    <a:pt x="162" y="257"/>
                  </a:lnTo>
                  <a:close/>
                  <a:moveTo>
                    <a:pt x="126" y="257"/>
                  </a:moveTo>
                  <a:lnTo>
                    <a:pt x="127" y="257"/>
                  </a:lnTo>
                  <a:lnTo>
                    <a:pt x="127" y="258"/>
                  </a:lnTo>
                  <a:lnTo>
                    <a:pt x="126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3" y="257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3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6" y="257"/>
                  </a:moveTo>
                  <a:lnTo>
                    <a:pt x="166" y="257"/>
                  </a:lnTo>
                  <a:lnTo>
                    <a:pt x="166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1" y="257"/>
                  </a:lnTo>
                  <a:lnTo>
                    <a:pt x="161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59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21" y="257"/>
                  </a:moveTo>
                  <a:lnTo>
                    <a:pt x="121" y="257"/>
                  </a:lnTo>
                  <a:lnTo>
                    <a:pt x="121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26" y="257"/>
                  </a:moveTo>
                  <a:lnTo>
                    <a:pt x="125" y="257"/>
                  </a:lnTo>
                  <a:lnTo>
                    <a:pt x="126" y="257"/>
                  </a:lnTo>
                  <a:close/>
                  <a:moveTo>
                    <a:pt x="162" y="256"/>
                  </a:moveTo>
                  <a:lnTo>
                    <a:pt x="162" y="257"/>
                  </a:lnTo>
                  <a:lnTo>
                    <a:pt x="162" y="256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2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6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2" y="256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0" y="256"/>
                  </a:moveTo>
                  <a:lnTo>
                    <a:pt x="161" y="256"/>
                  </a:lnTo>
                  <a:lnTo>
                    <a:pt x="160" y="256"/>
                  </a:lnTo>
                  <a:lnTo>
                    <a:pt x="161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close/>
                  <a:moveTo>
                    <a:pt x="161" y="256"/>
                  </a:moveTo>
                  <a:lnTo>
                    <a:pt x="161" y="257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7"/>
                  </a:lnTo>
                  <a:lnTo>
                    <a:pt x="189" y="257"/>
                  </a:lnTo>
                  <a:lnTo>
                    <a:pt x="188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6"/>
                  </a:lnTo>
                  <a:close/>
                  <a:moveTo>
                    <a:pt x="161" y="256"/>
                  </a:moveTo>
                  <a:lnTo>
                    <a:pt x="161" y="256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6"/>
                  </a:lnTo>
                  <a:lnTo>
                    <a:pt x="189" y="256"/>
                  </a:lnTo>
                  <a:close/>
                  <a:moveTo>
                    <a:pt x="164" y="256"/>
                  </a:moveTo>
                  <a:lnTo>
                    <a:pt x="164" y="257"/>
                  </a:lnTo>
                  <a:lnTo>
                    <a:pt x="164" y="256"/>
                  </a:lnTo>
                  <a:close/>
                  <a:moveTo>
                    <a:pt x="121" y="256"/>
                  </a:moveTo>
                  <a:lnTo>
                    <a:pt x="122" y="256"/>
                  </a:lnTo>
                  <a:lnTo>
                    <a:pt x="122" y="255"/>
                  </a:lnTo>
                  <a:lnTo>
                    <a:pt x="122" y="256"/>
                  </a:lnTo>
                  <a:lnTo>
                    <a:pt x="121" y="256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6"/>
                  </a:lnTo>
                  <a:lnTo>
                    <a:pt x="164" y="256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64" y="255"/>
                  </a:moveTo>
                  <a:lnTo>
                    <a:pt x="165" y="255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1" y="256"/>
                  </a:lnTo>
                  <a:lnTo>
                    <a:pt x="120" y="256"/>
                  </a:lnTo>
                  <a:lnTo>
                    <a:pt x="121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19" y="256"/>
                  </a:lnTo>
                  <a:lnTo>
                    <a:pt x="120" y="256"/>
                  </a:lnTo>
                  <a:lnTo>
                    <a:pt x="120" y="255"/>
                  </a:lnTo>
                  <a:lnTo>
                    <a:pt x="120" y="255"/>
                  </a:lnTo>
                  <a:lnTo>
                    <a:pt x="121" y="255"/>
                  </a:lnTo>
                  <a:close/>
                  <a:moveTo>
                    <a:pt x="161" y="255"/>
                  </a:moveTo>
                  <a:lnTo>
                    <a:pt x="161" y="256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0" y="256"/>
                  </a:lnTo>
                  <a:lnTo>
                    <a:pt x="161" y="255"/>
                  </a:lnTo>
                  <a:lnTo>
                    <a:pt x="161" y="255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2" y="255"/>
                  </a:lnTo>
                  <a:lnTo>
                    <a:pt x="121" y="255"/>
                  </a:lnTo>
                  <a:close/>
                  <a:moveTo>
                    <a:pt x="165" y="255"/>
                  </a:move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close/>
                  <a:moveTo>
                    <a:pt x="163" y="255"/>
                  </a:moveTo>
                  <a:lnTo>
                    <a:pt x="163" y="255"/>
                  </a:lnTo>
                  <a:lnTo>
                    <a:pt x="162" y="255"/>
                  </a:lnTo>
                  <a:lnTo>
                    <a:pt x="163" y="255"/>
                  </a:lnTo>
                  <a:lnTo>
                    <a:pt x="162" y="255"/>
                  </a:lnTo>
                  <a:lnTo>
                    <a:pt x="161" y="255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3" y="255"/>
                  </a:lnTo>
                  <a:close/>
                  <a:moveTo>
                    <a:pt x="120" y="255"/>
                  </a:moveTo>
                  <a:lnTo>
                    <a:pt x="121" y="255"/>
                  </a:lnTo>
                  <a:lnTo>
                    <a:pt x="120" y="255"/>
                  </a:lnTo>
                  <a:close/>
                  <a:moveTo>
                    <a:pt x="122" y="255"/>
                  </a:moveTo>
                  <a:lnTo>
                    <a:pt x="122" y="255"/>
                  </a:lnTo>
                  <a:lnTo>
                    <a:pt x="122" y="255"/>
                  </a:lnTo>
                  <a:lnTo>
                    <a:pt x="122" y="254"/>
                  </a:lnTo>
                  <a:lnTo>
                    <a:pt x="122" y="255"/>
                  </a:lnTo>
                  <a:close/>
                  <a:moveTo>
                    <a:pt x="305" y="254"/>
                  </a:moveTo>
                  <a:lnTo>
                    <a:pt x="305" y="255"/>
                  </a:lnTo>
                  <a:lnTo>
                    <a:pt x="304" y="255"/>
                  </a:lnTo>
                  <a:lnTo>
                    <a:pt x="304" y="254"/>
                  </a:lnTo>
                  <a:lnTo>
                    <a:pt x="305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3"/>
                  </a:move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16" y="253"/>
                  </a:moveTo>
                  <a:lnTo>
                    <a:pt x="116" y="253"/>
                  </a:lnTo>
                  <a:lnTo>
                    <a:pt x="116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3" y="253"/>
                  </a:moveTo>
                  <a:lnTo>
                    <a:pt x="122" y="253"/>
                  </a:lnTo>
                  <a:lnTo>
                    <a:pt x="122" y="253"/>
                  </a:lnTo>
                  <a:lnTo>
                    <a:pt x="123" y="253"/>
                  </a:lnTo>
                  <a:lnTo>
                    <a:pt x="122" y="253"/>
                  </a:lnTo>
                  <a:lnTo>
                    <a:pt x="123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302" y="253"/>
                  </a:moveTo>
                  <a:lnTo>
                    <a:pt x="302" y="253"/>
                  </a:lnTo>
                  <a:lnTo>
                    <a:pt x="302" y="253"/>
                  </a:lnTo>
                  <a:close/>
                  <a:moveTo>
                    <a:pt x="121" y="253"/>
                  </a:moveTo>
                  <a:lnTo>
                    <a:pt x="121" y="253"/>
                  </a:lnTo>
                  <a:lnTo>
                    <a:pt x="121" y="253"/>
                  </a:lnTo>
                  <a:close/>
                  <a:moveTo>
                    <a:pt x="122" y="253"/>
                  </a:moveTo>
                  <a:lnTo>
                    <a:pt x="121" y="253"/>
                  </a:lnTo>
                  <a:lnTo>
                    <a:pt x="122" y="253"/>
                  </a:lnTo>
                  <a:close/>
                  <a:moveTo>
                    <a:pt x="126" y="253"/>
                  </a:moveTo>
                  <a:lnTo>
                    <a:pt x="127" y="253"/>
                  </a:lnTo>
                  <a:lnTo>
                    <a:pt x="126" y="253"/>
                  </a:lnTo>
                  <a:close/>
                  <a:moveTo>
                    <a:pt x="163" y="253"/>
                  </a:moveTo>
                  <a:lnTo>
                    <a:pt x="164" y="253"/>
                  </a:lnTo>
                  <a:lnTo>
                    <a:pt x="163" y="253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close/>
                  <a:moveTo>
                    <a:pt x="120" y="253"/>
                  </a:moveTo>
                  <a:lnTo>
                    <a:pt x="119" y="253"/>
                  </a:lnTo>
                  <a:lnTo>
                    <a:pt x="120" y="253"/>
                  </a:lnTo>
                  <a:lnTo>
                    <a:pt x="119" y="253"/>
                  </a:lnTo>
                  <a:lnTo>
                    <a:pt x="120" y="253"/>
                  </a:ln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20" y="253"/>
                  </a:move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63" y="253"/>
                  </a:moveTo>
                  <a:lnTo>
                    <a:pt x="163" y="252"/>
                  </a:lnTo>
                  <a:lnTo>
                    <a:pt x="163" y="253"/>
                  </a:lnTo>
                  <a:close/>
                  <a:moveTo>
                    <a:pt x="128" y="252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close/>
                  <a:moveTo>
                    <a:pt x="299" y="251"/>
                  </a:moveTo>
                  <a:lnTo>
                    <a:pt x="299" y="252"/>
                  </a:lnTo>
                  <a:lnTo>
                    <a:pt x="299" y="251"/>
                  </a:lnTo>
                  <a:close/>
                  <a:moveTo>
                    <a:pt x="129" y="251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9" y="251"/>
                  </a:lnTo>
                  <a:close/>
                  <a:moveTo>
                    <a:pt x="119" y="251"/>
                  </a:moveTo>
                  <a:lnTo>
                    <a:pt x="120" y="251"/>
                  </a:lnTo>
                  <a:lnTo>
                    <a:pt x="119" y="251"/>
                  </a:lnTo>
                  <a:lnTo>
                    <a:pt x="119" y="251"/>
                  </a:lnTo>
                  <a:lnTo>
                    <a:pt x="119" y="251"/>
                  </a:lnTo>
                  <a:close/>
                  <a:moveTo>
                    <a:pt x="119" y="250"/>
                  </a:moveTo>
                  <a:lnTo>
                    <a:pt x="119" y="251"/>
                  </a:lnTo>
                  <a:lnTo>
                    <a:pt x="118" y="251"/>
                  </a:lnTo>
                  <a:lnTo>
                    <a:pt x="119" y="251"/>
                  </a:lnTo>
                  <a:lnTo>
                    <a:pt x="119" y="250"/>
                  </a:lnTo>
                  <a:close/>
                  <a:moveTo>
                    <a:pt x="298" y="250"/>
                  </a:moveTo>
                  <a:lnTo>
                    <a:pt x="298" y="251"/>
                  </a:lnTo>
                  <a:lnTo>
                    <a:pt x="298" y="250"/>
                  </a:lnTo>
                  <a:lnTo>
                    <a:pt x="298" y="251"/>
                  </a:lnTo>
                  <a:lnTo>
                    <a:pt x="298" y="250"/>
                  </a:lnTo>
                  <a:close/>
                  <a:moveTo>
                    <a:pt x="272" y="250"/>
                  </a:moveTo>
                  <a:lnTo>
                    <a:pt x="272" y="251"/>
                  </a:lnTo>
                  <a:lnTo>
                    <a:pt x="273" y="251"/>
                  </a:lnTo>
                  <a:lnTo>
                    <a:pt x="273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lnTo>
                    <a:pt x="299" y="251"/>
                  </a:lnTo>
                  <a:lnTo>
                    <a:pt x="299" y="250"/>
                  </a:lnTo>
                  <a:lnTo>
                    <a:pt x="299" y="250"/>
                  </a:lnTo>
                  <a:close/>
                  <a:moveTo>
                    <a:pt x="119" y="250"/>
                  </a:moveTo>
                  <a:lnTo>
                    <a:pt x="118" y="250"/>
                  </a:lnTo>
                  <a:lnTo>
                    <a:pt x="119" y="250"/>
                  </a:lnTo>
                  <a:close/>
                  <a:moveTo>
                    <a:pt x="126" y="250"/>
                  </a:move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close/>
                  <a:moveTo>
                    <a:pt x="206" y="250"/>
                  </a:moveTo>
                  <a:lnTo>
                    <a:pt x="205" y="250"/>
                  </a:lnTo>
                  <a:lnTo>
                    <a:pt x="206" y="250"/>
                  </a:lnTo>
                  <a:close/>
                  <a:moveTo>
                    <a:pt x="127" y="250"/>
                  </a:moveTo>
                  <a:lnTo>
                    <a:pt x="127" y="250"/>
                  </a:lnTo>
                  <a:lnTo>
                    <a:pt x="127" y="250"/>
                  </a:lnTo>
                  <a:lnTo>
                    <a:pt x="128" y="250"/>
                  </a:lnTo>
                  <a:lnTo>
                    <a:pt x="127" y="250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3"/>
                  </a:lnTo>
                  <a:lnTo>
                    <a:pt x="127" y="253"/>
                  </a:lnTo>
                  <a:lnTo>
                    <a:pt x="127" y="253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5" y="251"/>
                  </a:lnTo>
                  <a:lnTo>
                    <a:pt x="125" y="251"/>
                  </a:lnTo>
                  <a:lnTo>
                    <a:pt x="125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7" y="250"/>
                  </a:lnTo>
                  <a:close/>
                  <a:moveTo>
                    <a:pt x="129" y="250"/>
                  </a:move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close/>
                  <a:moveTo>
                    <a:pt x="205" y="250"/>
                  </a:moveTo>
                  <a:lnTo>
                    <a:pt x="204" y="250"/>
                  </a:lnTo>
                  <a:lnTo>
                    <a:pt x="205" y="250"/>
                  </a:lnTo>
                  <a:lnTo>
                    <a:pt x="204" y="250"/>
                  </a:lnTo>
                  <a:lnTo>
                    <a:pt x="205" y="250"/>
                  </a:lnTo>
                  <a:close/>
                  <a:moveTo>
                    <a:pt x="204" y="250"/>
                  </a:moveTo>
                  <a:lnTo>
                    <a:pt x="204" y="249"/>
                  </a:lnTo>
                  <a:lnTo>
                    <a:pt x="204" y="250"/>
                  </a:lnTo>
                  <a:close/>
                  <a:moveTo>
                    <a:pt x="135" y="249"/>
                  </a:moveTo>
                  <a:lnTo>
                    <a:pt x="135" y="250"/>
                  </a:lnTo>
                  <a:lnTo>
                    <a:pt x="135" y="249"/>
                  </a:lnTo>
                  <a:lnTo>
                    <a:pt x="136" y="249"/>
                  </a:lnTo>
                  <a:lnTo>
                    <a:pt x="135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03" y="249"/>
                  </a:moveTo>
                  <a:lnTo>
                    <a:pt x="203" y="249"/>
                  </a:lnTo>
                  <a:lnTo>
                    <a:pt x="203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65" y="249"/>
                  </a:moveTo>
                  <a:lnTo>
                    <a:pt x="265" y="249"/>
                  </a:lnTo>
                  <a:lnTo>
                    <a:pt x="265" y="249"/>
                  </a:lnTo>
                  <a:close/>
                  <a:moveTo>
                    <a:pt x="267" y="249"/>
                  </a:moveTo>
                  <a:lnTo>
                    <a:pt x="267" y="249"/>
                  </a:lnTo>
                  <a:lnTo>
                    <a:pt x="267" y="249"/>
                  </a:lnTo>
                  <a:close/>
                  <a:moveTo>
                    <a:pt x="202" y="248"/>
                  </a:moveTo>
                  <a:lnTo>
                    <a:pt x="203" y="248"/>
                  </a:lnTo>
                  <a:lnTo>
                    <a:pt x="202" y="248"/>
                  </a:lnTo>
                  <a:close/>
                  <a:moveTo>
                    <a:pt x="265" y="247"/>
                  </a:moveTo>
                  <a:lnTo>
                    <a:pt x="265" y="248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4" y="248"/>
                  </a:moveTo>
                  <a:lnTo>
                    <a:pt x="264" y="247"/>
                  </a:lnTo>
                  <a:lnTo>
                    <a:pt x="265" y="248"/>
                  </a:lnTo>
                  <a:lnTo>
                    <a:pt x="264" y="248"/>
                  </a:lnTo>
                  <a:close/>
                  <a:moveTo>
                    <a:pt x="265" y="248"/>
                  </a:moveTo>
                  <a:lnTo>
                    <a:pt x="264" y="247"/>
                  </a:lnTo>
                  <a:lnTo>
                    <a:pt x="265" y="247"/>
                  </a:lnTo>
                  <a:lnTo>
                    <a:pt x="265" y="248"/>
                  </a:lnTo>
                  <a:close/>
                  <a:moveTo>
                    <a:pt x="265" y="247"/>
                  </a:move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9" y="247"/>
                  </a:moveTo>
                  <a:lnTo>
                    <a:pt x="268" y="247"/>
                  </a:lnTo>
                  <a:lnTo>
                    <a:pt x="269" y="247"/>
                  </a:lnTo>
                  <a:close/>
                  <a:moveTo>
                    <a:pt x="265" y="247"/>
                  </a:moveTo>
                  <a:lnTo>
                    <a:pt x="266" y="247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116" y="247"/>
                  </a:move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116" y="247"/>
                  </a:moveTo>
                  <a:lnTo>
                    <a:pt x="115" y="247"/>
                  </a:ln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264" y="247"/>
                  </a:moveTo>
                  <a:lnTo>
                    <a:pt x="264" y="247"/>
                  </a:lnTo>
                  <a:lnTo>
                    <a:pt x="263" y="247"/>
                  </a:lnTo>
                  <a:lnTo>
                    <a:pt x="264" y="247"/>
                  </a:lnTo>
                  <a:lnTo>
                    <a:pt x="263" y="247"/>
                  </a:lnTo>
                  <a:lnTo>
                    <a:pt x="263" y="247"/>
                  </a:lnTo>
                  <a:lnTo>
                    <a:pt x="264" y="247"/>
                  </a:lnTo>
                  <a:close/>
                  <a:moveTo>
                    <a:pt x="117" y="247"/>
                  </a:moveTo>
                  <a:lnTo>
                    <a:pt x="118" y="247"/>
                  </a:lnTo>
                  <a:lnTo>
                    <a:pt x="117" y="247"/>
                  </a:lnTo>
                  <a:close/>
                  <a:moveTo>
                    <a:pt x="262" y="247"/>
                  </a:moveTo>
                  <a:lnTo>
                    <a:pt x="261" y="247"/>
                  </a:lnTo>
                  <a:lnTo>
                    <a:pt x="262" y="247"/>
                  </a:lnTo>
                  <a:close/>
                  <a:moveTo>
                    <a:pt x="261" y="247"/>
                  </a:moveTo>
                  <a:lnTo>
                    <a:pt x="260" y="247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61" y="247"/>
                  </a:moveTo>
                  <a:lnTo>
                    <a:pt x="261" y="247"/>
                  </a:lnTo>
                  <a:lnTo>
                    <a:pt x="260" y="247"/>
                  </a:lnTo>
                  <a:lnTo>
                    <a:pt x="260" y="246"/>
                  </a:lnTo>
                  <a:lnTo>
                    <a:pt x="261" y="246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02" y="246"/>
                  </a:moveTo>
                  <a:lnTo>
                    <a:pt x="202" y="247"/>
                  </a:lnTo>
                  <a:lnTo>
                    <a:pt x="202" y="246"/>
                  </a:lnTo>
                  <a:lnTo>
                    <a:pt x="201" y="246"/>
                  </a:lnTo>
                  <a:lnTo>
                    <a:pt x="202" y="246"/>
                  </a:lnTo>
                  <a:close/>
                  <a:moveTo>
                    <a:pt x="258" y="246"/>
                  </a:moveTo>
                  <a:lnTo>
                    <a:pt x="259" y="247"/>
                  </a:lnTo>
                  <a:lnTo>
                    <a:pt x="258" y="247"/>
                  </a:lnTo>
                  <a:lnTo>
                    <a:pt x="258" y="246"/>
                  </a:lnTo>
                  <a:close/>
                  <a:moveTo>
                    <a:pt x="272" y="246"/>
                  </a:moveTo>
                  <a:lnTo>
                    <a:pt x="271" y="246"/>
                  </a:lnTo>
                  <a:lnTo>
                    <a:pt x="271" y="246"/>
                  </a:lnTo>
                  <a:lnTo>
                    <a:pt x="271" y="247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3" y="246"/>
                  </a:moveTo>
                  <a:lnTo>
                    <a:pt x="273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3" y="246"/>
                  </a:lnTo>
                  <a:lnTo>
                    <a:pt x="273" y="246"/>
                  </a:lnTo>
                  <a:close/>
                  <a:moveTo>
                    <a:pt x="272" y="246"/>
                  </a:moveTo>
                  <a:lnTo>
                    <a:pt x="272" y="246"/>
                  </a:lnTo>
                  <a:lnTo>
                    <a:pt x="272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5" y="246"/>
                  </a:lnTo>
                  <a:lnTo>
                    <a:pt x="276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close/>
                  <a:moveTo>
                    <a:pt x="201" y="246"/>
                  </a:move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close/>
                  <a:moveTo>
                    <a:pt x="298" y="245"/>
                  </a:moveTo>
                  <a:lnTo>
                    <a:pt x="298" y="245"/>
                  </a:lnTo>
                  <a:lnTo>
                    <a:pt x="298" y="245"/>
                  </a:lnTo>
                  <a:close/>
                  <a:moveTo>
                    <a:pt x="199" y="245"/>
                  </a:moveTo>
                  <a:lnTo>
                    <a:pt x="200" y="245"/>
                  </a:lnTo>
                  <a:lnTo>
                    <a:pt x="199" y="245"/>
                  </a:lnTo>
                  <a:close/>
                  <a:moveTo>
                    <a:pt x="276" y="245"/>
                  </a:moveTo>
                  <a:lnTo>
                    <a:pt x="276" y="244"/>
                  </a:lnTo>
                  <a:lnTo>
                    <a:pt x="276" y="245"/>
                  </a:lnTo>
                  <a:close/>
                  <a:moveTo>
                    <a:pt x="298" y="244"/>
                  </a:moveTo>
                  <a:lnTo>
                    <a:pt x="298" y="245"/>
                  </a:lnTo>
                  <a:lnTo>
                    <a:pt x="298" y="244"/>
                  </a:lnTo>
                  <a:close/>
                  <a:moveTo>
                    <a:pt x="258" y="245"/>
                  </a:moveTo>
                  <a:lnTo>
                    <a:pt x="258" y="245"/>
                  </a:lnTo>
                  <a:lnTo>
                    <a:pt x="258" y="245"/>
                  </a:lnTo>
                  <a:lnTo>
                    <a:pt x="258" y="244"/>
                  </a:lnTo>
                  <a:lnTo>
                    <a:pt x="258" y="245"/>
                  </a:lnTo>
                  <a:close/>
                  <a:moveTo>
                    <a:pt x="119" y="244"/>
                  </a:moveTo>
                  <a:lnTo>
                    <a:pt x="119" y="244"/>
                  </a:lnTo>
                  <a:lnTo>
                    <a:pt x="119" y="244"/>
                  </a:lnTo>
                  <a:close/>
                  <a:moveTo>
                    <a:pt x="198" y="244"/>
                  </a:moveTo>
                  <a:lnTo>
                    <a:pt x="198" y="244"/>
                  </a:lnTo>
                  <a:lnTo>
                    <a:pt x="198" y="244"/>
                  </a:lnTo>
                  <a:close/>
                  <a:moveTo>
                    <a:pt x="297" y="244"/>
                  </a:move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8" y="244"/>
                  </a:ln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296" y="244"/>
                  </a:moveTo>
                  <a:lnTo>
                    <a:pt x="297" y="244"/>
                  </a:lnTo>
                  <a:lnTo>
                    <a:pt x="296" y="244"/>
                  </a:lnTo>
                  <a:lnTo>
                    <a:pt x="296" y="243"/>
                  </a:lnTo>
                  <a:lnTo>
                    <a:pt x="296" y="244"/>
                  </a:lnTo>
                  <a:close/>
                  <a:moveTo>
                    <a:pt x="120" y="244"/>
                  </a:moveTo>
                  <a:lnTo>
                    <a:pt x="120" y="243"/>
                  </a:lnTo>
                  <a:lnTo>
                    <a:pt x="120" y="244"/>
                  </a:lnTo>
                  <a:close/>
                  <a:moveTo>
                    <a:pt x="277" y="244"/>
                  </a:moveTo>
                  <a:lnTo>
                    <a:pt x="278" y="243"/>
                  </a:lnTo>
                  <a:lnTo>
                    <a:pt x="278" y="244"/>
                  </a:lnTo>
                  <a:lnTo>
                    <a:pt x="277" y="244"/>
                  </a:lnTo>
                  <a:close/>
                  <a:moveTo>
                    <a:pt x="197" y="243"/>
                  </a:moveTo>
                  <a:lnTo>
                    <a:pt x="196" y="243"/>
                  </a:lnTo>
                  <a:lnTo>
                    <a:pt x="197" y="243"/>
                  </a:lnTo>
                  <a:close/>
                  <a:moveTo>
                    <a:pt x="258" y="244"/>
                  </a:moveTo>
                  <a:lnTo>
                    <a:pt x="259" y="244"/>
                  </a:lnTo>
                  <a:lnTo>
                    <a:pt x="258" y="244"/>
                  </a:lnTo>
                  <a:lnTo>
                    <a:pt x="259" y="244"/>
                  </a:lnTo>
                  <a:lnTo>
                    <a:pt x="258" y="244"/>
                  </a:lnTo>
                  <a:lnTo>
                    <a:pt x="258" y="244"/>
                  </a:lnTo>
                  <a:lnTo>
                    <a:pt x="258" y="243"/>
                  </a:lnTo>
                  <a:lnTo>
                    <a:pt x="259" y="243"/>
                  </a:lnTo>
                  <a:lnTo>
                    <a:pt x="259" y="244"/>
                  </a:lnTo>
                  <a:lnTo>
                    <a:pt x="258" y="244"/>
                  </a:lnTo>
                  <a:close/>
                  <a:moveTo>
                    <a:pt x="196" y="243"/>
                  </a:moveTo>
                  <a:lnTo>
                    <a:pt x="196" y="243"/>
                  </a:lnTo>
                  <a:lnTo>
                    <a:pt x="196" y="243"/>
                  </a:lnTo>
                  <a:close/>
                  <a:moveTo>
                    <a:pt x="279" y="243"/>
                  </a:moveTo>
                  <a:lnTo>
                    <a:pt x="279" y="243"/>
                  </a:lnTo>
                  <a:lnTo>
                    <a:pt x="279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21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96" y="242"/>
                  </a:moveTo>
                  <a:lnTo>
                    <a:pt x="196" y="243"/>
                  </a:lnTo>
                  <a:lnTo>
                    <a:pt x="196" y="242"/>
                  </a:lnTo>
                  <a:close/>
                  <a:moveTo>
                    <a:pt x="119" y="242"/>
                  </a:moveTo>
                  <a:lnTo>
                    <a:pt x="119" y="243"/>
                  </a:lnTo>
                  <a:lnTo>
                    <a:pt x="119" y="242"/>
                  </a:lnTo>
                  <a:close/>
                  <a:moveTo>
                    <a:pt x="280" y="242"/>
                  </a:moveTo>
                  <a:lnTo>
                    <a:pt x="280" y="243"/>
                  </a:lnTo>
                  <a:lnTo>
                    <a:pt x="280" y="242"/>
                  </a:lnTo>
                  <a:lnTo>
                    <a:pt x="280" y="242"/>
                  </a:lnTo>
                  <a:lnTo>
                    <a:pt x="280" y="242"/>
                  </a:lnTo>
                  <a:close/>
                  <a:moveTo>
                    <a:pt x="295" y="242"/>
                  </a:moveTo>
                  <a:lnTo>
                    <a:pt x="295" y="242"/>
                  </a:lnTo>
                  <a:lnTo>
                    <a:pt x="295" y="242"/>
                  </a:lnTo>
                  <a:close/>
                  <a:moveTo>
                    <a:pt x="259" y="242"/>
                  </a:move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close/>
                  <a:moveTo>
                    <a:pt x="280" y="242"/>
                  </a:moveTo>
                  <a:lnTo>
                    <a:pt x="281" y="242"/>
                  </a:lnTo>
                  <a:lnTo>
                    <a:pt x="280" y="242"/>
                  </a:lnTo>
                  <a:close/>
                  <a:moveTo>
                    <a:pt x="196" y="242"/>
                  </a:moveTo>
                  <a:lnTo>
                    <a:pt x="195" y="242"/>
                  </a:lnTo>
                  <a:lnTo>
                    <a:pt x="196" y="242"/>
                  </a:lnTo>
                  <a:lnTo>
                    <a:pt x="195" y="242"/>
                  </a:lnTo>
                  <a:lnTo>
                    <a:pt x="196" y="242"/>
                  </a:lnTo>
                  <a:lnTo>
                    <a:pt x="196" y="242"/>
                  </a:lnTo>
                  <a:close/>
                  <a:moveTo>
                    <a:pt x="260" y="242"/>
                  </a:moveTo>
                  <a:lnTo>
                    <a:pt x="259" y="242"/>
                  </a:lnTo>
                  <a:lnTo>
                    <a:pt x="260" y="242"/>
                  </a:lnTo>
                  <a:lnTo>
                    <a:pt x="260" y="241"/>
                  </a:lnTo>
                  <a:lnTo>
                    <a:pt x="260" y="242"/>
                  </a:lnTo>
                  <a:close/>
                  <a:moveTo>
                    <a:pt x="259" y="241"/>
                  </a:moveTo>
                  <a:lnTo>
                    <a:pt x="260" y="241"/>
                  </a:lnTo>
                  <a:lnTo>
                    <a:pt x="259" y="242"/>
                  </a:lnTo>
                  <a:lnTo>
                    <a:pt x="259" y="241"/>
                  </a:lnTo>
                  <a:close/>
                  <a:moveTo>
                    <a:pt x="195" y="241"/>
                  </a:moveTo>
                  <a:lnTo>
                    <a:pt x="195" y="240"/>
                  </a:lnTo>
                  <a:lnTo>
                    <a:pt x="195" y="241"/>
                  </a:lnTo>
                  <a:lnTo>
                    <a:pt x="195" y="240"/>
                  </a:lnTo>
                  <a:lnTo>
                    <a:pt x="195" y="241"/>
                  </a:lnTo>
                  <a:close/>
                  <a:moveTo>
                    <a:pt x="120" y="241"/>
                  </a:moveTo>
                  <a:lnTo>
                    <a:pt x="120" y="240"/>
                  </a:lnTo>
                  <a:lnTo>
                    <a:pt x="120" y="241"/>
                  </a:lnTo>
                  <a:close/>
                  <a:moveTo>
                    <a:pt x="120" y="240"/>
                  </a:moveTo>
                  <a:lnTo>
                    <a:pt x="120" y="241"/>
                  </a:lnTo>
                  <a:lnTo>
                    <a:pt x="120" y="240"/>
                  </a:lnTo>
                  <a:close/>
                  <a:moveTo>
                    <a:pt x="260" y="241"/>
                  </a:moveTo>
                  <a:lnTo>
                    <a:pt x="260" y="240"/>
                  </a:lnTo>
                  <a:lnTo>
                    <a:pt x="260" y="241"/>
                  </a:lnTo>
                  <a:close/>
                  <a:moveTo>
                    <a:pt x="297" y="240"/>
                  </a:moveTo>
                  <a:lnTo>
                    <a:pt x="296" y="240"/>
                  </a:lnTo>
                  <a:lnTo>
                    <a:pt x="297" y="240"/>
                  </a:lnTo>
                  <a:close/>
                  <a:moveTo>
                    <a:pt x="296" y="240"/>
                  </a:moveTo>
                  <a:lnTo>
                    <a:pt x="297" y="240"/>
                  </a:lnTo>
                  <a:lnTo>
                    <a:pt x="297" y="240"/>
                  </a:lnTo>
                  <a:lnTo>
                    <a:pt x="297" y="240"/>
                  </a:lnTo>
                  <a:lnTo>
                    <a:pt x="296" y="240"/>
                  </a:lnTo>
                  <a:lnTo>
                    <a:pt x="296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195" y="240"/>
                  </a:moveTo>
                  <a:lnTo>
                    <a:pt x="194" y="240"/>
                  </a:lnTo>
                  <a:lnTo>
                    <a:pt x="194" y="240"/>
                  </a:lnTo>
                  <a:lnTo>
                    <a:pt x="195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260" y="240"/>
                  </a:moveTo>
                  <a:lnTo>
                    <a:pt x="260" y="240"/>
                  </a:lnTo>
                  <a:lnTo>
                    <a:pt x="260" y="240"/>
                  </a:lnTo>
                  <a:close/>
                  <a:moveTo>
                    <a:pt x="261" y="240"/>
                  </a:moveTo>
                  <a:lnTo>
                    <a:pt x="260" y="240"/>
                  </a:lnTo>
                  <a:lnTo>
                    <a:pt x="261" y="240"/>
                  </a:lnTo>
                  <a:close/>
                  <a:moveTo>
                    <a:pt x="299" y="240"/>
                  </a:moveTo>
                  <a:lnTo>
                    <a:pt x="299" y="240"/>
                  </a:lnTo>
                  <a:lnTo>
                    <a:pt x="299" y="240"/>
                  </a:lnTo>
                  <a:lnTo>
                    <a:pt x="298" y="240"/>
                  </a:lnTo>
                  <a:lnTo>
                    <a:pt x="299" y="240"/>
                  </a:lnTo>
                  <a:close/>
                  <a:moveTo>
                    <a:pt x="261" y="239"/>
                  </a:moveTo>
                  <a:lnTo>
                    <a:pt x="261" y="240"/>
                  </a:lnTo>
                  <a:lnTo>
                    <a:pt x="261" y="240"/>
                  </a:lnTo>
                  <a:lnTo>
                    <a:pt x="261" y="239"/>
                  </a:lnTo>
                  <a:close/>
                  <a:moveTo>
                    <a:pt x="194" y="239"/>
                  </a:moveTo>
                  <a:lnTo>
                    <a:pt x="194" y="240"/>
                  </a:lnTo>
                  <a:lnTo>
                    <a:pt x="194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close/>
                  <a:moveTo>
                    <a:pt x="303" y="239"/>
                  </a:moveTo>
                  <a:lnTo>
                    <a:pt x="302" y="239"/>
                  </a:lnTo>
                  <a:lnTo>
                    <a:pt x="303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lnTo>
                    <a:pt x="262" y="239"/>
                  </a:lnTo>
                  <a:lnTo>
                    <a:pt x="262" y="239"/>
                  </a:lnTo>
                  <a:close/>
                  <a:moveTo>
                    <a:pt x="306" y="239"/>
                  </a:moveTo>
                  <a:lnTo>
                    <a:pt x="306" y="239"/>
                  </a:lnTo>
                  <a:lnTo>
                    <a:pt x="306" y="239"/>
                  </a:lnTo>
                  <a:close/>
                  <a:moveTo>
                    <a:pt x="305" y="239"/>
                  </a:moveTo>
                  <a:lnTo>
                    <a:pt x="305" y="239"/>
                  </a:lnTo>
                  <a:lnTo>
                    <a:pt x="305" y="239"/>
                  </a:lnTo>
                  <a:close/>
                  <a:moveTo>
                    <a:pt x="283" y="239"/>
                  </a:moveTo>
                  <a:lnTo>
                    <a:pt x="283" y="239"/>
                  </a:lnTo>
                  <a:lnTo>
                    <a:pt x="283" y="239"/>
                  </a:lnTo>
                  <a:close/>
                  <a:moveTo>
                    <a:pt x="262" y="238"/>
                  </a:moveTo>
                  <a:lnTo>
                    <a:pt x="262" y="239"/>
                  </a:lnTo>
                  <a:lnTo>
                    <a:pt x="262" y="238"/>
                  </a:lnTo>
                  <a:close/>
                  <a:moveTo>
                    <a:pt x="296" y="239"/>
                  </a:moveTo>
                  <a:lnTo>
                    <a:pt x="296" y="238"/>
                  </a:lnTo>
                  <a:lnTo>
                    <a:pt x="296" y="239"/>
                  </a:lnTo>
                  <a:close/>
                  <a:moveTo>
                    <a:pt x="263" y="238"/>
                  </a:moveTo>
                  <a:lnTo>
                    <a:pt x="263" y="239"/>
                  </a:lnTo>
                  <a:lnTo>
                    <a:pt x="262" y="238"/>
                  </a:lnTo>
                  <a:lnTo>
                    <a:pt x="263" y="238"/>
                  </a:lnTo>
                  <a:close/>
                  <a:moveTo>
                    <a:pt x="189" y="238"/>
                  </a:moveTo>
                  <a:lnTo>
                    <a:pt x="189" y="238"/>
                  </a:lnTo>
                  <a:lnTo>
                    <a:pt x="189" y="238"/>
                  </a:lnTo>
                  <a:close/>
                  <a:moveTo>
                    <a:pt x="262" y="238"/>
                  </a:moveTo>
                  <a:lnTo>
                    <a:pt x="262" y="238"/>
                  </a:lnTo>
                  <a:lnTo>
                    <a:pt x="262" y="238"/>
                  </a:lnTo>
                  <a:close/>
                  <a:moveTo>
                    <a:pt x="283" y="238"/>
                  </a:moveTo>
                  <a:lnTo>
                    <a:pt x="283" y="238"/>
                  </a:lnTo>
                  <a:lnTo>
                    <a:pt x="283" y="238"/>
                  </a:lnTo>
                  <a:close/>
                  <a:moveTo>
                    <a:pt x="295" y="238"/>
                  </a:move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close/>
                  <a:moveTo>
                    <a:pt x="306" y="238"/>
                  </a:moveTo>
                  <a:lnTo>
                    <a:pt x="306" y="238"/>
                  </a:lnTo>
                  <a:lnTo>
                    <a:pt x="306" y="238"/>
                  </a:lnTo>
                  <a:close/>
                  <a:moveTo>
                    <a:pt x="306" y="238"/>
                  </a:moveTo>
                  <a:lnTo>
                    <a:pt x="306" y="237"/>
                  </a:lnTo>
                  <a:lnTo>
                    <a:pt x="306" y="238"/>
                  </a:lnTo>
                  <a:close/>
                  <a:moveTo>
                    <a:pt x="307" y="237"/>
                  </a:move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7" y="237"/>
                  </a:lnTo>
                  <a:lnTo>
                    <a:pt x="306" y="237"/>
                  </a:lnTo>
                  <a:lnTo>
                    <a:pt x="307" y="237"/>
                  </a:lnTo>
                  <a:close/>
                  <a:moveTo>
                    <a:pt x="283" y="237"/>
                  </a:moveTo>
                  <a:lnTo>
                    <a:pt x="283" y="238"/>
                  </a:lnTo>
                  <a:lnTo>
                    <a:pt x="283" y="237"/>
                  </a:lnTo>
                  <a:lnTo>
                    <a:pt x="283" y="238"/>
                  </a:lnTo>
                  <a:lnTo>
                    <a:pt x="283" y="237"/>
                  </a:lnTo>
                  <a:lnTo>
                    <a:pt x="283" y="237"/>
                  </a:lnTo>
                  <a:lnTo>
                    <a:pt x="283" y="236"/>
                  </a:lnTo>
                  <a:lnTo>
                    <a:pt x="284" y="236"/>
                  </a:lnTo>
                  <a:lnTo>
                    <a:pt x="284" y="237"/>
                  </a:lnTo>
                  <a:lnTo>
                    <a:pt x="283" y="237"/>
                  </a:lnTo>
                  <a:close/>
                  <a:moveTo>
                    <a:pt x="262" y="236"/>
                  </a:moveTo>
                  <a:lnTo>
                    <a:pt x="262" y="237"/>
                  </a:lnTo>
                  <a:lnTo>
                    <a:pt x="262" y="236"/>
                  </a:lnTo>
                  <a:close/>
                  <a:moveTo>
                    <a:pt x="115" y="236"/>
                  </a:move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close/>
                  <a:moveTo>
                    <a:pt x="294" y="236"/>
                  </a:moveTo>
                  <a:lnTo>
                    <a:pt x="294" y="236"/>
                  </a:lnTo>
                  <a:lnTo>
                    <a:pt x="295" y="236"/>
                  </a:lnTo>
                  <a:lnTo>
                    <a:pt x="294" y="236"/>
                  </a:lnTo>
                  <a:lnTo>
                    <a:pt x="294" y="236"/>
                  </a:lnTo>
                  <a:close/>
                  <a:moveTo>
                    <a:pt x="308" y="236"/>
                  </a:moveTo>
                  <a:lnTo>
                    <a:pt x="308" y="236"/>
                  </a:lnTo>
                  <a:lnTo>
                    <a:pt x="308" y="236"/>
                  </a:lnTo>
                  <a:close/>
                  <a:moveTo>
                    <a:pt x="261" y="236"/>
                  </a:moveTo>
                  <a:lnTo>
                    <a:pt x="262" y="236"/>
                  </a:lnTo>
                  <a:lnTo>
                    <a:pt x="262" y="236"/>
                  </a:lnTo>
                  <a:lnTo>
                    <a:pt x="261" y="236"/>
                  </a:lnTo>
                  <a:lnTo>
                    <a:pt x="262" y="236"/>
                  </a:lnTo>
                  <a:lnTo>
                    <a:pt x="261" y="236"/>
                  </a:lnTo>
                  <a:close/>
                  <a:moveTo>
                    <a:pt x="294" y="235"/>
                  </a:moveTo>
                  <a:lnTo>
                    <a:pt x="294" y="236"/>
                  </a:lnTo>
                  <a:lnTo>
                    <a:pt x="294" y="235"/>
                  </a:lnTo>
                  <a:lnTo>
                    <a:pt x="294" y="236"/>
                  </a:lnTo>
                  <a:lnTo>
                    <a:pt x="294" y="235"/>
                  </a:lnTo>
                  <a:close/>
                  <a:moveTo>
                    <a:pt x="112" y="235"/>
                  </a:moveTo>
                  <a:lnTo>
                    <a:pt x="112" y="236"/>
                  </a:lnTo>
                  <a:lnTo>
                    <a:pt x="112" y="235"/>
                  </a:lnTo>
                  <a:close/>
                  <a:moveTo>
                    <a:pt x="308" y="235"/>
                  </a:moveTo>
                  <a:lnTo>
                    <a:pt x="308" y="236"/>
                  </a:lnTo>
                  <a:lnTo>
                    <a:pt x="308" y="235"/>
                  </a:lnTo>
                  <a:lnTo>
                    <a:pt x="309" y="235"/>
                  </a:lnTo>
                  <a:lnTo>
                    <a:pt x="308" y="235"/>
                  </a:lnTo>
                  <a:close/>
                  <a:moveTo>
                    <a:pt x="261" y="235"/>
                  </a:move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close/>
                  <a:moveTo>
                    <a:pt x="106" y="235"/>
                  </a:moveTo>
                  <a:lnTo>
                    <a:pt x="105" y="235"/>
                  </a:lnTo>
                  <a:lnTo>
                    <a:pt x="106" y="235"/>
                  </a:lnTo>
                  <a:close/>
                  <a:moveTo>
                    <a:pt x="286" y="235"/>
                  </a:moveTo>
                  <a:lnTo>
                    <a:pt x="287" y="235"/>
                  </a:lnTo>
                  <a:lnTo>
                    <a:pt x="286" y="235"/>
                  </a:lnTo>
                  <a:close/>
                  <a:moveTo>
                    <a:pt x="112" y="235"/>
                  </a:moveTo>
                  <a:lnTo>
                    <a:pt x="112" y="235"/>
                  </a:lnTo>
                  <a:lnTo>
                    <a:pt x="113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1" y="235"/>
                  </a:lnTo>
                  <a:lnTo>
                    <a:pt x="112" y="235"/>
                  </a:lnTo>
                  <a:close/>
                  <a:moveTo>
                    <a:pt x="110" y="235"/>
                  </a:moveTo>
                  <a:lnTo>
                    <a:pt x="111" y="235"/>
                  </a:lnTo>
                  <a:lnTo>
                    <a:pt x="110" y="235"/>
                  </a:lnTo>
                  <a:close/>
                  <a:moveTo>
                    <a:pt x="110" y="235"/>
                  </a:moveTo>
                  <a:lnTo>
                    <a:pt x="110" y="234"/>
                  </a:lnTo>
                  <a:lnTo>
                    <a:pt x="110" y="235"/>
                  </a:lnTo>
                  <a:close/>
                  <a:moveTo>
                    <a:pt x="108" y="234"/>
                  </a:moveTo>
                  <a:lnTo>
                    <a:pt x="108" y="234"/>
                  </a:lnTo>
                  <a:lnTo>
                    <a:pt x="108" y="234"/>
                  </a:lnTo>
                  <a:close/>
                  <a:moveTo>
                    <a:pt x="321" y="234"/>
                  </a:moveTo>
                  <a:lnTo>
                    <a:pt x="320" y="234"/>
                  </a:lnTo>
                  <a:lnTo>
                    <a:pt x="321" y="234"/>
                  </a:lnTo>
                  <a:close/>
                  <a:moveTo>
                    <a:pt x="112" y="234"/>
                  </a:moveTo>
                  <a:lnTo>
                    <a:pt x="112" y="234"/>
                  </a:lnTo>
                  <a:lnTo>
                    <a:pt x="112" y="234"/>
                  </a:lnTo>
                  <a:close/>
                  <a:moveTo>
                    <a:pt x="294" y="234"/>
                  </a:moveTo>
                  <a:lnTo>
                    <a:pt x="293" y="234"/>
                  </a:lnTo>
                  <a:lnTo>
                    <a:pt x="294" y="234"/>
                  </a:lnTo>
                  <a:lnTo>
                    <a:pt x="293" y="234"/>
                  </a:lnTo>
                  <a:lnTo>
                    <a:pt x="294" y="234"/>
                  </a:lnTo>
                  <a:close/>
                  <a:moveTo>
                    <a:pt x="108" y="234"/>
                  </a:moveTo>
                  <a:lnTo>
                    <a:pt x="109" y="234"/>
                  </a:lnTo>
                  <a:lnTo>
                    <a:pt x="108" y="234"/>
                  </a:lnTo>
                  <a:close/>
                  <a:moveTo>
                    <a:pt x="112" y="234"/>
                  </a:moveTo>
                  <a:lnTo>
                    <a:pt x="111" y="234"/>
                  </a:lnTo>
                  <a:lnTo>
                    <a:pt x="112" y="234"/>
                  </a:lnTo>
                  <a:close/>
                  <a:moveTo>
                    <a:pt x="291" y="234"/>
                  </a:moveTo>
                  <a:lnTo>
                    <a:pt x="291" y="234"/>
                  </a:lnTo>
                  <a:lnTo>
                    <a:pt x="290" y="234"/>
                  </a:lnTo>
                  <a:lnTo>
                    <a:pt x="291" y="234"/>
                  </a:lnTo>
                  <a:lnTo>
                    <a:pt x="291" y="234"/>
                  </a:lnTo>
                  <a:close/>
                  <a:moveTo>
                    <a:pt x="292" y="234"/>
                  </a:moveTo>
                  <a:lnTo>
                    <a:pt x="293" y="234"/>
                  </a:lnTo>
                  <a:lnTo>
                    <a:pt x="292" y="234"/>
                  </a:lnTo>
                  <a:close/>
                  <a:moveTo>
                    <a:pt x="289" y="234"/>
                  </a:move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90" y="234"/>
                  </a:lnTo>
                  <a:lnTo>
                    <a:pt x="289" y="234"/>
                  </a:lnTo>
                  <a:close/>
                  <a:moveTo>
                    <a:pt x="111" y="234"/>
                  </a:moveTo>
                  <a:lnTo>
                    <a:pt x="111" y="234"/>
                  </a:lnTo>
                  <a:lnTo>
                    <a:pt x="110" y="234"/>
                  </a:lnTo>
                  <a:lnTo>
                    <a:pt x="111" y="234"/>
                  </a:lnTo>
                  <a:lnTo>
                    <a:pt x="111" y="234"/>
                  </a:lnTo>
                  <a:close/>
                  <a:moveTo>
                    <a:pt x="290" y="234"/>
                  </a:moveTo>
                  <a:lnTo>
                    <a:pt x="290" y="234"/>
                  </a:lnTo>
                  <a:lnTo>
                    <a:pt x="290" y="234"/>
                  </a:lnTo>
                  <a:close/>
                  <a:moveTo>
                    <a:pt x="290" y="234"/>
                  </a:moveTo>
                  <a:lnTo>
                    <a:pt x="291" y="233"/>
                  </a:lnTo>
                  <a:lnTo>
                    <a:pt x="291" y="234"/>
                  </a:lnTo>
                  <a:lnTo>
                    <a:pt x="290" y="234"/>
                  </a:lnTo>
                  <a:close/>
                  <a:moveTo>
                    <a:pt x="189" y="233"/>
                  </a:moveTo>
                  <a:lnTo>
                    <a:pt x="190" y="234"/>
                  </a:lnTo>
                  <a:lnTo>
                    <a:pt x="190" y="233"/>
                  </a:lnTo>
                  <a:lnTo>
                    <a:pt x="189" y="233"/>
                  </a:lnTo>
                  <a:close/>
                  <a:moveTo>
                    <a:pt x="293" y="233"/>
                  </a:moveTo>
                  <a:lnTo>
                    <a:pt x="293" y="233"/>
                  </a:lnTo>
                  <a:lnTo>
                    <a:pt x="293" y="233"/>
                  </a:lnTo>
                  <a:close/>
                  <a:moveTo>
                    <a:pt x="112" y="233"/>
                  </a:moveTo>
                  <a:lnTo>
                    <a:pt x="112" y="234"/>
                  </a:lnTo>
                  <a:lnTo>
                    <a:pt x="111" y="234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261" y="233"/>
                  </a:moveTo>
                  <a:lnTo>
                    <a:pt x="261" y="233"/>
                  </a:lnTo>
                  <a:lnTo>
                    <a:pt x="261" y="233"/>
                  </a:lnTo>
                  <a:close/>
                  <a:moveTo>
                    <a:pt x="111" y="232"/>
                  </a:moveTo>
                  <a:lnTo>
                    <a:pt x="111" y="233"/>
                  </a:lnTo>
                  <a:lnTo>
                    <a:pt x="111" y="233"/>
                  </a:lnTo>
                  <a:lnTo>
                    <a:pt x="111" y="232"/>
                  </a:lnTo>
                  <a:close/>
                  <a:moveTo>
                    <a:pt x="112" y="233"/>
                  </a:moveTo>
                  <a:lnTo>
                    <a:pt x="111" y="233"/>
                  </a:lnTo>
                  <a:lnTo>
                    <a:pt x="111" y="232"/>
                  </a:lnTo>
                  <a:lnTo>
                    <a:pt x="112" y="233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112" y="232"/>
                  </a:moveTo>
                  <a:lnTo>
                    <a:pt x="112" y="233"/>
                  </a:lnTo>
                  <a:lnTo>
                    <a:pt x="112" y="232"/>
                  </a:lnTo>
                  <a:lnTo>
                    <a:pt x="112" y="233"/>
                  </a:lnTo>
                  <a:lnTo>
                    <a:pt x="112" y="232"/>
                  </a:lnTo>
                  <a:close/>
                  <a:moveTo>
                    <a:pt x="315" y="232"/>
                  </a:moveTo>
                  <a:lnTo>
                    <a:pt x="314" y="232"/>
                  </a:lnTo>
                  <a:lnTo>
                    <a:pt x="314" y="233"/>
                  </a:lnTo>
                  <a:lnTo>
                    <a:pt x="313" y="233"/>
                  </a:lnTo>
                  <a:lnTo>
                    <a:pt x="314" y="232"/>
                  </a:lnTo>
                  <a:lnTo>
                    <a:pt x="315" y="232"/>
                  </a:lnTo>
                  <a:close/>
                  <a:moveTo>
                    <a:pt x="330" y="232"/>
                  </a:moveTo>
                  <a:lnTo>
                    <a:pt x="329" y="232"/>
                  </a:lnTo>
                  <a:lnTo>
                    <a:pt x="330" y="232"/>
                  </a:lnTo>
                  <a:close/>
                  <a:moveTo>
                    <a:pt x="262" y="232"/>
                  </a:moveTo>
                  <a:lnTo>
                    <a:pt x="262" y="233"/>
                  </a:lnTo>
                  <a:lnTo>
                    <a:pt x="262" y="232"/>
                  </a:lnTo>
                  <a:lnTo>
                    <a:pt x="261" y="232"/>
                  </a:lnTo>
                  <a:lnTo>
                    <a:pt x="262" y="232"/>
                  </a:lnTo>
                  <a:close/>
                  <a:moveTo>
                    <a:pt x="109" y="232"/>
                  </a:moveTo>
                  <a:lnTo>
                    <a:pt x="108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9" y="232"/>
                  </a:lnTo>
                  <a:close/>
                  <a:moveTo>
                    <a:pt x="109" y="232"/>
                  </a:moveTo>
                  <a:lnTo>
                    <a:pt x="109" y="232"/>
                  </a:lnTo>
                  <a:lnTo>
                    <a:pt x="109" y="232"/>
                  </a:lnTo>
                  <a:close/>
                  <a:moveTo>
                    <a:pt x="319" y="232"/>
                  </a:move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332" y="232"/>
                  </a:moveTo>
                  <a:lnTo>
                    <a:pt x="331" y="232"/>
                  </a:lnTo>
                  <a:lnTo>
                    <a:pt x="332" y="232"/>
                  </a:lnTo>
                  <a:close/>
                  <a:moveTo>
                    <a:pt x="261" y="232"/>
                  </a:moveTo>
                  <a:lnTo>
                    <a:pt x="261" y="232"/>
                  </a:lnTo>
                  <a:lnTo>
                    <a:pt x="261" y="232"/>
                  </a:lnTo>
                  <a:lnTo>
                    <a:pt x="261" y="231"/>
                  </a:lnTo>
                  <a:lnTo>
                    <a:pt x="261" y="232"/>
                  </a:lnTo>
                  <a:close/>
                  <a:moveTo>
                    <a:pt x="105" y="231"/>
                  </a:moveTo>
                  <a:lnTo>
                    <a:pt x="106" y="231"/>
                  </a:lnTo>
                  <a:lnTo>
                    <a:pt x="105" y="231"/>
                  </a:lnTo>
                  <a:lnTo>
                    <a:pt x="105" y="231"/>
                  </a:lnTo>
                  <a:lnTo>
                    <a:pt x="105" y="231"/>
                  </a:lnTo>
                  <a:close/>
                  <a:moveTo>
                    <a:pt x="317" y="231"/>
                  </a:moveTo>
                  <a:lnTo>
                    <a:pt x="316" y="231"/>
                  </a:lnTo>
                  <a:lnTo>
                    <a:pt x="317" y="231"/>
                  </a:lnTo>
                  <a:close/>
                  <a:moveTo>
                    <a:pt x="261" y="231"/>
                  </a:moveTo>
                  <a:lnTo>
                    <a:pt x="261" y="230"/>
                  </a:lnTo>
                  <a:lnTo>
                    <a:pt x="261" y="231"/>
                  </a:lnTo>
                  <a:close/>
                  <a:moveTo>
                    <a:pt x="107" y="230"/>
                  </a:moveTo>
                  <a:lnTo>
                    <a:pt x="107" y="230"/>
                  </a:lnTo>
                  <a:lnTo>
                    <a:pt x="108" y="230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6" y="231"/>
                  </a:lnTo>
                  <a:lnTo>
                    <a:pt x="105" y="231"/>
                  </a:lnTo>
                  <a:lnTo>
                    <a:pt x="106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close/>
                  <a:moveTo>
                    <a:pt x="107" y="230"/>
                  </a:moveTo>
                  <a:lnTo>
                    <a:pt x="106" y="230"/>
                  </a:lnTo>
                  <a:lnTo>
                    <a:pt x="107" y="229"/>
                  </a:lnTo>
                  <a:lnTo>
                    <a:pt x="107" y="230"/>
                  </a:lnTo>
                  <a:close/>
                  <a:moveTo>
                    <a:pt x="117" y="229"/>
                  </a:moveTo>
                  <a:lnTo>
                    <a:pt x="117" y="230"/>
                  </a:lnTo>
                  <a:lnTo>
                    <a:pt x="117" y="229"/>
                  </a:lnTo>
                  <a:close/>
                  <a:moveTo>
                    <a:pt x="197" y="229"/>
                  </a:moveTo>
                  <a:lnTo>
                    <a:pt x="198" y="229"/>
                  </a:lnTo>
                  <a:lnTo>
                    <a:pt x="197" y="229"/>
                  </a:lnTo>
                  <a:close/>
                  <a:moveTo>
                    <a:pt x="105" y="229"/>
                  </a:moveTo>
                  <a:lnTo>
                    <a:pt x="104" y="229"/>
                  </a:lnTo>
                  <a:lnTo>
                    <a:pt x="105" y="229"/>
                  </a:lnTo>
                  <a:close/>
                  <a:moveTo>
                    <a:pt x="110" y="229"/>
                  </a:moveTo>
                  <a:lnTo>
                    <a:pt x="110" y="228"/>
                  </a:lnTo>
                  <a:lnTo>
                    <a:pt x="110" y="229"/>
                  </a:lnTo>
                  <a:close/>
                  <a:moveTo>
                    <a:pt x="213" y="228"/>
                  </a:moveTo>
                  <a:lnTo>
                    <a:pt x="212" y="228"/>
                  </a:lnTo>
                  <a:lnTo>
                    <a:pt x="212" y="228"/>
                  </a:lnTo>
                  <a:lnTo>
                    <a:pt x="213" y="228"/>
                  </a:lnTo>
                  <a:lnTo>
                    <a:pt x="213" y="228"/>
                  </a:lnTo>
                  <a:close/>
                  <a:moveTo>
                    <a:pt x="183" y="229"/>
                  </a:moveTo>
                  <a:lnTo>
                    <a:pt x="182" y="229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0" y="228"/>
                  </a:lnTo>
                  <a:lnTo>
                    <a:pt x="180" y="228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3" y="229"/>
                  </a:lnTo>
                  <a:lnTo>
                    <a:pt x="183" y="229"/>
                  </a:lnTo>
                  <a:close/>
                  <a:moveTo>
                    <a:pt x="261" y="228"/>
                  </a:moveTo>
                  <a:lnTo>
                    <a:pt x="260" y="228"/>
                  </a:lnTo>
                  <a:lnTo>
                    <a:pt x="261" y="228"/>
                  </a:lnTo>
                  <a:close/>
                  <a:moveTo>
                    <a:pt x="111" y="228"/>
                  </a:moveTo>
                  <a:lnTo>
                    <a:pt x="110" y="228"/>
                  </a:lnTo>
                  <a:lnTo>
                    <a:pt x="111" y="228"/>
                  </a:lnTo>
                  <a:close/>
                  <a:moveTo>
                    <a:pt x="103" y="227"/>
                  </a:moveTo>
                  <a:lnTo>
                    <a:pt x="103" y="228"/>
                  </a:lnTo>
                  <a:lnTo>
                    <a:pt x="103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197" y="227"/>
                  </a:moveTo>
                  <a:lnTo>
                    <a:pt x="197" y="227"/>
                  </a:lnTo>
                  <a:lnTo>
                    <a:pt x="197" y="227"/>
                  </a:lnTo>
                  <a:close/>
                  <a:moveTo>
                    <a:pt x="260" y="226"/>
                  </a:moveTo>
                  <a:lnTo>
                    <a:pt x="260" y="227"/>
                  </a:lnTo>
                  <a:lnTo>
                    <a:pt x="260" y="226"/>
                  </a:lnTo>
                  <a:lnTo>
                    <a:pt x="260" y="227"/>
                  </a:lnTo>
                  <a:lnTo>
                    <a:pt x="260" y="226"/>
                  </a:lnTo>
                  <a:close/>
                  <a:moveTo>
                    <a:pt x="197" y="225"/>
                  </a:move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5"/>
                  </a:lnTo>
                  <a:lnTo>
                    <a:pt x="197" y="225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close/>
                  <a:moveTo>
                    <a:pt x="103" y="225"/>
                  </a:moveTo>
                  <a:lnTo>
                    <a:pt x="102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3" y="225"/>
                  </a:lnTo>
                  <a:close/>
                  <a:moveTo>
                    <a:pt x="261" y="225"/>
                  </a:moveTo>
                  <a:lnTo>
                    <a:pt x="260" y="225"/>
                  </a:lnTo>
                  <a:lnTo>
                    <a:pt x="261" y="224"/>
                  </a:lnTo>
                  <a:lnTo>
                    <a:pt x="261" y="225"/>
                  </a:lnTo>
                  <a:close/>
                  <a:moveTo>
                    <a:pt x="172" y="224"/>
                  </a:moveTo>
                  <a:lnTo>
                    <a:pt x="172" y="224"/>
                  </a:lnTo>
                  <a:lnTo>
                    <a:pt x="172" y="224"/>
                  </a:lnTo>
                  <a:close/>
                  <a:moveTo>
                    <a:pt x="101" y="224"/>
                  </a:moveTo>
                  <a:lnTo>
                    <a:pt x="101" y="225"/>
                  </a:lnTo>
                  <a:lnTo>
                    <a:pt x="101" y="224"/>
                  </a:lnTo>
                  <a:close/>
                  <a:moveTo>
                    <a:pt x="101" y="224"/>
                  </a:moveTo>
                  <a:lnTo>
                    <a:pt x="101" y="224"/>
                  </a:lnTo>
                  <a:lnTo>
                    <a:pt x="101" y="224"/>
                  </a:lnTo>
                  <a:lnTo>
                    <a:pt x="102" y="224"/>
                  </a:lnTo>
                  <a:lnTo>
                    <a:pt x="101" y="224"/>
                  </a:lnTo>
                  <a:lnTo>
                    <a:pt x="101" y="224"/>
                  </a:lnTo>
                  <a:close/>
                  <a:moveTo>
                    <a:pt x="261" y="224"/>
                  </a:moveTo>
                  <a:lnTo>
                    <a:pt x="262" y="224"/>
                  </a:lnTo>
                  <a:lnTo>
                    <a:pt x="262" y="224"/>
                  </a:lnTo>
                  <a:lnTo>
                    <a:pt x="261" y="224"/>
                  </a:lnTo>
                  <a:close/>
                  <a:moveTo>
                    <a:pt x="261" y="224"/>
                  </a:move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close/>
                  <a:moveTo>
                    <a:pt x="103" y="223"/>
                  </a:move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close/>
                  <a:moveTo>
                    <a:pt x="101" y="223"/>
                  </a:moveTo>
                  <a:lnTo>
                    <a:pt x="101" y="223"/>
                  </a:lnTo>
                  <a:lnTo>
                    <a:pt x="101" y="223"/>
                  </a:lnTo>
                  <a:close/>
                  <a:moveTo>
                    <a:pt x="100" y="223"/>
                  </a:moveTo>
                  <a:lnTo>
                    <a:pt x="100" y="223"/>
                  </a:lnTo>
                  <a:lnTo>
                    <a:pt x="100" y="224"/>
                  </a:lnTo>
                  <a:lnTo>
                    <a:pt x="100" y="224"/>
                  </a:lnTo>
                  <a:lnTo>
                    <a:pt x="100" y="223"/>
                  </a:lnTo>
                  <a:close/>
                  <a:moveTo>
                    <a:pt x="100" y="223"/>
                  </a:moveTo>
                  <a:lnTo>
                    <a:pt x="99" y="223"/>
                  </a:lnTo>
                  <a:lnTo>
                    <a:pt x="100" y="223"/>
                  </a:lnTo>
                  <a:close/>
                  <a:moveTo>
                    <a:pt x="260" y="222"/>
                  </a:moveTo>
                  <a:lnTo>
                    <a:pt x="260" y="222"/>
                  </a:lnTo>
                  <a:lnTo>
                    <a:pt x="260" y="222"/>
                  </a:lnTo>
                  <a:close/>
                  <a:moveTo>
                    <a:pt x="259" y="222"/>
                  </a:moveTo>
                  <a:lnTo>
                    <a:pt x="260" y="222"/>
                  </a:lnTo>
                  <a:lnTo>
                    <a:pt x="259" y="222"/>
                  </a:lnTo>
                  <a:lnTo>
                    <a:pt x="259" y="222"/>
                  </a:lnTo>
                  <a:close/>
                  <a:moveTo>
                    <a:pt x="259" y="222"/>
                  </a:moveTo>
                  <a:lnTo>
                    <a:pt x="259" y="221"/>
                  </a:lnTo>
                  <a:lnTo>
                    <a:pt x="260" y="222"/>
                  </a:lnTo>
                  <a:lnTo>
                    <a:pt x="259" y="222"/>
                  </a:lnTo>
                  <a:lnTo>
                    <a:pt x="259" y="221"/>
                  </a:lnTo>
                  <a:lnTo>
                    <a:pt x="259" y="222"/>
                  </a:lnTo>
                  <a:close/>
                  <a:moveTo>
                    <a:pt x="260" y="221"/>
                  </a:moveTo>
                  <a:lnTo>
                    <a:pt x="260" y="222"/>
                  </a:lnTo>
                  <a:lnTo>
                    <a:pt x="260" y="221"/>
                  </a:lnTo>
                  <a:lnTo>
                    <a:pt x="259" y="221"/>
                  </a:lnTo>
                  <a:lnTo>
                    <a:pt x="260" y="221"/>
                  </a:lnTo>
                  <a:close/>
                  <a:moveTo>
                    <a:pt x="259" y="221"/>
                  </a:moveTo>
                  <a:lnTo>
                    <a:pt x="259" y="222"/>
                  </a:lnTo>
                  <a:lnTo>
                    <a:pt x="259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9" y="221"/>
                  </a:lnTo>
                  <a:lnTo>
                    <a:pt x="258" y="222"/>
                  </a:lnTo>
                  <a:lnTo>
                    <a:pt x="259" y="222"/>
                  </a:lnTo>
                  <a:lnTo>
                    <a:pt x="258" y="222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1"/>
                  </a:lnTo>
                  <a:close/>
                  <a:moveTo>
                    <a:pt x="259" y="220"/>
                  </a:move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9" y="220"/>
                  </a:lnTo>
                  <a:close/>
                  <a:moveTo>
                    <a:pt x="259" y="219"/>
                  </a:moveTo>
                  <a:lnTo>
                    <a:pt x="258" y="220"/>
                  </a:lnTo>
                  <a:lnTo>
                    <a:pt x="258" y="219"/>
                  </a:lnTo>
                  <a:lnTo>
                    <a:pt x="259" y="219"/>
                  </a:lnTo>
                  <a:close/>
                  <a:moveTo>
                    <a:pt x="260" y="218"/>
                  </a:moveTo>
                  <a:lnTo>
                    <a:pt x="260" y="219"/>
                  </a:lnTo>
                  <a:lnTo>
                    <a:pt x="260" y="218"/>
                  </a:lnTo>
                  <a:close/>
                  <a:moveTo>
                    <a:pt x="257" y="217"/>
                  </a:moveTo>
                  <a:lnTo>
                    <a:pt x="257" y="218"/>
                  </a:lnTo>
                  <a:lnTo>
                    <a:pt x="257" y="217"/>
                  </a:lnTo>
                  <a:close/>
                  <a:moveTo>
                    <a:pt x="258" y="217"/>
                  </a:moveTo>
                  <a:lnTo>
                    <a:pt x="259" y="217"/>
                  </a:lnTo>
                  <a:lnTo>
                    <a:pt x="258" y="217"/>
                  </a:lnTo>
                  <a:lnTo>
                    <a:pt x="258" y="218"/>
                  </a:lnTo>
                  <a:lnTo>
                    <a:pt x="258" y="217"/>
                  </a:lnTo>
                  <a:close/>
                  <a:moveTo>
                    <a:pt x="258" y="217"/>
                  </a:moveTo>
                  <a:lnTo>
                    <a:pt x="258" y="216"/>
                  </a:lnTo>
                  <a:lnTo>
                    <a:pt x="258" y="217"/>
                  </a:lnTo>
                  <a:close/>
                  <a:moveTo>
                    <a:pt x="260" y="216"/>
                  </a:moveTo>
                  <a:lnTo>
                    <a:pt x="260" y="216"/>
                  </a:lnTo>
                  <a:lnTo>
                    <a:pt x="259" y="216"/>
                  </a:lnTo>
                  <a:lnTo>
                    <a:pt x="259" y="216"/>
                  </a:lnTo>
                  <a:lnTo>
                    <a:pt x="260" y="216"/>
                  </a:lnTo>
                  <a:close/>
                  <a:moveTo>
                    <a:pt x="261" y="216"/>
                  </a:moveTo>
                  <a:lnTo>
                    <a:pt x="260" y="216"/>
                  </a:lnTo>
                  <a:lnTo>
                    <a:pt x="261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1" y="216"/>
                  </a:lnTo>
                  <a:close/>
                  <a:moveTo>
                    <a:pt x="266" y="215"/>
                  </a:moveTo>
                  <a:lnTo>
                    <a:pt x="265" y="215"/>
                  </a:lnTo>
                  <a:lnTo>
                    <a:pt x="266" y="215"/>
                  </a:lnTo>
                  <a:close/>
                  <a:moveTo>
                    <a:pt x="264" y="215"/>
                  </a:moveTo>
                  <a:lnTo>
                    <a:pt x="263" y="216"/>
                  </a:lnTo>
                  <a:lnTo>
                    <a:pt x="263" y="215"/>
                  </a:lnTo>
                  <a:lnTo>
                    <a:pt x="264" y="215"/>
                  </a:lnTo>
                  <a:close/>
                  <a:moveTo>
                    <a:pt x="263" y="216"/>
                  </a:moveTo>
                  <a:lnTo>
                    <a:pt x="263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7"/>
                  </a:lnTo>
                  <a:lnTo>
                    <a:pt x="260" y="217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59" y="216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2" y="215"/>
                  </a:lnTo>
                  <a:lnTo>
                    <a:pt x="263" y="216"/>
                  </a:lnTo>
                  <a:close/>
                  <a:moveTo>
                    <a:pt x="263" y="216"/>
                  </a:moveTo>
                  <a:lnTo>
                    <a:pt x="262" y="215"/>
                  </a:lnTo>
                  <a:lnTo>
                    <a:pt x="263" y="215"/>
                  </a:lnTo>
                  <a:lnTo>
                    <a:pt x="263" y="216"/>
                  </a:lnTo>
                  <a:lnTo>
                    <a:pt x="263" y="215"/>
                  </a:lnTo>
                  <a:lnTo>
                    <a:pt x="263" y="216"/>
                  </a:lnTo>
                  <a:close/>
                  <a:moveTo>
                    <a:pt x="267" y="215"/>
                  </a:moveTo>
                  <a:lnTo>
                    <a:pt x="266" y="215"/>
                  </a:lnTo>
                  <a:lnTo>
                    <a:pt x="267" y="215"/>
                  </a:lnTo>
                  <a:close/>
                  <a:moveTo>
                    <a:pt x="267" y="215"/>
                  </a:moveTo>
                  <a:lnTo>
                    <a:pt x="267" y="214"/>
                  </a:lnTo>
                  <a:lnTo>
                    <a:pt x="267" y="215"/>
                  </a:lnTo>
                  <a:close/>
                  <a:moveTo>
                    <a:pt x="267" y="214"/>
                  </a:moveTo>
                  <a:lnTo>
                    <a:pt x="267" y="215"/>
                  </a:lnTo>
                  <a:lnTo>
                    <a:pt x="266" y="215"/>
                  </a:lnTo>
                  <a:lnTo>
                    <a:pt x="266" y="214"/>
                  </a:lnTo>
                  <a:lnTo>
                    <a:pt x="267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3" y="214"/>
                  </a:lnTo>
                  <a:lnTo>
                    <a:pt x="263" y="214"/>
                  </a:lnTo>
                  <a:lnTo>
                    <a:pt x="264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4" y="214"/>
                  </a:lnTo>
                  <a:close/>
                  <a:moveTo>
                    <a:pt x="266" y="213"/>
                  </a:moveTo>
                  <a:lnTo>
                    <a:pt x="265" y="213"/>
                  </a:lnTo>
                  <a:lnTo>
                    <a:pt x="265" y="214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6" y="213"/>
                  </a:lnTo>
                  <a:close/>
                  <a:moveTo>
                    <a:pt x="268" y="213"/>
                  </a:moveTo>
                  <a:lnTo>
                    <a:pt x="267" y="213"/>
                  </a:lnTo>
                  <a:lnTo>
                    <a:pt x="268" y="213"/>
                  </a:lnTo>
                  <a:close/>
                  <a:moveTo>
                    <a:pt x="165" y="213"/>
                  </a:move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close/>
                  <a:moveTo>
                    <a:pt x="271" y="213"/>
                  </a:moveTo>
                  <a:lnTo>
                    <a:pt x="271" y="213"/>
                  </a:lnTo>
                  <a:lnTo>
                    <a:pt x="270" y="213"/>
                  </a:lnTo>
                  <a:lnTo>
                    <a:pt x="271" y="213"/>
                  </a:lnTo>
                  <a:lnTo>
                    <a:pt x="271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lnTo>
                    <a:pt x="268" y="212"/>
                  </a:lnTo>
                  <a:lnTo>
                    <a:pt x="269" y="212"/>
                  </a:lnTo>
                  <a:lnTo>
                    <a:pt x="268" y="213"/>
                  </a:lnTo>
                  <a:close/>
                  <a:moveTo>
                    <a:pt x="272" y="212"/>
                  </a:moveTo>
                  <a:lnTo>
                    <a:pt x="271" y="212"/>
                  </a:lnTo>
                  <a:lnTo>
                    <a:pt x="272" y="211"/>
                  </a:lnTo>
                  <a:lnTo>
                    <a:pt x="272" y="212"/>
                  </a:lnTo>
                  <a:close/>
                  <a:moveTo>
                    <a:pt x="263" y="212"/>
                  </a:moveTo>
                  <a:lnTo>
                    <a:pt x="263" y="211"/>
                  </a:lnTo>
                  <a:lnTo>
                    <a:pt x="263" y="212"/>
                  </a:lnTo>
                  <a:close/>
                  <a:moveTo>
                    <a:pt x="272" y="211"/>
                  </a:move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1" y="212"/>
                  </a:lnTo>
                  <a:lnTo>
                    <a:pt x="271" y="212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2" y="211"/>
                  </a:lnTo>
                  <a:lnTo>
                    <a:pt x="272" y="211"/>
                  </a:lnTo>
                  <a:close/>
                  <a:moveTo>
                    <a:pt x="273" y="211"/>
                  </a:moveTo>
                  <a:lnTo>
                    <a:pt x="272" y="211"/>
                  </a:lnTo>
                  <a:lnTo>
                    <a:pt x="273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3" y="211"/>
                  </a:lnTo>
                  <a:close/>
                  <a:moveTo>
                    <a:pt x="273" y="211"/>
                  </a:moveTo>
                  <a:lnTo>
                    <a:pt x="273" y="211"/>
                  </a:lnTo>
                  <a:lnTo>
                    <a:pt x="273" y="210"/>
                  </a:lnTo>
                  <a:lnTo>
                    <a:pt x="273" y="211"/>
                  </a:lnTo>
                  <a:close/>
                  <a:moveTo>
                    <a:pt x="270" y="210"/>
                  </a:moveTo>
                  <a:lnTo>
                    <a:pt x="269" y="210"/>
                  </a:lnTo>
                  <a:lnTo>
                    <a:pt x="270" y="210"/>
                  </a:lnTo>
                  <a:close/>
                  <a:moveTo>
                    <a:pt x="265" y="210"/>
                  </a:move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8" y="210"/>
                  </a:lnTo>
                  <a:lnTo>
                    <a:pt x="158" y="210"/>
                  </a:lnTo>
                  <a:close/>
                  <a:moveTo>
                    <a:pt x="265" y="210"/>
                  </a:move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7" y="210"/>
                  </a:lnTo>
                  <a:lnTo>
                    <a:pt x="266" y="210"/>
                  </a:lnTo>
                  <a:lnTo>
                    <a:pt x="266" y="211"/>
                  </a:ln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7" y="210"/>
                  </a:lnTo>
                  <a:lnTo>
                    <a:pt x="158" y="210"/>
                  </a:lnTo>
                  <a:close/>
                  <a:moveTo>
                    <a:pt x="216" y="209"/>
                  </a:moveTo>
                  <a:lnTo>
                    <a:pt x="216" y="210"/>
                  </a:lnTo>
                  <a:lnTo>
                    <a:pt x="215" y="210"/>
                  </a:lnTo>
                  <a:lnTo>
                    <a:pt x="215" y="209"/>
                  </a:lnTo>
                  <a:lnTo>
                    <a:pt x="216" y="209"/>
                  </a:lnTo>
                  <a:close/>
                  <a:moveTo>
                    <a:pt x="270" y="209"/>
                  </a:moveTo>
                  <a:lnTo>
                    <a:pt x="270" y="210"/>
                  </a:lnTo>
                  <a:lnTo>
                    <a:pt x="271" y="209"/>
                  </a:lnTo>
                  <a:lnTo>
                    <a:pt x="271" y="210"/>
                  </a:lnTo>
                  <a:lnTo>
                    <a:pt x="270" y="210"/>
                  </a:lnTo>
                  <a:lnTo>
                    <a:pt x="270" y="209"/>
                  </a:lnTo>
                  <a:lnTo>
                    <a:pt x="271" y="209"/>
                  </a:lnTo>
                  <a:lnTo>
                    <a:pt x="270" y="209"/>
                  </a:lnTo>
                  <a:close/>
                  <a:moveTo>
                    <a:pt x="158" y="209"/>
                  </a:moveTo>
                  <a:lnTo>
                    <a:pt x="157" y="209"/>
                  </a:lnTo>
                  <a:lnTo>
                    <a:pt x="158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close/>
                  <a:moveTo>
                    <a:pt x="157" y="209"/>
                  </a:moveTo>
                  <a:lnTo>
                    <a:pt x="156" y="209"/>
                  </a:lnTo>
                  <a:lnTo>
                    <a:pt x="157" y="209"/>
                  </a:lnTo>
                  <a:close/>
                  <a:moveTo>
                    <a:pt x="271" y="209"/>
                  </a:moveTo>
                  <a:lnTo>
                    <a:pt x="270" y="209"/>
                  </a:lnTo>
                  <a:lnTo>
                    <a:pt x="271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09"/>
                  </a:lnTo>
                  <a:close/>
                  <a:moveTo>
                    <a:pt x="267" y="209"/>
                  </a:moveTo>
                  <a:lnTo>
                    <a:pt x="266" y="209"/>
                  </a:lnTo>
                  <a:lnTo>
                    <a:pt x="267" y="209"/>
                  </a:lnTo>
                  <a:lnTo>
                    <a:pt x="266" y="209"/>
                  </a:lnTo>
                  <a:lnTo>
                    <a:pt x="267" y="209"/>
                  </a:lnTo>
                  <a:close/>
                  <a:moveTo>
                    <a:pt x="271" y="209"/>
                  </a:moveTo>
                  <a:lnTo>
                    <a:pt x="271" y="209"/>
                  </a:lnTo>
                  <a:lnTo>
                    <a:pt x="271" y="209"/>
                  </a:lnTo>
                  <a:close/>
                  <a:moveTo>
                    <a:pt x="215" y="208"/>
                  </a:moveTo>
                  <a:lnTo>
                    <a:pt x="215" y="209"/>
                  </a:lnTo>
                  <a:lnTo>
                    <a:pt x="215" y="208"/>
                  </a:lnTo>
                  <a:close/>
                  <a:moveTo>
                    <a:pt x="267" y="208"/>
                  </a:moveTo>
                  <a:lnTo>
                    <a:pt x="267" y="209"/>
                  </a:lnTo>
                  <a:lnTo>
                    <a:pt x="267" y="208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7"/>
                  </a:lnTo>
                  <a:close/>
                  <a:moveTo>
                    <a:pt x="275" y="208"/>
                  </a:moveTo>
                  <a:lnTo>
                    <a:pt x="275" y="208"/>
                  </a:lnTo>
                  <a:lnTo>
                    <a:pt x="275" y="208"/>
                  </a:lnTo>
                  <a:lnTo>
                    <a:pt x="275" y="207"/>
                  </a:lnTo>
                  <a:lnTo>
                    <a:pt x="275" y="208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2" y="208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3" y="207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8"/>
                  </a:lnTo>
                  <a:lnTo>
                    <a:pt x="267" y="208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3" y="207"/>
                  </a:moveTo>
                  <a:lnTo>
                    <a:pt x="272" y="207"/>
                  </a:lnTo>
                  <a:lnTo>
                    <a:pt x="273" y="207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68" y="207"/>
                  </a:moveTo>
                  <a:lnTo>
                    <a:pt x="267" y="207"/>
                  </a:lnTo>
                  <a:lnTo>
                    <a:pt x="268" y="207"/>
                  </a:lnTo>
                  <a:close/>
                  <a:moveTo>
                    <a:pt x="299" y="207"/>
                  </a:moveTo>
                  <a:lnTo>
                    <a:pt x="299" y="207"/>
                  </a:lnTo>
                  <a:lnTo>
                    <a:pt x="299" y="207"/>
                  </a:lnTo>
                  <a:close/>
                  <a:moveTo>
                    <a:pt x="268" y="207"/>
                  </a:moveTo>
                  <a:lnTo>
                    <a:pt x="268" y="207"/>
                  </a:lnTo>
                  <a:lnTo>
                    <a:pt x="268" y="207"/>
                  </a:lnTo>
                  <a:close/>
                  <a:moveTo>
                    <a:pt x="269" y="207"/>
                  </a:moveTo>
                  <a:lnTo>
                    <a:pt x="269" y="207"/>
                  </a:lnTo>
                  <a:lnTo>
                    <a:pt x="269" y="207"/>
                  </a:lnTo>
                  <a:close/>
                  <a:moveTo>
                    <a:pt x="212" y="207"/>
                  </a:move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close/>
                  <a:moveTo>
                    <a:pt x="267" y="207"/>
                  </a:moveTo>
                  <a:lnTo>
                    <a:pt x="267" y="207"/>
                  </a:lnTo>
                  <a:lnTo>
                    <a:pt x="268" y="207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close/>
                  <a:moveTo>
                    <a:pt x="212" y="207"/>
                  </a:moveTo>
                  <a:lnTo>
                    <a:pt x="212" y="206"/>
                  </a:lnTo>
                  <a:lnTo>
                    <a:pt x="212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75" y="206"/>
                  </a:moveTo>
                  <a:lnTo>
                    <a:pt x="275" y="206"/>
                  </a:lnTo>
                  <a:lnTo>
                    <a:pt x="275" y="206"/>
                  </a:lnTo>
                  <a:close/>
                  <a:moveTo>
                    <a:pt x="276" y="206"/>
                  </a:moveTo>
                  <a:lnTo>
                    <a:pt x="275" y="206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6" y="206"/>
                  </a:lnTo>
                  <a:lnTo>
                    <a:pt x="276" y="206"/>
                  </a:lnTo>
                  <a:lnTo>
                    <a:pt x="276" y="206"/>
                  </a:lnTo>
                  <a:close/>
                  <a:moveTo>
                    <a:pt x="260" y="206"/>
                  </a:moveTo>
                  <a:lnTo>
                    <a:pt x="260" y="206"/>
                  </a:lnTo>
                  <a:lnTo>
                    <a:pt x="260" y="206"/>
                  </a:lnTo>
                  <a:close/>
                  <a:moveTo>
                    <a:pt x="272" y="206"/>
                  </a:moveTo>
                  <a:lnTo>
                    <a:pt x="272" y="206"/>
                  </a:lnTo>
                  <a:lnTo>
                    <a:pt x="272" y="206"/>
                  </a:lnTo>
                  <a:lnTo>
                    <a:pt x="272" y="206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2" y="206"/>
                  </a:moveTo>
                  <a:lnTo>
                    <a:pt x="272" y="205"/>
                  </a:lnTo>
                  <a:lnTo>
                    <a:pt x="272" y="206"/>
                  </a:lnTo>
                  <a:close/>
                  <a:moveTo>
                    <a:pt x="273" y="205"/>
                  </a:moveTo>
                  <a:lnTo>
                    <a:pt x="273" y="205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2" y="206"/>
                  </a:lnTo>
                  <a:lnTo>
                    <a:pt x="272" y="206"/>
                  </a:lnTo>
                  <a:lnTo>
                    <a:pt x="273" y="206"/>
                  </a:lnTo>
                  <a:lnTo>
                    <a:pt x="273" y="205"/>
                  </a:lnTo>
                  <a:close/>
                  <a:moveTo>
                    <a:pt x="249" y="205"/>
                  </a:moveTo>
                  <a:lnTo>
                    <a:pt x="249" y="206"/>
                  </a:lnTo>
                  <a:lnTo>
                    <a:pt x="248" y="206"/>
                  </a:lnTo>
                  <a:lnTo>
                    <a:pt x="249" y="206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9" y="205"/>
                  </a:lnTo>
                  <a:close/>
                  <a:moveTo>
                    <a:pt x="149" y="205"/>
                  </a:moveTo>
                  <a:lnTo>
                    <a:pt x="149" y="205"/>
                  </a:lnTo>
                  <a:lnTo>
                    <a:pt x="149" y="206"/>
                  </a:lnTo>
                  <a:lnTo>
                    <a:pt x="149" y="206"/>
                  </a:lnTo>
                  <a:lnTo>
                    <a:pt x="149" y="205"/>
                  </a:lnTo>
                  <a:close/>
                  <a:moveTo>
                    <a:pt x="210" y="205"/>
                  </a:moveTo>
                  <a:lnTo>
                    <a:pt x="211" y="205"/>
                  </a:lnTo>
                  <a:lnTo>
                    <a:pt x="210" y="205"/>
                  </a:lnTo>
                  <a:close/>
                  <a:moveTo>
                    <a:pt x="210" y="205"/>
                  </a:moveTo>
                  <a:lnTo>
                    <a:pt x="209" y="205"/>
                  </a:lnTo>
                  <a:lnTo>
                    <a:pt x="210" y="205"/>
                  </a:lnTo>
                  <a:close/>
                  <a:moveTo>
                    <a:pt x="253" y="205"/>
                  </a:moveTo>
                  <a:lnTo>
                    <a:pt x="253" y="205"/>
                  </a:lnTo>
                  <a:lnTo>
                    <a:pt x="253" y="205"/>
                  </a:lnTo>
                  <a:close/>
                  <a:moveTo>
                    <a:pt x="253" y="204"/>
                  </a:moveTo>
                  <a:lnTo>
                    <a:pt x="253" y="204"/>
                  </a:lnTo>
                  <a:lnTo>
                    <a:pt x="252" y="204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8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4"/>
                  </a:lnTo>
                  <a:lnTo>
                    <a:pt x="250" y="204"/>
                  </a:lnTo>
                  <a:lnTo>
                    <a:pt x="250" y="204"/>
                  </a:lnTo>
                  <a:lnTo>
                    <a:pt x="251" y="203"/>
                  </a:lnTo>
                  <a:lnTo>
                    <a:pt x="252" y="203"/>
                  </a:lnTo>
                  <a:lnTo>
                    <a:pt x="253" y="203"/>
                  </a:lnTo>
                  <a:lnTo>
                    <a:pt x="253" y="204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1" y="202"/>
                  </a:move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close/>
                  <a:moveTo>
                    <a:pt x="235" y="201"/>
                  </a:moveTo>
                  <a:lnTo>
                    <a:pt x="235" y="201"/>
                  </a:lnTo>
                  <a:lnTo>
                    <a:pt x="235" y="201"/>
                  </a:lnTo>
                  <a:close/>
                  <a:moveTo>
                    <a:pt x="299" y="201"/>
                  </a:moveTo>
                  <a:lnTo>
                    <a:pt x="299" y="201"/>
                  </a:lnTo>
                  <a:lnTo>
                    <a:pt x="299" y="201"/>
                  </a:lnTo>
                  <a:close/>
                  <a:moveTo>
                    <a:pt x="238" y="200"/>
                  </a:moveTo>
                  <a:lnTo>
                    <a:pt x="238" y="201"/>
                  </a:lnTo>
                  <a:lnTo>
                    <a:pt x="238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8" y="201"/>
                  </a:lnTo>
                  <a:lnTo>
                    <a:pt x="238" y="200"/>
                  </a:lnTo>
                  <a:lnTo>
                    <a:pt x="238" y="200"/>
                  </a:lnTo>
                  <a:lnTo>
                    <a:pt x="238" y="201"/>
                  </a:lnTo>
                  <a:lnTo>
                    <a:pt x="238" y="200"/>
                  </a:lnTo>
                  <a:close/>
                  <a:moveTo>
                    <a:pt x="228" y="200"/>
                  </a:moveTo>
                  <a:lnTo>
                    <a:pt x="229" y="200"/>
                  </a:lnTo>
                  <a:lnTo>
                    <a:pt x="228" y="200"/>
                  </a:lnTo>
                  <a:close/>
                  <a:moveTo>
                    <a:pt x="333" y="200"/>
                  </a:moveTo>
                  <a:lnTo>
                    <a:pt x="332" y="200"/>
                  </a:lnTo>
                  <a:lnTo>
                    <a:pt x="333" y="200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close/>
                  <a:moveTo>
                    <a:pt x="229" y="200"/>
                  </a:moveTo>
                  <a:lnTo>
                    <a:pt x="230" y="200"/>
                  </a:lnTo>
                  <a:lnTo>
                    <a:pt x="229" y="200"/>
                  </a:lnTo>
                  <a:lnTo>
                    <a:pt x="228" y="200"/>
                  </a:lnTo>
                  <a:lnTo>
                    <a:pt x="228" y="199"/>
                  </a:lnTo>
                  <a:lnTo>
                    <a:pt x="228" y="200"/>
                  </a:lnTo>
                  <a:lnTo>
                    <a:pt x="229" y="200"/>
                  </a:lnTo>
                  <a:close/>
                  <a:moveTo>
                    <a:pt x="141" y="199"/>
                  </a:moveTo>
                  <a:lnTo>
                    <a:pt x="141" y="199"/>
                  </a:lnTo>
                  <a:lnTo>
                    <a:pt x="141" y="200"/>
                  </a:lnTo>
                  <a:lnTo>
                    <a:pt x="141" y="199"/>
                  </a:lnTo>
                  <a:close/>
                  <a:moveTo>
                    <a:pt x="267" y="199"/>
                  </a:moveTo>
                  <a:lnTo>
                    <a:pt x="266" y="199"/>
                  </a:lnTo>
                  <a:lnTo>
                    <a:pt x="267" y="199"/>
                  </a:lnTo>
                  <a:lnTo>
                    <a:pt x="266" y="199"/>
                  </a:lnTo>
                  <a:lnTo>
                    <a:pt x="267" y="199"/>
                  </a:lnTo>
                  <a:close/>
                  <a:moveTo>
                    <a:pt x="141" y="199"/>
                  </a:moveTo>
                  <a:lnTo>
                    <a:pt x="140" y="199"/>
                  </a:lnTo>
                  <a:lnTo>
                    <a:pt x="141" y="199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lnTo>
                    <a:pt x="304" y="200"/>
                  </a:lnTo>
                  <a:lnTo>
                    <a:pt x="304" y="200"/>
                  </a:lnTo>
                  <a:lnTo>
                    <a:pt x="303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0" y="200"/>
                  </a:lnTo>
                  <a:lnTo>
                    <a:pt x="299" y="200"/>
                  </a:lnTo>
                  <a:lnTo>
                    <a:pt x="300" y="200"/>
                  </a:lnTo>
                  <a:lnTo>
                    <a:pt x="300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4" y="199"/>
                  </a:lnTo>
                  <a:lnTo>
                    <a:pt x="305" y="199"/>
                  </a:lnTo>
                  <a:lnTo>
                    <a:pt x="305" y="199"/>
                  </a:lnTo>
                  <a:lnTo>
                    <a:pt x="305" y="200"/>
                  </a:lnTo>
                  <a:close/>
                  <a:moveTo>
                    <a:pt x="294" y="199"/>
                  </a:moveTo>
                  <a:lnTo>
                    <a:pt x="294" y="199"/>
                  </a:lnTo>
                  <a:lnTo>
                    <a:pt x="294" y="199"/>
                  </a:lnTo>
                  <a:close/>
                  <a:moveTo>
                    <a:pt x="273" y="199"/>
                  </a:moveTo>
                  <a:lnTo>
                    <a:pt x="273" y="199"/>
                  </a:lnTo>
                  <a:lnTo>
                    <a:pt x="273" y="199"/>
                  </a:lnTo>
                  <a:close/>
                  <a:moveTo>
                    <a:pt x="139" y="199"/>
                  </a:moveTo>
                  <a:lnTo>
                    <a:pt x="140" y="199"/>
                  </a:lnTo>
                  <a:lnTo>
                    <a:pt x="140" y="199"/>
                  </a:lnTo>
                  <a:lnTo>
                    <a:pt x="139" y="199"/>
                  </a:lnTo>
                  <a:lnTo>
                    <a:pt x="139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7" y="199"/>
                  </a:lnTo>
                  <a:lnTo>
                    <a:pt x="238" y="199"/>
                  </a:ln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275" y="199"/>
                  </a:moveTo>
                  <a:lnTo>
                    <a:pt x="276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7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5" y="199"/>
                  </a:lnTo>
                  <a:lnTo>
                    <a:pt x="275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330" y="198"/>
                  </a:moveTo>
                  <a:lnTo>
                    <a:pt x="330" y="199"/>
                  </a:lnTo>
                  <a:lnTo>
                    <a:pt x="330" y="198"/>
                  </a:lnTo>
                  <a:close/>
                  <a:moveTo>
                    <a:pt x="330" y="198"/>
                  </a:moveTo>
                  <a:lnTo>
                    <a:pt x="331" y="198"/>
                  </a:lnTo>
                  <a:lnTo>
                    <a:pt x="331" y="198"/>
                  </a:lnTo>
                  <a:lnTo>
                    <a:pt x="331" y="199"/>
                  </a:lnTo>
                  <a:lnTo>
                    <a:pt x="331" y="199"/>
                  </a:lnTo>
                  <a:lnTo>
                    <a:pt x="331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close/>
                  <a:moveTo>
                    <a:pt x="240" y="198"/>
                  </a:moveTo>
                  <a:lnTo>
                    <a:pt x="241" y="198"/>
                  </a:lnTo>
                  <a:lnTo>
                    <a:pt x="240" y="198"/>
                  </a:lnTo>
                  <a:close/>
                  <a:moveTo>
                    <a:pt x="331" y="198"/>
                  </a:moveTo>
                  <a:lnTo>
                    <a:pt x="331" y="198"/>
                  </a:lnTo>
                  <a:lnTo>
                    <a:pt x="331" y="198"/>
                  </a:lnTo>
                  <a:close/>
                  <a:moveTo>
                    <a:pt x="286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close/>
                  <a:moveTo>
                    <a:pt x="241" y="198"/>
                  </a:moveTo>
                  <a:lnTo>
                    <a:pt x="240" y="198"/>
                  </a:lnTo>
                  <a:lnTo>
                    <a:pt x="241" y="198"/>
                  </a:lnTo>
                  <a:lnTo>
                    <a:pt x="240" y="198"/>
                  </a:lnTo>
                  <a:lnTo>
                    <a:pt x="239" y="198"/>
                  </a:lnTo>
                  <a:lnTo>
                    <a:pt x="239" y="198"/>
                  </a:lnTo>
                  <a:lnTo>
                    <a:pt x="240" y="198"/>
                  </a:lnTo>
                  <a:lnTo>
                    <a:pt x="241" y="198"/>
                  </a:lnTo>
                  <a:close/>
                  <a:moveTo>
                    <a:pt x="285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7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5" y="198"/>
                  </a:lnTo>
                  <a:lnTo>
                    <a:pt x="284" y="198"/>
                  </a:lnTo>
                  <a:lnTo>
                    <a:pt x="285" y="198"/>
                  </a:lnTo>
                  <a:close/>
                  <a:moveTo>
                    <a:pt x="284" y="198"/>
                  </a:moveTo>
                  <a:lnTo>
                    <a:pt x="284" y="198"/>
                  </a:lnTo>
                  <a:lnTo>
                    <a:pt x="284" y="198"/>
                  </a:lnTo>
                  <a:close/>
                  <a:moveTo>
                    <a:pt x="282" y="198"/>
                  </a:moveTo>
                  <a:lnTo>
                    <a:pt x="281" y="198"/>
                  </a:lnTo>
                  <a:lnTo>
                    <a:pt x="281" y="197"/>
                  </a:lnTo>
                  <a:lnTo>
                    <a:pt x="282" y="197"/>
                  </a:lnTo>
                  <a:lnTo>
                    <a:pt x="282" y="198"/>
                  </a:lnTo>
                  <a:close/>
                  <a:moveTo>
                    <a:pt x="278" y="197"/>
                  </a:moveTo>
                  <a:lnTo>
                    <a:pt x="278" y="197"/>
                  </a:lnTo>
                  <a:lnTo>
                    <a:pt x="278" y="197"/>
                  </a:lnTo>
                  <a:close/>
                  <a:moveTo>
                    <a:pt x="242" y="197"/>
                  </a:moveTo>
                  <a:lnTo>
                    <a:pt x="242" y="197"/>
                  </a:lnTo>
                  <a:lnTo>
                    <a:pt x="241" y="198"/>
                  </a:lnTo>
                  <a:lnTo>
                    <a:pt x="242" y="198"/>
                  </a:lnTo>
                  <a:lnTo>
                    <a:pt x="242" y="197"/>
                  </a:lnTo>
                  <a:lnTo>
                    <a:pt x="242" y="197"/>
                  </a:lnTo>
                  <a:close/>
                  <a:moveTo>
                    <a:pt x="241" y="197"/>
                  </a:moveTo>
                  <a:lnTo>
                    <a:pt x="241" y="196"/>
                  </a:lnTo>
                  <a:lnTo>
                    <a:pt x="241" y="197"/>
                  </a:lnTo>
                  <a:close/>
                  <a:moveTo>
                    <a:pt x="243" y="196"/>
                  </a:moveTo>
                  <a:lnTo>
                    <a:pt x="243" y="197"/>
                  </a:lnTo>
                  <a:lnTo>
                    <a:pt x="243" y="196"/>
                  </a:lnTo>
                  <a:close/>
                  <a:moveTo>
                    <a:pt x="279" y="197"/>
                  </a:moveTo>
                  <a:lnTo>
                    <a:pt x="279" y="197"/>
                  </a:lnTo>
                  <a:lnTo>
                    <a:pt x="278" y="197"/>
                  </a:lnTo>
                  <a:lnTo>
                    <a:pt x="278" y="196"/>
                  </a:lnTo>
                  <a:lnTo>
                    <a:pt x="279" y="196"/>
                  </a:lnTo>
                  <a:lnTo>
                    <a:pt x="279" y="197"/>
                  </a:lnTo>
                  <a:close/>
                  <a:moveTo>
                    <a:pt x="242" y="196"/>
                  </a:moveTo>
                  <a:lnTo>
                    <a:pt x="241" y="196"/>
                  </a:lnTo>
                  <a:lnTo>
                    <a:pt x="242" y="196"/>
                  </a:lnTo>
                  <a:close/>
                  <a:moveTo>
                    <a:pt x="244" y="196"/>
                  </a:moveTo>
                  <a:lnTo>
                    <a:pt x="243" y="196"/>
                  </a:lnTo>
                  <a:lnTo>
                    <a:pt x="244" y="196"/>
                  </a:lnTo>
                  <a:close/>
                  <a:moveTo>
                    <a:pt x="317" y="196"/>
                  </a:moveTo>
                  <a:lnTo>
                    <a:pt x="318" y="196"/>
                  </a:lnTo>
                  <a:lnTo>
                    <a:pt x="317" y="196"/>
                  </a:lnTo>
                  <a:close/>
                  <a:moveTo>
                    <a:pt x="242" y="195"/>
                  </a:moveTo>
                  <a:lnTo>
                    <a:pt x="242" y="196"/>
                  </a:lnTo>
                  <a:lnTo>
                    <a:pt x="242" y="195"/>
                  </a:lnTo>
                  <a:lnTo>
                    <a:pt x="241" y="195"/>
                  </a:lnTo>
                  <a:lnTo>
                    <a:pt x="242" y="195"/>
                  </a:lnTo>
                  <a:close/>
                  <a:moveTo>
                    <a:pt x="317" y="195"/>
                  </a:move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close/>
                  <a:moveTo>
                    <a:pt x="132" y="195"/>
                  </a:moveTo>
                  <a:lnTo>
                    <a:pt x="133" y="195"/>
                  </a:lnTo>
                  <a:lnTo>
                    <a:pt x="132" y="195"/>
                  </a:lnTo>
                  <a:lnTo>
                    <a:pt x="133" y="195"/>
                  </a:lnTo>
                  <a:lnTo>
                    <a:pt x="132" y="195"/>
                  </a:lnTo>
                  <a:lnTo>
                    <a:pt x="131" y="195"/>
                  </a:lnTo>
                  <a:lnTo>
                    <a:pt x="132" y="195"/>
                  </a:lnTo>
                  <a:close/>
                  <a:moveTo>
                    <a:pt x="127" y="195"/>
                  </a:moveTo>
                  <a:lnTo>
                    <a:pt x="127" y="195"/>
                  </a:lnTo>
                  <a:lnTo>
                    <a:pt x="127" y="195"/>
                  </a:lnTo>
                  <a:close/>
                  <a:moveTo>
                    <a:pt x="359" y="195"/>
                  </a:moveTo>
                  <a:lnTo>
                    <a:pt x="359" y="195"/>
                  </a:lnTo>
                  <a:lnTo>
                    <a:pt x="360" y="195"/>
                  </a:lnTo>
                  <a:lnTo>
                    <a:pt x="359" y="195"/>
                  </a:lnTo>
                  <a:close/>
                  <a:moveTo>
                    <a:pt x="360" y="194"/>
                  </a:moveTo>
                  <a:lnTo>
                    <a:pt x="360" y="195"/>
                  </a:lnTo>
                  <a:lnTo>
                    <a:pt x="360" y="194"/>
                  </a:lnTo>
                  <a:close/>
                  <a:moveTo>
                    <a:pt x="360" y="194"/>
                  </a:moveTo>
                  <a:lnTo>
                    <a:pt x="360" y="194"/>
                  </a:lnTo>
                  <a:lnTo>
                    <a:pt x="360" y="194"/>
                  </a:lnTo>
                  <a:lnTo>
                    <a:pt x="360" y="195"/>
                  </a:lnTo>
                  <a:lnTo>
                    <a:pt x="359" y="195"/>
                  </a:lnTo>
                  <a:lnTo>
                    <a:pt x="359" y="194"/>
                  </a:lnTo>
                  <a:lnTo>
                    <a:pt x="360" y="194"/>
                  </a:lnTo>
                  <a:close/>
                  <a:moveTo>
                    <a:pt x="128" y="194"/>
                  </a:move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close/>
                  <a:moveTo>
                    <a:pt x="361" y="194"/>
                  </a:move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close/>
                  <a:moveTo>
                    <a:pt x="316" y="195"/>
                  </a:move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close/>
                  <a:moveTo>
                    <a:pt x="108" y="193"/>
                  </a:moveTo>
                  <a:lnTo>
                    <a:pt x="109" y="193"/>
                  </a:lnTo>
                  <a:lnTo>
                    <a:pt x="109" y="194"/>
                  </a:lnTo>
                  <a:lnTo>
                    <a:pt x="108" y="194"/>
                  </a:lnTo>
                  <a:lnTo>
                    <a:pt x="108" y="193"/>
                  </a:lnTo>
                  <a:close/>
                  <a:moveTo>
                    <a:pt x="107" y="193"/>
                  </a:moveTo>
                  <a:lnTo>
                    <a:pt x="107" y="192"/>
                  </a:lnTo>
                  <a:lnTo>
                    <a:pt x="107" y="193"/>
                  </a:lnTo>
                  <a:close/>
                  <a:moveTo>
                    <a:pt x="118" y="192"/>
                  </a:moveTo>
                  <a:lnTo>
                    <a:pt x="119" y="192"/>
                  </a:lnTo>
                  <a:lnTo>
                    <a:pt x="119" y="192"/>
                  </a:lnTo>
                  <a:lnTo>
                    <a:pt x="119" y="193"/>
                  </a:lnTo>
                  <a:lnTo>
                    <a:pt x="120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8" y="193"/>
                  </a:lnTo>
                  <a:lnTo>
                    <a:pt x="118" y="192"/>
                  </a:lnTo>
                  <a:close/>
                  <a:moveTo>
                    <a:pt x="108" y="192"/>
                  </a:moveTo>
                  <a:lnTo>
                    <a:pt x="107" y="192"/>
                  </a:lnTo>
                  <a:lnTo>
                    <a:pt x="108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314" y="192"/>
                  </a:moveTo>
                  <a:lnTo>
                    <a:pt x="314" y="192"/>
                  </a:lnTo>
                  <a:lnTo>
                    <a:pt x="315" y="192"/>
                  </a:lnTo>
                  <a:lnTo>
                    <a:pt x="315" y="192"/>
                  </a:lnTo>
                  <a:lnTo>
                    <a:pt x="316" y="192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5" y="194"/>
                  </a:lnTo>
                  <a:lnTo>
                    <a:pt x="315" y="193"/>
                  </a:lnTo>
                  <a:lnTo>
                    <a:pt x="315" y="193"/>
                  </a:lnTo>
                  <a:lnTo>
                    <a:pt x="315" y="192"/>
                  </a:lnTo>
                  <a:lnTo>
                    <a:pt x="314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2" y="192"/>
                  </a:lnTo>
                  <a:lnTo>
                    <a:pt x="312" y="192"/>
                  </a:lnTo>
                  <a:lnTo>
                    <a:pt x="312" y="191"/>
                  </a:lnTo>
                  <a:lnTo>
                    <a:pt x="312" y="191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4" y="192"/>
                  </a:lnTo>
                  <a:close/>
                  <a:moveTo>
                    <a:pt x="113" y="191"/>
                  </a:moveTo>
                  <a:lnTo>
                    <a:pt x="114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4" y="192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2" y="191"/>
                  </a:lnTo>
                  <a:lnTo>
                    <a:pt x="113" y="191"/>
                  </a:lnTo>
                  <a:lnTo>
                    <a:pt x="113" y="191"/>
                  </a:lnTo>
                  <a:lnTo>
                    <a:pt x="113" y="191"/>
                  </a:lnTo>
                  <a:close/>
                  <a:moveTo>
                    <a:pt x="106" y="190"/>
                  </a:moveTo>
                  <a:lnTo>
                    <a:pt x="107" y="190"/>
                  </a:lnTo>
                  <a:lnTo>
                    <a:pt x="107" y="191"/>
                  </a:lnTo>
                  <a:lnTo>
                    <a:pt x="106" y="191"/>
                  </a:lnTo>
                  <a:lnTo>
                    <a:pt x="106" y="190"/>
                  </a:lnTo>
                  <a:lnTo>
                    <a:pt x="106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6" y="191"/>
                  </a:lnTo>
                  <a:lnTo>
                    <a:pt x="106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101" y="190"/>
                  </a:moveTo>
                  <a:lnTo>
                    <a:pt x="102" y="190"/>
                  </a:lnTo>
                  <a:lnTo>
                    <a:pt x="101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310" y="190"/>
                  </a:moveTo>
                  <a:lnTo>
                    <a:pt x="310" y="190"/>
                  </a:lnTo>
                  <a:lnTo>
                    <a:pt x="310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09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10" y="190"/>
                  </a:lnTo>
                  <a:close/>
                  <a:moveTo>
                    <a:pt x="101" y="189"/>
                  </a:moveTo>
                  <a:lnTo>
                    <a:pt x="101" y="190"/>
                  </a:lnTo>
                  <a:lnTo>
                    <a:pt x="101" y="189"/>
                  </a:lnTo>
                  <a:close/>
                  <a:moveTo>
                    <a:pt x="97" y="188"/>
                  </a:moveTo>
                  <a:lnTo>
                    <a:pt x="97" y="188"/>
                  </a:lnTo>
                  <a:lnTo>
                    <a:pt x="97" y="188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8" y="187"/>
                  </a:lnTo>
                  <a:lnTo>
                    <a:pt x="328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8" y="187"/>
                  </a:lnTo>
                  <a:lnTo>
                    <a:pt x="327" y="187"/>
                  </a:lnTo>
                  <a:close/>
                  <a:moveTo>
                    <a:pt x="347" y="187"/>
                  </a:moveTo>
                  <a:lnTo>
                    <a:pt x="346" y="187"/>
                  </a:lnTo>
                  <a:lnTo>
                    <a:pt x="347" y="187"/>
                  </a:lnTo>
                  <a:lnTo>
                    <a:pt x="346" y="187"/>
                  </a:lnTo>
                  <a:lnTo>
                    <a:pt x="347" y="187"/>
                  </a:lnTo>
                  <a:close/>
                  <a:moveTo>
                    <a:pt x="318" y="186"/>
                  </a:moveTo>
                  <a:lnTo>
                    <a:pt x="319" y="186"/>
                  </a:lnTo>
                  <a:lnTo>
                    <a:pt x="318" y="186"/>
                  </a:lnTo>
                  <a:close/>
                  <a:moveTo>
                    <a:pt x="94" y="185"/>
                  </a:moveTo>
                  <a:lnTo>
                    <a:pt x="94" y="184"/>
                  </a:lnTo>
                  <a:lnTo>
                    <a:pt x="94" y="185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17" y="184"/>
                  </a:moveTo>
                  <a:lnTo>
                    <a:pt x="318" y="184"/>
                  </a:lnTo>
                  <a:lnTo>
                    <a:pt x="317" y="184"/>
                  </a:lnTo>
                  <a:close/>
                  <a:moveTo>
                    <a:pt x="94" y="184"/>
                  </a:moveTo>
                  <a:lnTo>
                    <a:pt x="93" y="184"/>
                  </a:lnTo>
                  <a:lnTo>
                    <a:pt x="94" y="184"/>
                  </a:lnTo>
                  <a:close/>
                  <a:moveTo>
                    <a:pt x="332" y="184"/>
                  </a:moveTo>
                  <a:lnTo>
                    <a:pt x="331" y="184"/>
                  </a:lnTo>
                  <a:lnTo>
                    <a:pt x="331" y="184"/>
                  </a:lnTo>
                  <a:lnTo>
                    <a:pt x="331" y="184"/>
                  </a:lnTo>
                  <a:lnTo>
                    <a:pt x="332" y="184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09" y="179"/>
                  </a:moveTo>
                  <a:lnTo>
                    <a:pt x="309" y="179"/>
                  </a:lnTo>
                  <a:lnTo>
                    <a:pt x="309" y="179"/>
                  </a:lnTo>
                  <a:close/>
                  <a:moveTo>
                    <a:pt x="294" y="176"/>
                  </a:moveTo>
                  <a:lnTo>
                    <a:pt x="294" y="176"/>
                  </a:lnTo>
                  <a:lnTo>
                    <a:pt x="294" y="176"/>
                  </a:lnTo>
                  <a:close/>
                  <a:moveTo>
                    <a:pt x="311" y="175"/>
                  </a:moveTo>
                  <a:lnTo>
                    <a:pt x="312" y="176"/>
                  </a:lnTo>
                  <a:lnTo>
                    <a:pt x="311" y="176"/>
                  </a:lnTo>
                  <a:lnTo>
                    <a:pt x="311" y="175"/>
                  </a:lnTo>
                  <a:close/>
                  <a:moveTo>
                    <a:pt x="300" y="175"/>
                  </a:moveTo>
                  <a:lnTo>
                    <a:pt x="301" y="175"/>
                  </a:lnTo>
                  <a:lnTo>
                    <a:pt x="300" y="175"/>
                  </a:lnTo>
                  <a:close/>
                  <a:moveTo>
                    <a:pt x="296" y="174"/>
                  </a:moveTo>
                  <a:lnTo>
                    <a:pt x="296" y="175"/>
                  </a:lnTo>
                  <a:lnTo>
                    <a:pt x="296" y="174"/>
                  </a:lnTo>
                  <a:close/>
                  <a:moveTo>
                    <a:pt x="293" y="174"/>
                  </a:moveTo>
                  <a:lnTo>
                    <a:pt x="293" y="174"/>
                  </a:lnTo>
                  <a:lnTo>
                    <a:pt x="293" y="175"/>
                  </a:lnTo>
                  <a:lnTo>
                    <a:pt x="293" y="174"/>
                  </a:lnTo>
                  <a:lnTo>
                    <a:pt x="293" y="174"/>
                  </a:lnTo>
                  <a:close/>
                  <a:moveTo>
                    <a:pt x="293" y="174"/>
                  </a:moveTo>
                  <a:lnTo>
                    <a:pt x="292" y="174"/>
                  </a:lnTo>
                  <a:lnTo>
                    <a:pt x="292" y="175"/>
                  </a:lnTo>
                  <a:lnTo>
                    <a:pt x="292" y="174"/>
                  </a:lnTo>
                  <a:lnTo>
                    <a:pt x="293" y="174"/>
                  </a:lnTo>
                  <a:close/>
                  <a:moveTo>
                    <a:pt x="294" y="174"/>
                  </a:moveTo>
                  <a:lnTo>
                    <a:pt x="293" y="174"/>
                  </a:lnTo>
                  <a:lnTo>
                    <a:pt x="294" y="174"/>
                  </a:lnTo>
                  <a:close/>
                  <a:moveTo>
                    <a:pt x="295" y="174"/>
                  </a:moveTo>
                  <a:lnTo>
                    <a:pt x="295" y="174"/>
                  </a:lnTo>
                  <a:lnTo>
                    <a:pt x="295" y="174"/>
                  </a:lnTo>
                  <a:lnTo>
                    <a:pt x="294" y="175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close/>
                  <a:moveTo>
                    <a:pt x="300" y="174"/>
                  </a:move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0" y="174"/>
                  </a:lnTo>
                  <a:close/>
                  <a:moveTo>
                    <a:pt x="299" y="174"/>
                  </a:move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close/>
                  <a:moveTo>
                    <a:pt x="293" y="174"/>
                  </a:moveTo>
                  <a:lnTo>
                    <a:pt x="294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close/>
                  <a:moveTo>
                    <a:pt x="287" y="174"/>
                  </a:moveTo>
                  <a:lnTo>
                    <a:pt x="287" y="174"/>
                  </a:lnTo>
                  <a:lnTo>
                    <a:pt x="287" y="174"/>
                  </a:lnTo>
                  <a:close/>
                  <a:moveTo>
                    <a:pt x="287" y="174"/>
                  </a:moveTo>
                  <a:lnTo>
                    <a:pt x="287" y="173"/>
                  </a:lnTo>
                  <a:lnTo>
                    <a:pt x="287" y="174"/>
                  </a:lnTo>
                  <a:close/>
                  <a:moveTo>
                    <a:pt x="287" y="173"/>
                  </a:moveTo>
                  <a:lnTo>
                    <a:pt x="287" y="173"/>
                  </a:lnTo>
                  <a:lnTo>
                    <a:pt x="287" y="174"/>
                  </a:lnTo>
                  <a:lnTo>
                    <a:pt x="287" y="174"/>
                  </a:lnTo>
                  <a:lnTo>
                    <a:pt x="287" y="173"/>
                  </a:lnTo>
                  <a:lnTo>
                    <a:pt x="287" y="173"/>
                  </a:lnTo>
                  <a:close/>
                  <a:moveTo>
                    <a:pt x="301" y="173"/>
                  </a:moveTo>
                  <a:lnTo>
                    <a:pt x="301" y="174"/>
                  </a:lnTo>
                  <a:lnTo>
                    <a:pt x="301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4" y="173"/>
                  </a:lnTo>
                  <a:lnTo>
                    <a:pt x="295" y="173"/>
                  </a:lnTo>
                  <a:close/>
                  <a:moveTo>
                    <a:pt x="289" y="173"/>
                  </a:moveTo>
                  <a:lnTo>
                    <a:pt x="290" y="173"/>
                  </a:lnTo>
                  <a:lnTo>
                    <a:pt x="290" y="173"/>
                  </a:lnTo>
                  <a:lnTo>
                    <a:pt x="290" y="173"/>
                  </a:lnTo>
                  <a:lnTo>
                    <a:pt x="289" y="173"/>
                  </a:lnTo>
                  <a:close/>
                  <a:moveTo>
                    <a:pt x="298" y="173"/>
                  </a:moveTo>
                  <a:lnTo>
                    <a:pt x="298" y="173"/>
                  </a:lnTo>
                  <a:lnTo>
                    <a:pt x="298" y="173"/>
                  </a:lnTo>
                  <a:close/>
                  <a:moveTo>
                    <a:pt x="289" y="173"/>
                  </a:moveTo>
                  <a:lnTo>
                    <a:pt x="289" y="173"/>
                  </a:lnTo>
                  <a:lnTo>
                    <a:pt x="289" y="173"/>
                  </a:lnTo>
                  <a:close/>
                  <a:moveTo>
                    <a:pt x="286" y="173"/>
                  </a:moveTo>
                  <a:lnTo>
                    <a:pt x="286" y="173"/>
                  </a:lnTo>
                  <a:lnTo>
                    <a:pt x="286" y="173"/>
                  </a:lnTo>
                  <a:close/>
                  <a:moveTo>
                    <a:pt x="294" y="172"/>
                  </a:moveTo>
                  <a:lnTo>
                    <a:pt x="293" y="172"/>
                  </a:lnTo>
                  <a:lnTo>
                    <a:pt x="294" y="172"/>
                  </a:lnTo>
                  <a:close/>
                  <a:moveTo>
                    <a:pt x="278" y="172"/>
                  </a:moveTo>
                  <a:lnTo>
                    <a:pt x="279" y="172"/>
                  </a:lnTo>
                  <a:lnTo>
                    <a:pt x="279" y="172"/>
                  </a:lnTo>
                  <a:lnTo>
                    <a:pt x="279" y="173"/>
                  </a:lnTo>
                  <a:lnTo>
                    <a:pt x="280" y="173"/>
                  </a:lnTo>
                  <a:lnTo>
                    <a:pt x="279" y="173"/>
                  </a:lnTo>
                  <a:lnTo>
                    <a:pt x="279" y="173"/>
                  </a:lnTo>
                  <a:lnTo>
                    <a:pt x="278" y="173"/>
                  </a:lnTo>
                  <a:lnTo>
                    <a:pt x="278" y="172"/>
                  </a:lnTo>
                  <a:lnTo>
                    <a:pt x="278" y="172"/>
                  </a:lnTo>
                  <a:lnTo>
                    <a:pt x="278" y="172"/>
                  </a:lnTo>
                  <a:close/>
                  <a:moveTo>
                    <a:pt x="270" y="170"/>
                  </a:moveTo>
                  <a:lnTo>
                    <a:pt x="271" y="170"/>
                  </a:lnTo>
                  <a:lnTo>
                    <a:pt x="270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0" y="170"/>
                  </a:lnTo>
                  <a:close/>
                  <a:moveTo>
                    <a:pt x="270" y="170"/>
                  </a:move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8" y="170"/>
                  </a:lnTo>
                  <a:lnTo>
                    <a:pt x="268" y="169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69" y="169"/>
                  </a:lnTo>
                  <a:lnTo>
                    <a:pt x="269" y="169"/>
                  </a:lnTo>
                  <a:lnTo>
                    <a:pt x="270" y="169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close/>
                  <a:moveTo>
                    <a:pt x="270" y="169"/>
                  </a:moveTo>
                  <a:lnTo>
                    <a:pt x="269" y="169"/>
                  </a:lnTo>
                  <a:lnTo>
                    <a:pt x="270" y="169"/>
                  </a:lnTo>
                  <a:lnTo>
                    <a:pt x="270" y="169"/>
                  </a:lnTo>
                  <a:close/>
                  <a:moveTo>
                    <a:pt x="267" y="168"/>
                  </a:moveTo>
                  <a:lnTo>
                    <a:pt x="267" y="168"/>
                  </a:lnTo>
                  <a:lnTo>
                    <a:pt x="267" y="168"/>
                  </a:lnTo>
                  <a:close/>
                  <a:moveTo>
                    <a:pt x="266" y="167"/>
                  </a:moveTo>
                  <a:lnTo>
                    <a:pt x="266" y="168"/>
                  </a:lnTo>
                  <a:lnTo>
                    <a:pt x="266" y="167"/>
                  </a:lnTo>
                  <a:close/>
                  <a:moveTo>
                    <a:pt x="265" y="167"/>
                  </a:moveTo>
                  <a:lnTo>
                    <a:pt x="266" y="167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7" y="168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5" y="168"/>
                  </a:lnTo>
                  <a:lnTo>
                    <a:pt x="265" y="167"/>
                  </a:lnTo>
                  <a:close/>
                  <a:moveTo>
                    <a:pt x="269" y="166"/>
                  </a:moveTo>
                  <a:lnTo>
                    <a:pt x="269" y="166"/>
                  </a:lnTo>
                  <a:lnTo>
                    <a:pt x="269" y="166"/>
                  </a:lnTo>
                  <a:close/>
                  <a:moveTo>
                    <a:pt x="269" y="166"/>
                  </a:moveTo>
                  <a:lnTo>
                    <a:pt x="270" y="166"/>
                  </a:lnTo>
                  <a:lnTo>
                    <a:pt x="269" y="166"/>
                  </a:lnTo>
                  <a:close/>
                  <a:moveTo>
                    <a:pt x="273" y="166"/>
                  </a:move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close/>
                  <a:moveTo>
                    <a:pt x="272" y="166"/>
                  </a:moveTo>
                  <a:lnTo>
                    <a:pt x="272" y="166"/>
                  </a:lnTo>
                  <a:lnTo>
                    <a:pt x="272" y="166"/>
                  </a:lnTo>
                  <a:close/>
                  <a:moveTo>
                    <a:pt x="273" y="166"/>
                  </a:moveTo>
                  <a:lnTo>
                    <a:pt x="273" y="166"/>
                  </a:lnTo>
                  <a:lnTo>
                    <a:pt x="274" y="166"/>
                  </a:lnTo>
                  <a:lnTo>
                    <a:pt x="275" y="166"/>
                  </a:lnTo>
                  <a:lnTo>
                    <a:pt x="275" y="166"/>
                  </a:lnTo>
                  <a:lnTo>
                    <a:pt x="274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3" y="166"/>
                  </a:lnTo>
                  <a:close/>
                  <a:moveTo>
                    <a:pt x="269" y="166"/>
                  </a:moveTo>
                  <a:lnTo>
                    <a:pt x="269" y="165"/>
                  </a:lnTo>
                  <a:lnTo>
                    <a:pt x="269" y="166"/>
                  </a:lnTo>
                  <a:close/>
                  <a:moveTo>
                    <a:pt x="270" y="165"/>
                  </a:moveTo>
                  <a:lnTo>
                    <a:pt x="271" y="165"/>
                  </a:lnTo>
                  <a:lnTo>
                    <a:pt x="271" y="166"/>
                  </a:lnTo>
                  <a:lnTo>
                    <a:pt x="271" y="165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5"/>
                  </a:lnTo>
                  <a:close/>
                  <a:moveTo>
                    <a:pt x="271" y="165"/>
                  </a:moveTo>
                  <a:lnTo>
                    <a:pt x="271" y="165"/>
                  </a:lnTo>
                  <a:lnTo>
                    <a:pt x="271" y="165"/>
                  </a:lnTo>
                  <a:close/>
                  <a:moveTo>
                    <a:pt x="268" y="165"/>
                  </a:moveTo>
                  <a:lnTo>
                    <a:pt x="268" y="165"/>
                  </a:lnTo>
                  <a:lnTo>
                    <a:pt x="268" y="165"/>
                  </a:lnTo>
                  <a:close/>
                  <a:moveTo>
                    <a:pt x="269" y="165"/>
                  </a:move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close/>
                  <a:moveTo>
                    <a:pt x="268" y="165"/>
                  </a:moveTo>
                  <a:lnTo>
                    <a:pt x="267" y="165"/>
                  </a:lnTo>
                  <a:lnTo>
                    <a:pt x="268" y="165"/>
                  </a:lnTo>
                  <a:close/>
                  <a:moveTo>
                    <a:pt x="274" y="165"/>
                  </a:moveTo>
                  <a:lnTo>
                    <a:pt x="275" y="165"/>
                  </a:lnTo>
                  <a:lnTo>
                    <a:pt x="274" y="165"/>
                  </a:lnTo>
                  <a:close/>
                  <a:moveTo>
                    <a:pt x="268" y="165"/>
                  </a:moveTo>
                  <a:lnTo>
                    <a:pt x="269" y="165"/>
                  </a:lnTo>
                  <a:lnTo>
                    <a:pt x="268" y="165"/>
                  </a:lnTo>
                  <a:close/>
                  <a:moveTo>
                    <a:pt x="267" y="164"/>
                  </a:moveTo>
                  <a:lnTo>
                    <a:pt x="266" y="164"/>
                  </a:lnTo>
                  <a:lnTo>
                    <a:pt x="267" y="164"/>
                  </a:lnTo>
                  <a:close/>
                  <a:moveTo>
                    <a:pt x="266" y="163"/>
                  </a:moveTo>
                  <a:lnTo>
                    <a:pt x="266" y="164"/>
                  </a:lnTo>
                  <a:lnTo>
                    <a:pt x="266" y="163"/>
                  </a:lnTo>
                  <a:lnTo>
                    <a:pt x="266" y="164"/>
                  </a:lnTo>
                  <a:lnTo>
                    <a:pt x="266" y="163"/>
                  </a:lnTo>
                  <a:close/>
                  <a:moveTo>
                    <a:pt x="268" y="164"/>
                  </a:moveTo>
                  <a:lnTo>
                    <a:pt x="268" y="163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9" y="165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8" y="163"/>
                  </a:lnTo>
                  <a:lnTo>
                    <a:pt x="268" y="164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5" y="163"/>
                  </a:move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close/>
                  <a:moveTo>
                    <a:pt x="266" y="162"/>
                  </a:moveTo>
                  <a:lnTo>
                    <a:pt x="266" y="162"/>
                  </a:lnTo>
                  <a:lnTo>
                    <a:pt x="266" y="162"/>
                  </a:lnTo>
                  <a:close/>
                  <a:moveTo>
                    <a:pt x="266" y="162"/>
                  </a:moveTo>
                  <a:lnTo>
                    <a:pt x="265" y="162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6" y="162"/>
                  </a:lnTo>
                  <a:close/>
                  <a:moveTo>
                    <a:pt x="267" y="162"/>
                  </a:move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7" y="162"/>
                  </a:move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6" y="162"/>
                  </a:moveTo>
                  <a:lnTo>
                    <a:pt x="267" y="162"/>
                  </a:lnTo>
                  <a:lnTo>
                    <a:pt x="266" y="162"/>
                  </a:lnTo>
                  <a:lnTo>
                    <a:pt x="267" y="162"/>
                  </a:lnTo>
                  <a:lnTo>
                    <a:pt x="266" y="162"/>
                  </a:lnTo>
                  <a:close/>
                  <a:moveTo>
                    <a:pt x="263" y="162"/>
                  </a:move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close/>
                  <a:moveTo>
                    <a:pt x="262" y="161"/>
                  </a:moveTo>
                  <a:lnTo>
                    <a:pt x="262" y="162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close/>
                  <a:moveTo>
                    <a:pt x="265" y="161"/>
                  </a:moveTo>
                  <a:lnTo>
                    <a:pt x="264" y="161"/>
                  </a:lnTo>
                  <a:lnTo>
                    <a:pt x="265" y="161"/>
                  </a:lnTo>
                  <a:close/>
                  <a:moveTo>
                    <a:pt x="266" y="161"/>
                  </a:moveTo>
                  <a:lnTo>
                    <a:pt x="267" y="161"/>
                  </a:lnTo>
                  <a:lnTo>
                    <a:pt x="266" y="161"/>
                  </a:lnTo>
                  <a:lnTo>
                    <a:pt x="267" y="161"/>
                  </a:lnTo>
                  <a:lnTo>
                    <a:pt x="266" y="161"/>
                  </a:lnTo>
                  <a:lnTo>
                    <a:pt x="265" y="161"/>
                  </a:lnTo>
                  <a:lnTo>
                    <a:pt x="265" y="161"/>
                  </a:lnTo>
                  <a:lnTo>
                    <a:pt x="266" y="161"/>
                  </a:lnTo>
                  <a:close/>
                  <a:moveTo>
                    <a:pt x="263" y="161"/>
                  </a:moveTo>
                  <a:lnTo>
                    <a:pt x="263" y="161"/>
                  </a:lnTo>
                  <a:lnTo>
                    <a:pt x="263" y="160"/>
                  </a:lnTo>
                  <a:lnTo>
                    <a:pt x="263" y="161"/>
                  </a:lnTo>
                  <a:lnTo>
                    <a:pt x="263" y="161"/>
                  </a:lnTo>
                  <a:close/>
                  <a:moveTo>
                    <a:pt x="268" y="160"/>
                  </a:moveTo>
                  <a:lnTo>
                    <a:pt x="268" y="161"/>
                  </a:lnTo>
                  <a:lnTo>
                    <a:pt x="268" y="160"/>
                  </a:lnTo>
                  <a:close/>
                  <a:moveTo>
                    <a:pt x="261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1"/>
                  </a:lnTo>
                  <a:lnTo>
                    <a:pt x="261" y="160"/>
                  </a:lnTo>
                  <a:close/>
                  <a:moveTo>
                    <a:pt x="263" y="161"/>
                  </a:moveTo>
                  <a:lnTo>
                    <a:pt x="263" y="160"/>
                  </a:lnTo>
                  <a:lnTo>
                    <a:pt x="263" y="160"/>
                  </a:lnTo>
                  <a:lnTo>
                    <a:pt x="263" y="161"/>
                  </a:lnTo>
                  <a:close/>
                  <a:moveTo>
                    <a:pt x="260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0" y="160"/>
                  </a:lnTo>
                  <a:close/>
                  <a:moveTo>
                    <a:pt x="260" y="159"/>
                  </a:moveTo>
                  <a:lnTo>
                    <a:pt x="260" y="159"/>
                  </a:lnTo>
                  <a:lnTo>
                    <a:pt x="260" y="159"/>
                  </a:lnTo>
                  <a:close/>
                  <a:moveTo>
                    <a:pt x="261" y="152"/>
                  </a:move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close/>
                  <a:moveTo>
                    <a:pt x="260" y="151"/>
                  </a:move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0" y="150"/>
                  </a:lnTo>
                  <a:lnTo>
                    <a:pt x="261" y="150"/>
                  </a:lnTo>
                  <a:lnTo>
                    <a:pt x="261" y="151"/>
                  </a:lnTo>
                  <a:close/>
                  <a:moveTo>
                    <a:pt x="261" y="149"/>
                  </a:moveTo>
                  <a:lnTo>
                    <a:pt x="261" y="150"/>
                  </a:lnTo>
                  <a:lnTo>
                    <a:pt x="261" y="149"/>
                  </a:lnTo>
                  <a:lnTo>
                    <a:pt x="261" y="149"/>
                  </a:lnTo>
                  <a:close/>
                  <a:moveTo>
                    <a:pt x="262" y="147"/>
                  </a:moveTo>
                  <a:lnTo>
                    <a:pt x="262" y="148"/>
                  </a:lnTo>
                  <a:lnTo>
                    <a:pt x="262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5" y="144"/>
                  </a:moveTo>
                  <a:lnTo>
                    <a:pt x="265" y="145"/>
                  </a:lnTo>
                  <a:lnTo>
                    <a:pt x="264" y="145"/>
                  </a:lnTo>
                  <a:lnTo>
                    <a:pt x="264" y="144"/>
                  </a:lnTo>
                  <a:lnTo>
                    <a:pt x="265" y="144"/>
                  </a:lnTo>
                  <a:close/>
                  <a:moveTo>
                    <a:pt x="263" y="143"/>
                  </a:moveTo>
                  <a:lnTo>
                    <a:pt x="264" y="143"/>
                  </a:lnTo>
                  <a:lnTo>
                    <a:pt x="263" y="143"/>
                  </a:lnTo>
                  <a:lnTo>
                    <a:pt x="263" y="144"/>
                  </a:lnTo>
                  <a:lnTo>
                    <a:pt x="263" y="143"/>
                  </a:lnTo>
                  <a:close/>
                  <a:moveTo>
                    <a:pt x="263" y="143"/>
                  </a:moveTo>
                  <a:lnTo>
                    <a:pt x="263" y="143"/>
                  </a:lnTo>
                  <a:lnTo>
                    <a:pt x="263" y="143"/>
                  </a:lnTo>
                  <a:close/>
                  <a:moveTo>
                    <a:pt x="268" y="139"/>
                  </a:moveTo>
                  <a:lnTo>
                    <a:pt x="268" y="139"/>
                  </a:lnTo>
                  <a:lnTo>
                    <a:pt x="268" y="139"/>
                  </a:lnTo>
                  <a:lnTo>
                    <a:pt x="267" y="139"/>
                  </a:lnTo>
                  <a:lnTo>
                    <a:pt x="268" y="139"/>
                  </a:lnTo>
                  <a:close/>
                  <a:moveTo>
                    <a:pt x="290" y="133"/>
                  </a:moveTo>
                  <a:lnTo>
                    <a:pt x="290" y="133"/>
                  </a:lnTo>
                  <a:lnTo>
                    <a:pt x="290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lnTo>
                    <a:pt x="277" y="133"/>
                  </a:lnTo>
                  <a:lnTo>
                    <a:pt x="276" y="133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4" y="131"/>
                  </a:lnTo>
                  <a:lnTo>
                    <a:pt x="275" y="131"/>
                  </a:lnTo>
                  <a:close/>
                  <a:moveTo>
                    <a:pt x="279" y="128"/>
                  </a:moveTo>
                  <a:lnTo>
                    <a:pt x="278" y="128"/>
                  </a:lnTo>
                  <a:lnTo>
                    <a:pt x="278" y="128"/>
                  </a:lnTo>
                  <a:lnTo>
                    <a:pt x="279" y="128"/>
                  </a:lnTo>
                  <a:close/>
                  <a:moveTo>
                    <a:pt x="305" y="125"/>
                  </a:moveTo>
                  <a:lnTo>
                    <a:pt x="305" y="125"/>
                  </a:lnTo>
                  <a:lnTo>
                    <a:pt x="305" y="125"/>
                  </a:lnTo>
                  <a:close/>
                  <a:moveTo>
                    <a:pt x="309" y="121"/>
                  </a:moveTo>
                  <a:lnTo>
                    <a:pt x="310" y="121"/>
                  </a:lnTo>
                  <a:lnTo>
                    <a:pt x="309" y="121"/>
                  </a:lnTo>
                  <a:lnTo>
                    <a:pt x="309" y="121"/>
                  </a:lnTo>
                  <a:close/>
                  <a:moveTo>
                    <a:pt x="287" y="121"/>
                  </a:moveTo>
                  <a:lnTo>
                    <a:pt x="287" y="121"/>
                  </a:lnTo>
                  <a:lnTo>
                    <a:pt x="287" y="121"/>
                  </a:lnTo>
                  <a:close/>
                  <a:moveTo>
                    <a:pt x="310" y="120"/>
                  </a:move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84" y="120"/>
                  </a:moveTo>
                  <a:lnTo>
                    <a:pt x="284" y="120"/>
                  </a:lnTo>
                  <a:lnTo>
                    <a:pt x="284" y="120"/>
                  </a:lnTo>
                  <a:close/>
                  <a:moveTo>
                    <a:pt x="312" y="118"/>
                  </a:moveTo>
                  <a:lnTo>
                    <a:pt x="312" y="118"/>
                  </a:lnTo>
                  <a:lnTo>
                    <a:pt x="312" y="117"/>
                  </a:lnTo>
                  <a:lnTo>
                    <a:pt x="312" y="117"/>
                  </a:lnTo>
                  <a:lnTo>
                    <a:pt x="312" y="118"/>
                  </a:lnTo>
                  <a:close/>
                  <a:moveTo>
                    <a:pt x="316" y="117"/>
                  </a:moveTo>
                  <a:lnTo>
                    <a:pt x="315" y="117"/>
                  </a:lnTo>
                  <a:lnTo>
                    <a:pt x="316" y="117"/>
                  </a:lnTo>
                  <a:close/>
                  <a:moveTo>
                    <a:pt x="314" y="117"/>
                  </a:moveTo>
                  <a:lnTo>
                    <a:pt x="314" y="117"/>
                  </a:lnTo>
                  <a:lnTo>
                    <a:pt x="314" y="117"/>
                  </a:lnTo>
                  <a:close/>
                  <a:moveTo>
                    <a:pt x="311" y="117"/>
                  </a:moveTo>
                  <a:lnTo>
                    <a:pt x="310" y="117"/>
                  </a:lnTo>
                  <a:lnTo>
                    <a:pt x="311" y="117"/>
                  </a:lnTo>
                  <a:close/>
                  <a:moveTo>
                    <a:pt x="315" y="117"/>
                  </a:moveTo>
                  <a:lnTo>
                    <a:pt x="315" y="117"/>
                  </a:lnTo>
                  <a:lnTo>
                    <a:pt x="315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5" y="118"/>
                  </a:lnTo>
                  <a:lnTo>
                    <a:pt x="314" y="118"/>
                  </a:lnTo>
                  <a:lnTo>
                    <a:pt x="314" y="117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4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close/>
                  <a:moveTo>
                    <a:pt x="315" y="117"/>
                  </a:moveTo>
                  <a:lnTo>
                    <a:pt x="315" y="116"/>
                  </a:lnTo>
                  <a:lnTo>
                    <a:pt x="315" y="117"/>
                  </a:lnTo>
                  <a:close/>
                  <a:moveTo>
                    <a:pt x="312" y="116"/>
                  </a:moveTo>
                  <a:lnTo>
                    <a:pt x="311" y="116"/>
                  </a:lnTo>
                  <a:lnTo>
                    <a:pt x="312" y="116"/>
                  </a:lnTo>
                  <a:close/>
                  <a:moveTo>
                    <a:pt x="316" y="116"/>
                  </a:moveTo>
                  <a:lnTo>
                    <a:pt x="316" y="116"/>
                  </a:lnTo>
                  <a:lnTo>
                    <a:pt x="317" y="116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6"/>
                  </a:lnTo>
                  <a:lnTo>
                    <a:pt x="315" y="116"/>
                  </a:lnTo>
                  <a:lnTo>
                    <a:pt x="316" y="116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5"/>
                  </a:lnTo>
                  <a:lnTo>
                    <a:pt x="316" y="115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5"/>
                  </a:lnTo>
                  <a:close/>
                  <a:moveTo>
                    <a:pt x="336" y="102"/>
                  </a:moveTo>
                  <a:lnTo>
                    <a:pt x="336" y="102"/>
                  </a:lnTo>
                  <a:lnTo>
                    <a:pt x="336" y="102"/>
                  </a:lnTo>
                  <a:close/>
                  <a:moveTo>
                    <a:pt x="338" y="102"/>
                  </a:moveTo>
                  <a:lnTo>
                    <a:pt x="338" y="102"/>
                  </a:lnTo>
                  <a:lnTo>
                    <a:pt x="338" y="102"/>
                  </a:lnTo>
                  <a:close/>
                  <a:moveTo>
                    <a:pt x="310" y="96"/>
                  </a:moveTo>
                  <a:lnTo>
                    <a:pt x="310" y="95"/>
                  </a:lnTo>
                  <a:lnTo>
                    <a:pt x="311" y="95"/>
                  </a:lnTo>
                  <a:lnTo>
                    <a:pt x="312" y="95"/>
                  </a:lnTo>
                  <a:lnTo>
                    <a:pt x="312" y="96"/>
                  </a:lnTo>
                  <a:lnTo>
                    <a:pt x="311" y="96"/>
                  </a:lnTo>
                  <a:lnTo>
                    <a:pt x="310" y="96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5" y="93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4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6" y="93"/>
                  </a:lnTo>
                  <a:lnTo>
                    <a:pt x="315" y="93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6" y="92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2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2"/>
                  </a:lnTo>
                  <a:lnTo>
                    <a:pt x="316" y="92"/>
                  </a:lnTo>
                  <a:close/>
                  <a:moveTo>
                    <a:pt x="323" y="92"/>
                  </a:moveTo>
                  <a:lnTo>
                    <a:pt x="323" y="92"/>
                  </a:lnTo>
                  <a:lnTo>
                    <a:pt x="323" y="92"/>
                  </a:lnTo>
                  <a:close/>
                  <a:moveTo>
                    <a:pt x="319" y="91"/>
                  </a:moveTo>
                  <a:lnTo>
                    <a:pt x="320" y="91"/>
                  </a:lnTo>
                  <a:lnTo>
                    <a:pt x="319" y="91"/>
                  </a:lnTo>
                  <a:lnTo>
                    <a:pt x="319" y="91"/>
                  </a:lnTo>
                  <a:lnTo>
                    <a:pt x="319" y="92"/>
                  </a:lnTo>
                  <a:lnTo>
                    <a:pt x="319" y="91"/>
                  </a:lnTo>
                  <a:lnTo>
                    <a:pt x="318" y="92"/>
                  </a:lnTo>
                  <a:lnTo>
                    <a:pt x="318" y="91"/>
                  </a:lnTo>
                  <a:lnTo>
                    <a:pt x="319" y="91"/>
                  </a:lnTo>
                  <a:lnTo>
                    <a:pt x="319" y="91"/>
                  </a:lnTo>
                  <a:close/>
                  <a:moveTo>
                    <a:pt x="318" y="91"/>
                  </a:moveTo>
                  <a:lnTo>
                    <a:pt x="317" y="91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1"/>
                  </a:lnTo>
                  <a:lnTo>
                    <a:pt x="317" y="91"/>
                  </a:lnTo>
                  <a:lnTo>
                    <a:pt x="318" y="91"/>
                  </a:lnTo>
                  <a:close/>
                  <a:moveTo>
                    <a:pt x="314" y="91"/>
                  </a:moveTo>
                  <a:lnTo>
                    <a:pt x="315" y="91"/>
                  </a:lnTo>
                  <a:lnTo>
                    <a:pt x="314" y="91"/>
                  </a:lnTo>
                  <a:close/>
                  <a:moveTo>
                    <a:pt x="325" y="89"/>
                  </a:moveTo>
                  <a:lnTo>
                    <a:pt x="325" y="89"/>
                  </a:lnTo>
                  <a:lnTo>
                    <a:pt x="325" y="89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24" y="91"/>
                  </a:lnTo>
                  <a:lnTo>
                    <a:pt x="323" y="91"/>
                  </a:lnTo>
                  <a:lnTo>
                    <a:pt x="323" y="91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2" y="91"/>
                  </a:lnTo>
                  <a:lnTo>
                    <a:pt x="321" y="91"/>
                  </a:lnTo>
                  <a:lnTo>
                    <a:pt x="321" y="91"/>
                  </a:lnTo>
                  <a:lnTo>
                    <a:pt x="321" y="90"/>
                  </a:lnTo>
                  <a:lnTo>
                    <a:pt x="322" y="90"/>
                  </a:lnTo>
                  <a:lnTo>
                    <a:pt x="322" y="89"/>
                  </a:lnTo>
                  <a:lnTo>
                    <a:pt x="323" y="89"/>
                  </a:lnTo>
                  <a:lnTo>
                    <a:pt x="323" y="89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5" y="89"/>
                  </a:lnTo>
                  <a:lnTo>
                    <a:pt x="325" y="89"/>
                  </a:lnTo>
                  <a:close/>
                  <a:moveTo>
                    <a:pt x="346" y="88"/>
                  </a:moveTo>
                  <a:lnTo>
                    <a:pt x="345" y="88"/>
                  </a:lnTo>
                  <a:lnTo>
                    <a:pt x="346" y="88"/>
                  </a:lnTo>
                  <a:close/>
                  <a:moveTo>
                    <a:pt x="310" y="31"/>
                  </a:moveTo>
                  <a:lnTo>
                    <a:pt x="311" y="31"/>
                  </a:lnTo>
                  <a:lnTo>
                    <a:pt x="310" y="31"/>
                  </a:lnTo>
                  <a:close/>
                  <a:moveTo>
                    <a:pt x="320" y="29"/>
                  </a:moveTo>
                  <a:lnTo>
                    <a:pt x="321" y="29"/>
                  </a:lnTo>
                  <a:lnTo>
                    <a:pt x="321" y="29"/>
                  </a:lnTo>
                  <a:lnTo>
                    <a:pt x="321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close/>
                  <a:moveTo>
                    <a:pt x="311" y="28"/>
                  </a:moveTo>
                  <a:lnTo>
                    <a:pt x="312" y="29"/>
                  </a:lnTo>
                  <a:lnTo>
                    <a:pt x="312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09" y="29"/>
                  </a:lnTo>
                  <a:lnTo>
                    <a:pt x="309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8"/>
                  </a:lnTo>
                  <a:lnTo>
                    <a:pt x="309" y="28"/>
                  </a:lnTo>
                  <a:lnTo>
                    <a:pt x="309" y="28"/>
                  </a:lnTo>
                  <a:lnTo>
                    <a:pt x="310" y="28"/>
                  </a:lnTo>
                  <a:lnTo>
                    <a:pt x="310" y="28"/>
                  </a:lnTo>
                  <a:lnTo>
                    <a:pt x="311" y="28"/>
                  </a:lnTo>
                  <a:lnTo>
                    <a:pt x="311" y="28"/>
                  </a:lnTo>
                  <a:close/>
                  <a:moveTo>
                    <a:pt x="243" y="28"/>
                  </a:moveTo>
                  <a:lnTo>
                    <a:pt x="243" y="29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3" y="28"/>
                  </a:lnTo>
                  <a:close/>
                  <a:moveTo>
                    <a:pt x="236" y="27"/>
                  </a:moveTo>
                  <a:lnTo>
                    <a:pt x="236" y="28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4" y="28"/>
                  </a:lnTo>
                  <a:lnTo>
                    <a:pt x="235" y="27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5" y="27"/>
                  </a:lnTo>
                  <a:lnTo>
                    <a:pt x="236" y="27"/>
                  </a:lnTo>
                  <a:close/>
                  <a:moveTo>
                    <a:pt x="268" y="27"/>
                  </a:moveTo>
                  <a:lnTo>
                    <a:pt x="268" y="27"/>
                  </a:lnTo>
                  <a:lnTo>
                    <a:pt x="268" y="27"/>
                  </a:lnTo>
                  <a:close/>
                  <a:moveTo>
                    <a:pt x="235" y="27"/>
                  </a:moveTo>
                  <a:lnTo>
                    <a:pt x="235" y="27"/>
                  </a:lnTo>
                  <a:lnTo>
                    <a:pt x="234" y="27"/>
                  </a:lnTo>
                  <a:lnTo>
                    <a:pt x="235" y="27"/>
                  </a:lnTo>
                  <a:lnTo>
                    <a:pt x="235" y="27"/>
                  </a:lnTo>
                  <a:close/>
                  <a:moveTo>
                    <a:pt x="295" y="27"/>
                  </a:moveTo>
                  <a:lnTo>
                    <a:pt x="294" y="27"/>
                  </a:lnTo>
                  <a:lnTo>
                    <a:pt x="295" y="27"/>
                  </a:lnTo>
                  <a:close/>
                  <a:moveTo>
                    <a:pt x="295" y="27"/>
                  </a:moveTo>
                  <a:lnTo>
                    <a:pt x="295" y="27"/>
                  </a:lnTo>
                  <a:lnTo>
                    <a:pt x="295" y="27"/>
                  </a:lnTo>
                  <a:close/>
                  <a:moveTo>
                    <a:pt x="243" y="26"/>
                  </a:moveTo>
                  <a:lnTo>
                    <a:pt x="243" y="26"/>
                  </a:lnTo>
                  <a:lnTo>
                    <a:pt x="243" y="26"/>
                  </a:lnTo>
                  <a:close/>
                  <a:moveTo>
                    <a:pt x="261" y="26"/>
                  </a:moveTo>
                  <a:lnTo>
                    <a:pt x="260" y="26"/>
                  </a:lnTo>
                  <a:lnTo>
                    <a:pt x="260" y="26"/>
                  </a:lnTo>
                  <a:lnTo>
                    <a:pt x="261" y="26"/>
                  </a:lnTo>
                  <a:lnTo>
                    <a:pt x="261" y="26"/>
                  </a:lnTo>
                  <a:close/>
                  <a:moveTo>
                    <a:pt x="237" y="28"/>
                  </a:moveTo>
                  <a:lnTo>
                    <a:pt x="237" y="27"/>
                  </a:lnTo>
                  <a:lnTo>
                    <a:pt x="236" y="27"/>
                  </a:lnTo>
                  <a:lnTo>
                    <a:pt x="236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39" y="26"/>
                  </a:lnTo>
                  <a:lnTo>
                    <a:pt x="239" y="27"/>
                  </a:lnTo>
                  <a:lnTo>
                    <a:pt x="238" y="27"/>
                  </a:lnTo>
                  <a:lnTo>
                    <a:pt x="237" y="27"/>
                  </a:lnTo>
                  <a:lnTo>
                    <a:pt x="237" y="28"/>
                  </a:lnTo>
                  <a:close/>
                  <a:moveTo>
                    <a:pt x="316" y="25"/>
                  </a:moveTo>
                  <a:lnTo>
                    <a:pt x="315" y="25"/>
                  </a:lnTo>
                  <a:lnTo>
                    <a:pt x="315" y="26"/>
                  </a:lnTo>
                  <a:lnTo>
                    <a:pt x="314" y="26"/>
                  </a:lnTo>
                  <a:lnTo>
                    <a:pt x="315" y="25"/>
                  </a:lnTo>
                  <a:lnTo>
                    <a:pt x="315" y="25"/>
                  </a:lnTo>
                  <a:lnTo>
                    <a:pt x="316" y="25"/>
                  </a:lnTo>
                  <a:close/>
                  <a:moveTo>
                    <a:pt x="323" y="25"/>
                  </a:moveTo>
                  <a:lnTo>
                    <a:pt x="323" y="25"/>
                  </a:lnTo>
                  <a:lnTo>
                    <a:pt x="324" y="25"/>
                  </a:lnTo>
                  <a:lnTo>
                    <a:pt x="323" y="25"/>
                  </a:lnTo>
                  <a:lnTo>
                    <a:pt x="323" y="25"/>
                  </a:lnTo>
                  <a:lnTo>
                    <a:pt x="322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2" y="25"/>
                  </a:lnTo>
                  <a:lnTo>
                    <a:pt x="322" y="24"/>
                  </a:lnTo>
                  <a:lnTo>
                    <a:pt x="323" y="25"/>
                  </a:lnTo>
                  <a:close/>
                  <a:moveTo>
                    <a:pt x="321" y="24"/>
                  </a:moveTo>
                  <a:lnTo>
                    <a:pt x="320" y="24"/>
                  </a:lnTo>
                  <a:lnTo>
                    <a:pt x="321" y="24"/>
                  </a:lnTo>
                  <a:close/>
                  <a:moveTo>
                    <a:pt x="313" y="23"/>
                  </a:moveTo>
                  <a:lnTo>
                    <a:pt x="312" y="23"/>
                  </a:lnTo>
                  <a:lnTo>
                    <a:pt x="313" y="22"/>
                  </a:lnTo>
                  <a:lnTo>
                    <a:pt x="313" y="23"/>
                  </a:lnTo>
                  <a:lnTo>
                    <a:pt x="313" y="23"/>
                  </a:lnTo>
                  <a:lnTo>
                    <a:pt x="313" y="23"/>
                  </a:lnTo>
                  <a:close/>
                  <a:moveTo>
                    <a:pt x="274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close/>
                  <a:moveTo>
                    <a:pt x="276" y="22"/>
                  </a:moveTo>
                  <a:lnTo>
                    <a:pt x="276" y="22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4"/>
                  </a:lnTo>
                  <a:lnTo>
                    <a:pt x="276" y="24"/>
                  </a:lnTo>
                  <a:lnTo>
                    <a:pt x="276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2"/>
                  </a:lnTo>
                  <a:lnTo>
                    <a:pt x="275" y="22"/>
                  </a:lnTo>
                  <a:lnTo>
                    <a:pt x="276" y="22"/>
                  </a:lnTo>
                  <a:close/>
                  <a:moveTo>
                    <a:pt x="285" y="22"/>
                  </a:moveTo>
                  <a:lnTo>
                    <a:pt x="286" y="22"/>
                  </a:lnTo>
                  <a:lnTo>
                    <a:pt x="286" y="22"/>
                  </a:lnTo>
                  <a:lnTo>
                    <a:pt x="286" y="22"/>
                  </a:lnTo>
                  <a:lnTo>
                    <a:pt x="286" y="23"/>
                  </a:lnTo>
                  <a:lnTo>
                    <a:pt x="285" y="23"/>
                  </a:lnTo>
                  <a:lnTo>
                    <a:pt x="284" y="23"/>
                  </a:lnTo>
                  <a:lnTo>
                    <a:pt x="283" y="23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2" y="24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4" y="22"/>
                  </a:lnTo>
                  <a:lnTo>
                    <a:pt x="284" y="22"/>
                  </a:lnTo>
                  <a:lnTo>
                    <a:pt x="285" y="22"/>
                  </a:lnTo>
                  <a:close/>
                  <a:moveTo>
                    <a:pt x="273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lnTo>
                    <a:pt x="274" y="22"/>
                  </a:lnTo>
                  <a:lnTo>
                    <a:pt x="273" y="22"/>
                  </a:lnTo>
                  <a:close/>
                  <a:moveTo>
                    <a:pt x="254" y="22"/>
                  </a:move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close/>
                  <a:moveTo>
                    <a:pt x="331" y="22"/>
                  </a:moveTo>
                  <a:lnTo>
                    <a:pt x="331" y="22"/>
                  </a:lnTo>
                  <a:lnTo>
                    <a:pt x="331" y="22"/>
                  </a:lnTo>
                  <a:close/>
                  <a:moveTo>
                    <a:pt x="260" y="22"/>
                  </a:moveTo>
                  <a:lnTo>
                    <a:pt x="261" y="22"/>
                  </a:lnTo>
                  <a:lnTo>
                    <a:pt x="261" y="22"/>
                  </a:lnTo>
                  <a:lnTo>
                    <a:pt x="262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2" y="22"/>
                  </a:lnTo>
                  <a:lnTo>
                    <a:pt x="261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close/>
                  <a:moveTo>
                    <a:pt x="324" y="22"/>
                  </a:moveTo>
                  <a:lnTo>
                    <a:pt x="324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2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4" y="22"/>
                  </a:lnTo>
                  <a:lnTo>
                    <a:pt x="324" y="22"/>
                  </a:lnTo>
                  <a:close/>
                  <a:moveTo>
                    <a:pt x="333" y="22"/>
                  </a:moveTo>
                  <a:lnTo>
                    <a:pt x="332" y="22"/>
                  </a:lnTo>
                  <a:lnTo>
                    <a:pt x="333" y="22"/>
                  </a:lnTo>
                  <a:close/>
                  <a:moveTo>
                    <a:pt x="334" y="21"/>
                  </a:moveTo>
                  <a:lnTo>
                    <a:pt x="333" y="21"/>
                  </a:lnTo>
                  <a:lnTo>
                    <a:pt x="334" y="21"/>
                  </a:lnTo>
                  <a:close/>
                  <a:moveTo>
                    <a:pt x="279" y="22"/>
                  </a:moveTo>
                  <a:lnTo>
                    <a:pt x="279" y="22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close/>
                  <a:moveTo>
                    <a:pt x="290" y="21"/>
                  </a:moveTo>
                  <a:lnTo>
                    <a:pt x="291" y="21"/>
                  </a:lnTo>
                  <a:lnTo>
                    <a:pt x="291" y="21"/>
                  </a:lnTo>
                  <a:lnTo>
                    <a:pt x="292" y="21"/>
                  </a:lnTo>
                  <a:lnTo>
                    <a:pt x="292" y="22"/>
                  </a:lnTo>
                  <a:lnTo>
                    <a:pt x="291" y="22"/>
                  </a:lnTo>
                  <a:lnTo>
                    <a:pt x="291" y="22"/>
                  </a:lnTo>
                  <a:lnTo>
                    <a:pt x="290" y="22"/>
                  </a:lnTo>
                  <a:lnTo>
                    <a:pt x="290" y="21"/>
                  </a:lnTo>
                  <a:lnTo>
                    <a:pt x="290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88" y="21"/>
                  </a:lnTo>
                  <a:lnTo>
                    <a:pt x="287" y="21"/>
                  </a:lnTo>
                  <a:lnTo>
                    <a:pt x="288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90" y="21"/>
                  </a:lnTo>
                  <a:close/>
                  <a:moveTo>
                    <a:pt x="284" y="21"/>
                  </a:moveTo>
                  <a:lnTo>
                    <a:pt x="284" y="21"/>
                  </a:lnTo>
                  <a:lnTo>
                    <a:pt x="284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3" y="20"/>
                  </a:lnTo>
                  <a:lnTo>
                    <a:pt x="284" y="20"/>
                  </a:lnTo>
                  <a:lnTo>
                    <a:pt x="284" y="21"/>
                  </a:lnTo>
                  <a:close/>
                  <a:moveTo>
                    <a:pt x="278" y="21"/>
                  </a:moveTo>
                  <a:lnTo>
                    <a:pt x="278" y="21"/>
                  </a:lnTo>
                  <a:lnTo>
                    <a:pt x="277" y="21"/>
                  </a:lnTo>
                  <a:lnTo>
                    <a:pt x="278" y="21"/>
                  </a:lnTo>
                  <a:lnTo>
                    <a:pt x="278" y="20"/>
                  </a:lnTo>
                  <a:lnTo>
                    <a:pt x="279" y="20"/>
                  </a:lnTo>
                  <a:lnTo>
                    <a:pt x="278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20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8" y="21"/>
                  </a:lnTo>
                  <a:close/>
                  <a:moveTo>
                    <a:pt x="295" y="19"/>
                  </a:moveTo>
                  <a:lnTo>
                    <a:pt x="295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5" y="19"/>
                  </a:lnTo>
                  <a:lnTo>
                    <a:pt x="295" y="19"/>
                  </a:lnTo>
                  <a:close/>
                  <a:moveTo>
                    <a:pt x="281" y="19"/>
                  </a:moveTo>
                  <a:lnTo>
                    <a:pt x="282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20"/>
                  </a:lnTo>
                  <a:lnTo>
                    <a:pt x="282" y="20"/>
                  </a:lnTo>
                  <a:lnTo>
                    <a:pt x="281" y="20"/>
                  </a:lnTo>
                  <a:lnTo>
                    <a:pt x="280" y="20"/>
                  </a:lnTo>
                  <a:lnTo>
                    <a:pt x="280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80" y="19"/>
                  </a:lnTo>
                  <a:lnTo>
                    <a:pt x="280" y="19"/>
                  </a:lnTo>
                  <a:lnTo>
                    <a:pt x="281" y="19"/>
                  </a:lnTo>
                  <a:close/>
                  <a:moveTo>
                    <a:pt x="339" y="18"/>
                  </a:moveTo>
                  <a:lnTo>
                    <a:pt x="339" y="18"/>
                  </a:lnTo>
                  <a:lnTo>
                    <a:pt x="338" y="18"/>
                  </a:lnTo>
                  <a:lnTo>
                    <a:pt x="339" y="18"/>
                  </a:lnTo>
                  <a:lnTo>
                    <a:pt x="339" y="18"/>
                  </a:lnTo>
                  <a:close/>
                  <a:moveTo>
                    <a:pt x="277" y="18"/>
                  </a:moveTo>
                  <a:lnTo>
                    <a:pt x="276" y="18"/>
                  </a:lnTo>
                  <a:lnTo>
                    <a:pt x="276" y="18"/>
                  </a:lnTo>
                  <a:lnTo>
                    <a:pt x="276" y="18"/>
                  </a:lnTo>
                  <a:lnTo>
                    <a:pt x="277" y="18"/>
                  </a:lnTo>
                  <a:close/>
                  <a:moveTo>
                    <a:pt x="312" y="18"/>
                  </a:moveTo>
                  <a:lnTo>
                    <a:pt x="312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1" y="18"/>
                  </a:lnTo>
                  <a:lnTo>
                    <a:pt x="312" y="18"/>
                  </a:lnTo>
                  <a:lnTo>
                    <a:pt x="312" y="17"/>
                  </a:lnTo>
                  <a:lnTo>
                    <a:pt x="313" y="17"/>
                  </a:lnTo>
                  <a:lnTo>
                    <a:pt x="312" y="18"/>
                  </a:lnTo>
                  <a:lnTo>
                    <a:pt x="312" y="18"/>
                  </a:lnTo>
                  <a:close/>
                  <a:moveTo>
                    <a:pt x="306" y="17"/>
                  </a:moveTo>
                  <a:lnTo>
                    <a:pt x="305" y="17"/>
                  </a:lnTo>
                  <a:lnTo>
                    <a:pt x="306" y="17"/>
                  </a:lnTo>
                  <a:close/>
                  <a:moveTo>
                    <a:pt x="313" y="17"/>
                  </a:moveTo>
                  <a:lnTo>
                    <a:pt x="313" y="17"/>
                  </a:lnTo>
                  <a:lnTo>
                    <a:pt x="313" y="17"/>
                  </a:lnTo>
                  <a:close/>
                  <a:moveTo>
                    <a:pt x="269" y="19"/>
                  </a:moveTo>
                  <a:lnTo>
                    <a:pt x="269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7" y="19"/>
                  </a:lnTo>
                  <a:lnTo>
                    <a:pt x="268" y="19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9"/>
                  </a:lnTo>
                  <a:lnTo>
                    <a:pt x="270" y="19"/>
                  </a:lnTo>
                  <a:lnTo>
                    <a:pt x="270" y="19"/>
                  </a:lnTo>
                  <a:lnTo>
                    <a:pt x="269" y="19"/>
                  </a:lnTo>
                  <a:close/>
                  <a:moveTo>
                    <a:pt x="351" y="17"/>
                  </a:moveTo>
                  <a:lnTo>
                    <a:pt x="351" y="17"/>
                  </a:lnTo>
                  <a:lnTo>
                    <a:pt x="350" y="17"/>
                  </a:lnTo>
                  <a:lnTo>
                    <a:pt x="351" y="17"/>
                  </a:lnTo>
                  <a:lnTo>
                    <a:pt x="351" y="16"/>
                  </a:lnTo>
                  <a:lnTo>
                    <a:pt x="351" y="17"/>
                  </a:lnTo>
                  <a:close/>
                  <a:moveTo>
                    <a:pt x="323" y="13"/>
                  </a:moveTo>
                  <a:lnTo>
                    <a:pt x="323" y="13"/>
                  </a:lnTo>
                  <a:lnTo>
                    <a:pt x="323" y="13"/>
                  </a:lnTo>
                  <a:close/>
                  <a:moveTo>
                    <a:pt x="347" y="12"/>
                  </a:moveTo>
                  <a:lnTo>
                    <a:pt x="346" y="12"/>
                  </a:lnTo>
                  <a:lnTo>
                    <a:pt x="346" y="11"/>
                  </a:lnTo>
                  <a:lnTo>
                    <a:pt x="347" y="12"/>
                  </a:lnTo>
                  <a:close/>
                  <a:moveTo>
                    <a:pt x="306" y="12"/>
                  </a:moveTo>
                  <a:lnTo>
                    <a:pt x="306" y="12"/>
                  </a:lnTo>
                  <a:lnTo>
                    <a:pt x="305" y="11"/>
                  </a:lnTo>
                  <a:lnTo>
                    <a:pt x="306" y="11"/>
                  </a:lnTo>
                  <a:lnTo>
                    <a:pt x="306" y="11"/>
                  </a:lnTo>
                  <a:lnTo>
                    <a:pt x="307" y="11"/>
                  </a:lnTo>
                  <a:lnTo>
                    <a:pt x="307" y="12"/>
                  </a:lnTo>
                  <a:lnTo>
                    <a:pt x="306" y="12"/>
                  </a:lnTo>
                  <a:close/>
                  <a:moveTo>
                    <a:pt x="311" y="10"/>
                  </a:moveTo>
                  <a:lnTo>
                    <a:pt x="310" y="10"/>
                  </a:lnTo>
                  <a:lnTo>
                    <a:pt x="310" y="10"/>
                  </a:lnTo>
                  <a:lnTo>
                    <a:pt x="309" y="10"/>
                  </a:lnTo>
                  <a:lnTo>
                    <a:pt x="309" y="9"/>
                  </a:lnTo>
                  <a:lnTo>
                    <a:pt x="310" y="9"/>
                  </a:lnTo>
                  <a:lnTo>
                    <a:pt x="310" y="9"/>
                  </a:lnTo>
                  <a:lnTo>
                    <a:pt x="311" y="9"/>
                  </a:lnTo>
                  <a:lnTo>
                    <a:pt x="312" y="9"/>
                  </a:lnTo>
                  <a:lnTo>
                    <a:pt x="312" y="9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0"/>
                  </a:lnTo>
                  <a:close/>
                  <a:moveTo>
                    <a:pt x="276" y="10"/>
                  </a:moveTo>
                  <a:lnTo>
                    <a:pt x="275" y="10"/>
                  </a:lnTo>
                  <a:lnTo>
                    <a:pt x="275" y="9"/>
                  </a:lnTo>
                  <a:lnTo>
                    <a:pt x="276" y="9"/>
                  </a:lnTo>
                  <a:lnTo>
                    <a:pt x="276" y="10"/>
                  </a:lnTo>
                  <a:lnTo>
                    <a:pt x="276" y="10"/>
                  </a:lnTo>
                  <a:close/>
                  <a:moveTo>
                    <a:pt x="310" y="8"/>
                  </a:moveTo>
                  <a:lnTo>
                    <a:pt x="310" y="9"/>
                  </a:lnTo>
                  <a:lnTo>
                    <a:pt x="310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7" y="9"/>
                  </a:lnTo>
                  <a:lnTo>
                    <a:pt x="306" y="9"/>
                  </a:lnTo>
                  <a:lnTo>
                    <a:pt x="307" y="8"/>
                  </a:lnTo>
                  <a:lnTo>
                    <a:pt x="308" y="8"/>
                  </a:lnTo>
                  <a:lnTo>
                    <a:pt x="308" y="8"/>
                  </a:lnTo>
                  <a:lnTo>
                    <a:pt x="309" y="8"/>
                  </a:lnTo>
                  <a:lnTo>
                    <a:pt x="309" y="8"/>
                  </a:lnTo>
                  <a:lnTo>
                    <a:pt x="310" y="8"/>
                  </a:lnTo>
                  <a:close/>
                  <a:moveTo>
                    <a:pt x="308" y="8"/>
                  </a:moveTo>
                  <a:lnTo>
                    <a:pt x="308" y="8"/>
                  </a:lnTo>
                  <a:lnTo>
                    <a:pt x="308" y="8"/>
                  </a:lnTo>
                  <a:lnTo>
                    <a:pt x="308" y="7"/>
                  </a:lnTo>
                  <a:lnTo>
                    <a:pt x="308" y="8"/>
                  </a:lnTo>
                  <a:close/>
                  <a:moveTo>
                    <a:pt x="315" y="7"/>
                  </a:moveTo>
                  <a:lnTo>
                    <a:pt x="316" y="7"/>
                  </a:lnTo>
                  <a:lnTo>
                    <a:pt x="316" y="7"/>
                  </a:lnTo>
                  <a:lnTo>
                    <a:pt x="317" y="7"/>
                  </a:lnTo>
                  <a:lnTo>
                    <a:pt x="318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8"/>
                  </a:lnTo>
                  <a:lnTo>
                    <a:pt x="320" y="8"/>
                  </a:lnTo>
                  <a:lnTo>
                    <a:pt x="319" y="8"/>
                  </a:lnTo>
                  <a:lnTo>
                    <a:pt x="319" y="8"/>
                  </a:lnTo>
                  <a:lnTo>
                    <a:pt x="317" y="8"/>
                  </a:lnTo>
                  <a:lnTo>
                    <a:pt x="316" y="8"/>
                  </a:lnTo>
                  <a:lnTo>
                    <a:pt x="315" y="8"/>
                  </a:lnTo>
                  <a:lnTo>
                    <a:pt x="315" y="8"/>
                  </a:lnTo>
                  <a:lnTo>
                    <a:pt x="314" y="8"/>
                  </a:lnTo>
                  <a:lnTo>
                    <a:pt x="314" y="7"/>
                  </a:lnTo>
                  <a:lnTo>
                    <a:pt x="313" y="7"/>
                  </a:lnTo>
                  <a:lnTo>
                    <a:pt x="314" y="7"/>
                  </a:lnTo>
                  <a:lnTo>
                    <a:pt x="315" y="7"/>
                  </a:lnTo>
                  <a:lnTo>
                    <a:pt x="315" y="7"/>
                  </a:lnTo>
                  <a:close/>
                  <a:moveTo>
                    <a:pt x="302" y="7"/>
                  </a:moveTo>
                  <a:lnTo>
                    <a:pt x="301" y="7"/>
                  </a:lnTo>
                  <a:lnTo>
                    <a:pt x="302" y="7"/>
                  </a:lnTo>
                  <a:close/>
                  <a:moveTo>
                    <a:pt x="302" y="7"/>
                  </a:moveTo>
                  <a:lnTo>
                    <a:pt x="302" y="6"/>
                  </a:lnTo>
                  <a:lnTo>
                    <a:pt x="302" y="7"/>
                  </a:lnTo>
                  <a:close/>
                  <a:moveTo>
                    <a:pt x="326" y="6"/>
                  </a:moveTo>
                  <a:lnTo>
                    <a:pt x="327" y="6"/>
                  </a:lnTo>
                  <a:lnTo>
                    <a:pt x="327" y="7"/>
                  </a:lnTo>
                  <a:lnTo>
                    <a:pt x="326" y="7"/>
                  </a:lnTo>
                  <a:lnTo>
                    <a:pt x="325" y="7"/>
                  </a:lnTo>
                  <a:lnTo>
                    <a:pt x="325" y="7"/>
                  </a:lnTo>
                  <a:lnTo>
                    <a:pt x="324" y="7"/>
                  </a:lnTo>
                  <a:lnTo>
                    <a:pt x="323" y="6"/>
                  </a:lnTo>
                  <a:lnTo>
                    <a:pt x="322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3" y="6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5" y="6"/>
                  </a:lnTo>
                  <a:lnTo>
                    <a:pt x="326" y="6"/>
                  </a:lnTo>
                  <a:close/>
                  <a:moveTo>
                    <a:pt x="278" y="6"/>
                  </a:moveTo>
                  <a:lnTo>
                    <a:pt x="277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5"/>
                  </a:lnTo>
                  <a:lnTo>
                    <a:pt x="275" y="5"/>
                  </a:lnTo>
                  <a:lnTo>
                    <a:pt x="276" y="5"/>
                  </a:lnTo>
                  <a:lnTo>
                    <a:pt x="276" y="6"/>
                  </a:lnTo>
                  <a:lnTo>
                    <a:pt x="277" y="6"/>
                  </a:lnTo>
                  <a:lnTo>
                    <a:pt x="277" y="6"/>
                  </a:lnTo>
                  <a:lnTo>
                    <a:pt x="278" y="6"/>
                  </a:lnTo>
                  <a:lnTo>
                    <a:pt x="278" y="6"/>
                  </a:lnTo>
                  <a:lnTo>
                    <a:pt x="278" y="6"/>
                  </a:lnTo>
                  <a:close/>
                  <a:moveTo>
                    <a:pt x="281" y="4"/>
                  </a:moveTo>
                  <a:lnTo>
                    <a:pt x="280" y="4"/>
                  </a:lnTo>
                  <a:lnTo>
                    <a:pt x="281" y="4"/>
                  </a:lnTo>
                  <a:lnTo>
                    <a:pt x="280" y="4"/>
                  </a:lnTo>
                  <a:lnTo>
                    <a:pt x="281" y="4"/>
                  </a:lnTo>
                  <a:close/>
                  <a:moveTo>
                    <a:pt x="312" y="3"/>
                  </a:moveTo>
                  <a:lnTo>
                    <a:pt x="312" y="3"/>
                  </a:lnTo>
                  <a:lnTo>
                    <a:pt x="311" y="3"/>
                  </a:lnTo>
                  <a:lnTo>
                    <a:pt x="312" y="3"/>
                  </a:lnTo>
                  <a:lnTo>
                    <a:pt x="312" y="3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lnTo>
                    <a:pt x="309" y="2"/>
                  </a:lnTo>
                  <a:lnTo>
                    <a:pt x="308" y="2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close/>
                  <a:moveTo>
                    <a:pt x="339" y="2"/>
                  </a:moveTo>
                  <a:lnTo>
                    <a:pt x="338" y="2"/>
                  </a:lnTo>
                  <a:lnTo>
                    <a:pt x="338" y="2"/>
                  </a:lnTo>
                  <a:lnTo>
                    <a:pt x="337" y="2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1"/>
                  </a:lnTo>
                  <a:lnTo>
                    <a:pt x="339" y="1"/>
                  </a:lnTo>
                  <a:lnTo>
                    <a:pt x="340" y="1"/>
                  </a:lnTo>
                  <a:lnTo>
                    <a:pt x="339" y="2"/>
                  </a:lnTo>
                  <a:close/>
                  <a:moveTo>
                    <a:pt x="312" y="0"/>
                  </a:moveTo>
                  <a:lnTo>
                    <a:pt x="311" y="0"/>
                  </a:lnTo>
                  <a:lnTo>
                    <a:pt x="312" y="0"/>
                  </a:lnTo>
                  <a:close/>
                  <a:moveTo>
                    <a:pt x="311" y="0"/>
                  </a:moveTo>
                  <a:lnTo>
                    <a:pt x="312" y="0"/>
                  </a:lnTo>
                  <a:lnTo>
                    <a:pt x="311" y="1"/>
                  </a:lnTo>
                  <a:lnTo>
                    <a:pt x="310" y="1"/>
                  </a:lnTo>
                  <a:lnTo>
                    <a:pt x="310" y="1"/>
                  </a:lnTo>
                  <a:lnTo>
                    <a:pt x="309" y="1"/>
                  </a:lnTo>
                  <a:lnTo>
                    <a:pt x="309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0"/>
                  </a:lnTo>
                  <a:lnTo>
                    <a:pt x="309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1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337" y="0"/>
                  </a:move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7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3" name="Freeform 99"/>
            <p:cNvSpPr>
              <a:spLocks noEditPoints="1"/>
            </p:cNvSpPr>
            <p:nvPr/>
          </p:nvSpPr>
          <p:spPr bwMode="auto">
            <a:xfrm>
              <a:off x="5968020" y="3174761"/>
              <a:ext cx="471223" cy="562155"/>
            </a:xfrm>
            <a:custGeom>
              <a:avLst/>
              <a:gdLst>
                <a:gd name="T0" fmla="*/ 226 w 361"/>
                <a:gd name="T1" fmla="*/ 403 h 408"/>
                <a:gd name="T2" fmla="*/ 232 w 361"/>
                <a:gd name="T3" fmla="*/ 400 h 408"/>
                <a:gd name="T4" fmla="*/ 233 w 361"/>
                <a:gd name="T5" fmla="*/ 397 h 408"/>
                <a:gd name="T6" fmla="*/ 1 w 361"/>
                <a:gd name="T7" fmla="*/ 295 h 408"/>
                <a:gd name="T8" fmla="*/ 67 w 361"/>
                <a:gd name="T9" fmla="*/ 227 h 408"/>
                <a:gd name="T10" fmla="*/ 64 w 361"/>
                <a:gd name="T11" fmla="*/ 221 h 408"/>
                <a:gd name="T12" fmla="*/ 70 w 361"/>
                <a:gd name="T13" fmla="*/ 219 h 408"/>
                <a:gd name="T14" fmla="*/ 183 w 361"/>
                <a:gd name="T15" fmla="*/ 201 h 408"/>
                <a:gd name="T16" fmla="*/ 193 w 361"/>
                <a:gd name="T17" fmla="*/ 196 h 408"/>
                <a:gd name="T18" fmla="*/ 182 w 361"/>
                <a:gd name="T19" fmla="*/ 189 h 408"/>
                <a:gd name="T20" fmla="*/ 290 w 361"/>
                <a:gd name="T21" fmla="*/ 185 h 408"/>
                <a:gd name="T22" fmla="*/ 136 w 361"/>
                <a:gd name="T23" fmla="*/ 175 h 408"/>
                <a:gd name="T24" fmla="*/ 135 w 361"/>
                <a:gd name="T25" fmla="*/ 173 h 408"/>
                <a:gd name="T26" fmla="*/ 174 w 361"/>
                <a:gd name="T27" fmla="*/ 171 h 408"/>
                <a:gd name="T28" fmla="*/ 126 w 361"/>
                <a:gd name="T29" fmla="*/ 170 h 408"/>
                <a:gd name="T30" fmla="*/ 121 w 361"/>
                <a:gd name="T31" fmla="*/ 168 h 408"/>
                <a:gd name="T32" fmla="*/ 162 w 361"/>
                <a:gd name="T33" fmla="*/ 167 h 408"/>
                <a:gd name="T34" fmla="*/ 191 w 361"/>
                <a:gd name="T35" fmla="*/ 165 h 408"/>
                <a:gd name="T36" fmla="*/ 164 w 361"/>
                <a:gd name="T37" fmla="*/ 164 h 408"/>
                <a:gd name="T38" fmla="*/ 120 w 361"/>
                <a:gd name="T39" fmla="*/ 162 h 408"/>
                <a:gd name="T40" fmla="*/ 119 w 361"/>
                <a:gd name="T41" fmla="*/ 162 h 408"/>
                <a:gd name="T42" fmla="*/ 120 w 361"/>
                <a:gd name="T43" fmla="*/ 160 h 408"/>
                <a:gd name="T44" fmla="*/ 118 w 361"/>
                <a:gd name="T45" fmla="*/ 159 h 408"/>
                <a:gd name="T46" fmla="*/ 202 w 361"/>
                <a:gd name="T47" fmla="*/ 157 h 408"/>
                <a:gd name="T48" fmla="*/ 118 w 361"/>
                <a:gd name="T49" fmla="*/ 155 h 408"/>
                <a:gd name="T50" fmla="*/ 119 w 361"/>
                <a:gd name="T51" fmla="*/ 154 h 408"/>
                <a:gd name="T52" fmla="*/ 119 w 361"/>
                <a:gd name="T53" fmla="*/ 152 h 408"/>
                <a:gd name="T54" fmla="*/ 119 w 361"/>
                <a:gd name="T55" fmla="*/ 151 h 408"/>
                <a:gd name="T56" fmla="*/ 120 w 361"/>
                <a:gd name="T57" fmla="*/ 150 h 408"/>
                <a:gd name="T58" fmla="*/ 120 w 361"/>
                <a:gd name="T59" fmla="*/ 149 h 408"/>
                <a:gd name="T60" fmla="*/ 189 w 361"/>
                <a:gd name="T61" fmla="*/ 147 h 408"/>
                <a:gd name="T62" fmla="*/ 320 w 361"/>
                <a:gd name="T63" fmla="*/ 144 h 408"/>
                <a:gd name="T64" fmla="*/ 111 w 361"/>
                <a:gd name="T65" fmla="*/ 141 h 408"/>
                <a:gd name="T66" fmla="*/ 196 w 361"/>
                <a:gd name="T67" fmla="*/ 141 h 408"/>
                <a:gd name="T68" fmla="*/ 343 w 361"/>
                <a:gd name="T69" fmla="*/ 139 h 408"/>
                <a:gd name="T70" fmla="*/ 104 w 361"/>
                <a:gd name="T71" fmla="*/ 138 h 408"/>
                <a:gd name="T72" fmla="*/ 103 w 361"/>
                <a:gd name="T73" fmla="*/ 136 h 408"/>
                <a:gd name="T74" fmla="*/ 104 w 361"/>
                <a:gd name="T75" fmla="*/ 134 h 408"/>
                <a:gd name="T76" fmla="*/ 101 w 361"/>
                <a:gd name="T77" fmla="*/ 133 h 408"/>
                <a:gd name="T78" fmla="*/ 256 w 361"/>
                <a:gd name="T79" fmla="*/ 130 h 408"/>
                <a:gd name="T80" fmla="*/ 260 w 361"/>
                <a:gd name="T81" fmla="*/ 123 h 408"/>
                <a:gd name="T82" fmla="*/ 195 w 361"/>
                <a:gd name="T83" fmla="*/ 119 h 408"/>
                <a:gd name="T84" fmla="*/ 215 w 361"/>
                <a:gd name="T85" fmla="*/ 118 h 408"/>
                <a:gd name="T86" fmla="*/ 320 w 361"/>
                <a:gd name="T87" fmla="*/ 115 h 408"/>
                <a:gd name="T88" fmla="*/ 283 w 361"/>
                <a:gd name="T89" fmla="*/ 112 h 408"/>
                <a:gd name="T90" fmla="*/ 261 w 361"/>
                <a:gd name="T91" fmla="*/ 112 h 408"/>
                <a:gd name="T92" fmla="*/ 296 w 361"/>
                <a:gd name="T93" fmla="*/ 111 h 408"/>
                <a:gd name="T94" fmla="*/ 315 w 361"/>
                <a:gd name="T95" fmla="*/ 111 h 408"/>
                <a:gd name="T96" fmla="*/ 319 w 361"/>
                <a:gd name="T97" fmla="*/ 109 h 408"/>
                <a:gd name="T98" fmla="*/ 273 w 361"/>
                <a:gd name="T99" fmla="*/ 108 h 408"/>
                <a:gd name="T100" fmla="*/ 272 w 361"/>
                <a:gd name="T101" fmla="*/ 107 h 408"/>
                <a:gd name="T102" fmla="*/ 316 w 361"/>
                <a:gd name="T103" fmla="*/ 107 h 408"/>
                <a:gd name="T104" fmla="*/ 241 w 361"/>
                <a:gd name="T105" fmla="*/ 105 h 408"/>
                <a:gd name="T106" fmla="*/ 242 w 361"/>
                <a:gd name="T107" fmla="*/ 105 h 408"/>
                <a:gd name="T108" fmla="*/ 319 w 361"/>
                <a:gd name="T109" fmla="*/ 104 h 408"/>
                <a:gd name="T110" fmla="*/ 119 w 361"/>
                <a:gd name="T111" fmla="*/ 102 h 408"/>
                <a:gd name="T112" fmla="*/ 343 w 361"/>
                <a:gd name="T113" fmla="*/ 95 h 408"/>
                <a:gd name="T114" fmla="*/ 284 w 361"/>
                <a:gd name="T115" fmla="*/ 83 h 408"/>
                <a:gd name="T116" fmla="*/ 270 w 361"/>
                <a:gd name="T117" fmla="*/ 79 h 408"/>
                <a:gd name="T118" fmla="*/ 260 w 361"/>
                <a:gd name="T119" fmla="*/ 68 h 408"/>
                <a:gd name="T120" fmla="*/ 289 w 361"/>
                <a:gd name="T121" fmla="*/ 48 h 408"/>
                <a:gd name="T122" fmla="*/ 310 w 361"/>
                <a:gd name="T123" fmla="*/ 26 h 408"/>
                <a:gd name="T124" fmla="*/ 328 w 361"/>
                <a:gd name="T125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408">
                  <a:moveTo>
                    <a:pt x="223" y="407"/>
                  </a:moveTo>
                  <a:lnTo>
                    <a:pt x="223" y="408"/>
                  </a:lnTo>
                  <a:lnTo>
                    <a:pt x="223" y="407"/>
                  </a:lnTo>
                  <a:close/>
                  <a:moveTo>
                    <a:pt x="226" y="407"/>
                  </a:moveTo>
                  <a:lnTo>
                    <a:pt x="226" y="407"/>
                  </a:lnTo>
                  <a:lnTo>
                    <a:pt x="226" y="407"/>
                  </a:lnTo>
                  <a:close/>
                  <a:moveTo>
                    <a:pt x="226" y="405"/>
                  </a:moveTo>
                  <a:lnTo>
                    <a:pt x="226" y="406"/>
                  </a:lnTo>
                  <a:lnTo>
                    <a:pt x="226" y="405"/>
                  </a:lnTo>
                  <a:lnTo>
                    <a:pt x="226" y="406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4" y="405"/>
                  </a:moveTo>
                  <a:lnTo>
                    <a:pt x="225" y="405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7" y="404"/>
                  </a:moveTo>
                  <a:lnTo>
                    <a:pt x="227" y="404"/>
                  </a:lnTo>
                  <a:lnTo>
                    <a:pt x="227" y="404"/>
                  </a:lnTo>
                  <a:close/>
                  <a:moveTo>
                    <a:pt x="226" y="404"/>
                  </a:moveTo>
                  <a:lnTo>
                    <a:pt x="226" y="403"/>
                  </a:lnTo>
                  <a:lnTo>
                    <a:pt x="226" y="404"/>
                  </a:lnTo>
                  <a:close/>
                  <a:moveTo>
                    <a:pt x="227" y="403"/>
                  </a:moveTo>
                  <a:lnTo>
                    <a:pt x="228" y="403"/>
                  </a:lnTo>
                  <a:lnTo>
                    <a:pt x="227" y="403"/>
                  </a:lnTo>
                  <a:close/>
                  <a:moveTo>
                    <a:pt x="226" y="403"/>
                  </a:moveTo>
                  <a:lnTo>
                    <a:pt x="226" y="403"/>
                  </a:lnTo>
                  <a:lnTo>
                    <a:pt x="226" y="403"/>
                  </a:lnTo>
                  <a:close/>
                  <a:moveTo>
                    <a:pt x="223" y="403"/>
                  </a:moveTo>
                  <a:lnTo>
                    <a:pt x="223" y="403"/>
                  </a:lnTo>
                  <a:lnTo>
                    <a:pt x="223" y="403"/>
                  </a:lnTo>
                  <a:close/>
                  <a:moveTo>
                    <a:pt x="226" y="402"/>
                  </a:moveTo>
                  <a:lnTo>
                    <a:pt x="226" y="402"/>
                  </a:lnTo>
                  <a:lnTo>
                    <a:pt x="226" y="402"/>
                  </a:lnTo>
                  <a:close/>
                  <a:moveTo>
                    <a:pt x="225" y="402"/>
                  </a:moveTo>
                  <a:lnTo>
                    <a:pt x="226" y="402"/>
                  </a:lnTo>
                  <a:lnTo>
                    <a:pt x="225" y="402"/>
                  </a:lnTo>
                  <a:close/>
                  <a:moveTo>
                    <a:pt x="228" y="402"/>
                  </a:moveTo>
                  <a:lnTo>
                    <a:pt x="227" y="402"/>
                  </a:lnTo>
                  <a:lnTo>
                    <a:pt x="228" y="402"/>
                  </a:lnTo>
                  <a:close/>
                  <a:moveTo>
                    <a:pt x="231" y="402"/>
                  </a:moveTo>
                  <a:lnTo>
                    <a:pt x="231" y="401"/>
                  </a:lnTo>
                  <a:lnTo>
                    <a:pt x="231" y="402"/>
                  </a:lnTo>
                  <a:close/>
                  <a:moveTo>
                    <a:pt x="226" y="402"/>
                  </a:moveTo>
                  <a:lnTo>
                    <a:pt x="226" y="401"/>
                  </a:lnTo>
                  <a:lnTo>
                    <a:pt x="226" y="402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5" y="399"/>
                  </a:moveTo>
                  <a:lnTo>
                    <a:pt x="234" y="399"/>
                  </a:lnTo>
                  <a:lnTo>
                    <a:pt x="235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6" y="397"/>
                  </a:moveTo>
                  <a:lnTo>
                    <a:pt x="236" y="396"/>
                  </a:lnTo>
                  <a:lnTo>
                    <a:pt x="236" y="397"/>
                  </a:lnTo>
                  <a:close/>
                  <a:moveTo>
                    <a:pt x="234" y="397"/>
                  </a:moveTo>
                  <a:lnTo>
                    <a:pt x="234" y="396"/>
                  </a:lnTo>
                  <a:lnTo>
                    <a:pt x="234" y="397"/>
                  </a:lnTo>
                  <a:close/>
                  <a:moveTo>
                    <a:pt x="235" y="396"/>
                  </a:moveTo>
                  <a:lnTo>
                    <a:pt x="235" y="396"/>
                  </a:lnTo>
                  <a:lnTo>
                    <a:pt x="235" y="396"/>
                  </a:lnTo>
                  <a:close/>
                  <a:moveTo>
                    <a:pt x="148" y="395"/>
                  </a:moveTo>
                  <a:lnTo>
                    <a:pt x="147" y="395"/>
                  </a:lnTo>
                  <a:lnTo>
                    <a:pt x="148" y="395"/>
                  </a:lnTo>
                  <a:close/>
                  <a:moveTo>
                    <a:pt x="235" y="395"/>
                  </a:moveTo>
                  <a:lnTo>
                    <a:pt x="235" y="395"/>
                  </a:lnTo>
                  <a:lnTo>
                    <a:pt x="235" y="395"/>
                  </a:lnTo>
                  <a:close/>
                  <a:moveTo>
                    <a:pt x="149" y="389"/>
                  </a:moveTo>
                  <a:lnTo>
                    <a:pt x="148" y="389"/>
                  </a:lnTo>
                  <a:lnTo>
                    <a:pt x="149" y="389"/>
                  </a:lnTo>
                  <a:close/>
                  <a:moveTo>
                    <a:pt x="0" y="295"/>
                  </a:moveTo>
                  <a:lnTo>
                    <a:pt x="1" y="295"/>
                  </a:lnTo>
                  <a:lnTo>
                    <a:pt x="0" y="295"/>
                  </a:lnTo>
                  <a:close/>
                  <a:moveTo>
                    <a:pt x="4" y="295"/>
                  </a:moveTo>
                  <a:lnTo>
                    <a:pt x="3" y="295"/>
                  </a:lnTo>
                  <a:lnTo>
                    <a:pt x="4" y="295"/>
                  </a:lnTo>
                  <a:close/>
                  <a:moveTo>
                    <a:pt x="65" y="232"/>
                  </a:moveTo>
                  <a:lnTo>
                    <a:pt x="64" y="232"/>
                  </a:lnTo>
                  <a:lnTo>
                    <a:pt x="65" y="232"/>
                  </a:lnTo>
                  <a:close/>
                  <a:moveTo>
                    <a:pt x="68" y="232"/>
                  </a:moveTo>
                  <a:lnTo>
                    <a:pt x="68" y="232"/>
                  </a:lnTo>
                  <a:lnTo>
                    <a:pt x="68" y="232"/>
                  </a:lnTo>
                  <a:close/>
                  <a:moveTo>
                    <a:pt x="66" y="230"/>
                  </a:moveTo>
                  <a:lnTo>
                    <a:pt x="66" y="230"/>
                  </a:lnTo>
                  <a:lnTo>
                    <a:pt x="66" y="230"/>
                  </a:lnTo>
                  <a:close/>
                  <a:moveTo>
                    <a:pt x="80" y="228"/>
                  </a:moveTo>
                  <a:lnTo>
                    <a:pt x="79" y="228"/>
                  </a:lnTo>
                  <a:lnTo>
                    <a:pt x="80" y="228"/>
                  </a:lnTo>
                  <a:close/>
                  <a:moveTo>
                    <a:pt x="79" y="228"/>
                  </a:moveTo>
                  <a:lnTo>
                    <a:pt x="78" y="228"/>
                  </a:lnTo>
                  <a:lnTo>
                    <a:pt x="79" y="228"/>
                  </a:lnTo>
                  <a:close/>
                  <a:moveTo>
                    <a:pt x="68" y="228"/>
                  </a:moveTo>
                  <a:lnTo>
                    <a:pt x="67" y="228"/>
                  </a:lnTo>
                  <a:lnTo>
                    <a:pt x="68" y="228"/>
                  </a:lnTo>
                  <a:close/>
                  <a:moveTo>
                    <a:pt x="79" y="228"/>
                  </a:moveTo>
                  <a:lnTo>
                    <a:pt x="79" y="228"/>
                  </a:lnTo>
                  <a:lnTo>
                    <a:pt x="79" y="228"/>
                  </a:lnTo>
                  <a:close/>
                  <a:moveTo>
                    <a:pt x="63" y="228"/>
                  </a:moveTo>
                  <a:lnTo>
                    <a:pt x="63" y="227"/>
                  </a:lnTo>
                  <a:lnTo>
                    <a:pt x="63" y="228"/>
                  </a:lnTo>
                  <a:close/>
                  <a:moveTo>
                    <a:pt x="67" y="228"/>
                  </a:moveTo>
                  <a:lnTo>
                    <a:pt x="67" y="227"/>
                  </a:lnTo>
                  <a:lnTo>
                    <a:pt x="67" y="228"/>
                  </a:lnTo>
                  <a:close/>
                  <a:moveTo>
                    <a:pt x="68" y="227"/>
                  </a:moveTo>
                  <a:lnTo>
                    <a:pt x="67" y="227"/>
                  </a:lnTo>
                  <a:lnTo>
                    <a:pt x="68" y="227"/>
                  </a:lnTo>
                  <a:close/>
                  <a:moveTo>
                    <a:pt x="79" y="227"/>
                  </a:moveTo>
                  <a:lnTo>
                    <a:pt x="78" y="227"/>
                  </a:lnTo>
                  <a:lnTo>
                    <a:pt x="79" y="227"/>
                  </a:lnTo>
                  <a:close/>
                  <a:moveTo>
                    <a:pt x="70" y="223"/>
                  </a:moveTo>
                  <a:lnTo>
                    <a:pt x="70" y="223"/>
                  </a:lnTo>
                  <a:lnTo>
                    <a:pt x="70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70" y="222"/>
                  </a:moveTo>
                  <a:lnTo>
                    <a:pt x="70" y="222"/>
                  </a:lnTo>
                  <a:lnTo>
                    <a:pt x="70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4" y="222"/>
                  </a:moveTo>
                  <a:lnTo>
                    <a:pt x="63" y="222"/>
                  </a:lnTo>
                  <a:lnTo>
                    <a:pt x="63" y="221"/>
                  </a:lnTo>
                  <a:lnTo>
                    <a:pt x="64" y="222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70" y="221"/>
                  </a:moveTo>
                  <a:lnTo>
                    <a:pt x="69" y="221"/>
                  </a:lnTo>
                  <a:lnTo>
                    <a:pt x="70" y="221"/>
                  </a:lnTo>
                  <a:close/>
                  <a:moveTo>
                    <a:pt x="70" y="220"/>
                  </a:moveTo>
                  <a:lnTo>
                    <a:pt x="70" y="221"/>
                  </a:lnTo>
                  <a:lnTo>
                    <a:pt x="70" y="220"/>
                  </a:lnTo>
                  <a:close/>
                  <a:moveTo>
                    <a:pt x="69" y="220"/>
                  </a:moveTo>
                  <a:lnTo>
                    <a:pt x="69" y="221"/>
                  </a:lnTo>
                  <a:lnTo>
                    <a:pt x="69" y="220"/>
                  </a:lnTo>
                  <a:close/>
                  <a:moveTo>
                    <a:pt x="67" y="220"/>
                  </a:moveTo>
                  <a:lnTo>
                    <a:pt x="67" y="221"/>
                  </a:lnTo>
                  <a:lnTo>
                    <a:pt x="67" y="220"/>
                  </a:lnTo>
                  <a:close/>
                  <a:moveTo>
                    <a:pt x="70" y="220"/>
                  </a:moveTo>
                  <a:lnTo>
                    <a:pt x="70" y="220"/>
                  </a:lnTo>
                  <a:lnTo>
                    <a:pt x="70" y="220"/>
                  </a:lnTo>
                  <a:close/>
                  <a:moveTo>
                    <a:pt x="68" y="220"/>
                  </a:moveTo>
                  <a:lnTo>
                    <a:pt x="68" y="220"/>
                  </a:lnTo>
                  <a:lnTo>
                    <a:pt x="68" y="220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68" y="219"/>
                  </a:moveTo>
                  <a:lnTo>
                    <a:pt x="68" y="219"/>
                  </a:lnTo>
                  <a:lnTo>
                    <a:pt x="68" y="219"/>
                  </a:lnTo>
                  <a:close/>
                  <a:moveTo>
                    <a:pt x="70" y="219"/>
                  </a:moveTo>
                  <a:lnTo>
                    <a:pt x="70" y="219"/>
                  </a:lnTo>
                  <a:lnTo>
                    <a:pt x="70" y="219"/>
                  </a:lnTo>
                  <a:close/>
                  <a:moveTo>
                    <a:pt x="70" y="219"/>
                  </a:moveTo>
                  <a:lnTo>
                    <a:pt x="69" y="219"/>
                  </a:lnTo>
                  <a:lnTo>
                    <a:pt x="70" y="219"/>
                  </a:lnTo>
                  <a:close/>
                  <a:moveTo>
                    <a:pt x="69" y="219"/>
                  </a:moveTo>
                  <a:lnTo>
                    <a:pt x="68" y="219"/>
                  </a:lnTo>
                  <a:lnTo>
                    <a:pt x="69" y="219"/>
                  </a:lnTo>
                  <a:close/>
                  <a:moveTo>
                    <a:pt x="69" y="219"/>
                  </a:moveTo>
                  <a:lnTo>
                    <a:pt x="69" y="219"/>
                  </a:lnTo>
                  <a:lnTo>
                    <a:pt x="69" y="219"/>
                  </a:lnTo>
                  <a:close/>
                  <a:moveTo>
                    <a:pt x="70" y="218"/>
                  </a:moveTo>
                  <a:lnTo>
                    <a:pt x="70" y="219"/>
                  </a:lnTo>
                  <a:lnTo>
                    <a:pt x="70" y="218"/>
                  </a:lnTo>
                  <a:close/>
                  <a:moveTo>
                    <a:pt x="70" y="219"/>
                  </a:moveTo>
                  <a:lnTo>
                    <a:pt x="70" y="218"/>
                  </a:lnTo>
                  <a:lnTo>
                    <a:pt x="70" y="219"/>
                  </a:lnTo>
                  <a:close/>
                  <a:moveTo>
                    <a:pt x="70" y="218"/>
                  </a:moveTo>
                  <a:lnTo>
                    <a:pt x="70" y="218"/>
                  </a:lnTo>
                  <a:lnTo>
                    <a:pt x="70" y="218"/>
                  </a:lnTo>
                  <a:close/>
                  <a:moveTo>
                    <a:pt x="71" y="218"/>
                  </a:moveTo>
                  <a:lnTo>
                    <a:pt x="70" y="218"/>
                  </a:lnTo>
                  <a:lnTo>
                    <a:pt x="71" y="218"/>
                  </a:lnTo>
                  <a:close/>
                  <a:moveTo>
                    <a:pt x="182" y="208"/>
                  </a:moveTo>
                  <a:lnTo>
                    <a:pt x="181" y="208"/>
                  </a:lnTo>
                  <a:lnTo>
                    <a:pt x="181" y="208"/>
                  </a:lnTo>
                  <a:lnTo>
                    <a:pt x="182" y="208"/>
                  </a:lnTo>
                  <a:lnTo>
                    <a:pt x="182" y="208"/>
                  </a:lnTo>
                  <a:close/>
                  <a:moveTo>
                    <a:pt x="182" y="206"/>
                  </a:moveTo>
                  <a:lnTo>
                    <a:pt x="182" y="206"/>
                  </a:lnTo>
                  <a:lnTo>
                    <a:pt x="182" y="206"/>
                  </a:lnTo>
                  <a:close/>
                  <a:moveTo>
                    <a:pt x="181" y="206"/>
                  </a:moveTo>
                  <a:lnTo>
                    <a:pt x="182" y="206"/>
                  </a:lnTo>
                  <a:lnTo>
                    <a:pt x="181" y="206"/>
                  </a:lnTo>
                  <a:close/>
                  <a:moveTo>
                    <a:pt x="182" y="206"/>
                  </a:moveTo>
                  <a:lnTo>
                    <a:pt x="181" y="206"/>
                  </a:lnTo>
                  <a:lnTo>
                    <a:pt x="182" y="206"/>
                  </a:lnTo>
                  <a:close/>
                  <a:moveTo>
                    <a:pt x="183" y="201"/>
                  </a:moveTo>
                  <a:lnTo>
                    <a:pt x="183" y="201"/>
                  </a:lnTo>
                  <a:lnTo>
                    <a:pt x="183" y="201"/>
                  </a:lnTo>
                  <a:close/>
                  <a:moveTo>
                    <a:pt x="185" y="199"/>
                  </a:moveTo>
                  <a:lnTo>
                    <a:pt x="185" y="200"/>
                  </a:lnTo>
                  <a:lnTo>
                    <a:pt x="185" y="199"/>
                  </a:lnTo>
                  <a:close/>
                  <a:moveTo>
                    <a:pt x="185" y="199"/>
                  </a:moveTo>
                  <a:lnTo>
                    <a:pt x="185" y="199"/>
                  </a:lnTo>
                  <a:lnTo>
                    <a:pt x="185" y="199"/>
                  </a:lnTo>
                  <a:close/>
                  <a:moveTo>
                    <a:pt x="186" y="199"/>
                  </a:moveTo>
                  <a:lnTo>
                    <a:pt x="185" y="199"/>
                  </a:lnTo>
                  <a:lnTo>
                    <a:pt x="186" y="199"/>
                  </a:lnTo>
                  <a:close/>
                  <a:moveTo>
                    <a:pt x="185" y="199"/>
                  </a:moveTo>
                  <a:lnTo>
                    <a:pt x="184" y="199"/>
                  </a:lnTo>
                  <a:lnTo>
                    <a:pt x="185" y="199"/>
                  </a:lnTo>
                  <a:close/>
                  <a:moveTo>
                    <a:pt x="186" y="197"/>
                  </a:moveTo>
                  <a:lnTo>
                    <a:pt x="186" y="198"/>
                  </a:lnTo>
                  <a:lnTo>
                    <a:pt x="186" y="197"/>
                  </a:lnTo>
                  <a:close/>
                  <a:moveTo>
                    <a:pt x="200" y="198"/>
                  </a:moveTo>
                  <a:lnTo>
                    <a:pt x="200" y="197"/>
                  </a:lnTo>
                  <a:lnTo>
                    <a:pt x="200" y="198"/>
                  </a:lnTo>
                  <a:close/>
                  <a:moveTo>
                    <a:pt x="186" y="197"/>
                  </a:moveTo>
                  <a:lnTo>
                    <a:pt x="186" y="197"/>
                  </a:lnTo>
                  <a:lnTo>
                    <a:pt x="186" y="197"/>
                  </a:lnTo>
                  <a:close/>
                  <a:moveTo>
                    <a:pt x="186" y="197"/>
                  </a:moveTo>
                  <a:lnTo>
                    <a:pt x="186" y="196"/>
                  </a:lnTo>
                  <a:lnTo>
                    <a:pt x="186" y="197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2" y="195"/>
                  </a:lnTo>
                  <a:lnTo>
                    <a:pt x="193" y="196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0" y="194"/>
                  </a:moveTo>
                  <a:lnTo>
                    <a:pt x="190" y="193"/>
                  </a:lnTo>
                  <a:lnTo>
                    <a:pt x="190" y="194"/>
                  </a:lnTo>
                  <a:close/>
                  <a:moveTo>
                    <a:pt x="190" y="193"/>
                  </a:moveTo>
                  <a:lnTo>
                    <a:pt x="189" y="193"/>
                  </a:lnTo>
                  <a:lnTo>
                    <a:pt x="190" y="193"/>
                  </a:lnTo>
                  <a:close/>
                  <a:moveTo>
                    <a:pt x="188" y="193"/>
                  </a:moveTo>
                  <a:lnTo>
                    <a:pt x="189" y="193"/>
                  </a:lnTo>
                  <a:lnTo>
                    <a:pt x="188" y="193"/>
                  </a:lnTo>
                  <a:close/>
                  <a:moveTo>
                    <a:pt x="185" y="190"/>
                  </a:moveTo>
                  <a:lnTo>
                    <a:pt x="185" y="191"/>
                  </a:lnTo>
                  <a:lnTo>
                    <a:pt x="185" y="190"/>
                  </a:lnTo>
                  <a:close/>
                  <a:moveTo>
                    <a:pt x="182" y="190"/>
                  </a:moveTo>
                  <a:lnTo>
                    <a:pt x="182" y="189"/>
                  </a:lnTo>
                  <a:lnTo>
                    <a:pt x="182" y="190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4" y="189"/>
                  </a:moveTo>
                  <a:lnTo>
                    <a:pt x="184" y="188"/>
                  </a:lnTo>
                  <a:lnTo>
                    <a:pt x="184" y="189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5" y="188"/>
                  </a:moveTo>
                  <a:lnTo>
                    <a:pt x="185" y="188"/>
                  </a:lnTo>
                  <a:lnTo>
                    <a:pt x="185" y="188"/>
                  </a:lnTo>
                  <a:close/>
                  <a:moveTo>
                    <a:pt x="179" y="188"/>
                  </a:moveTo>
                  <a:lnTo>
                    <a:pt x="179" y="188"/>
                  </a:lnTo>
                  <a:lnTo>
                    <a:pt x="179" y="188"/>
                  </a:lnTo>
                  <a:close/>
                  <a:moveTo>
                    <a:pt x="178" y="188"/>
                  </a:moveTo>
                  <a:lnTo>
                    <a:pt x="179" y="188"/>
                  </a:lnTo>
                  <a:lnTo>
                    <a:pt x="178" y="188"/>
                  </a:lnTo>
                  <a:close/>
                  <a:moveTo>
                    <a:pt x="179" y="188"/>
                  </a:moveTo>
                  <a:lnTo>
                    <a:pt x="178" y="188"/>
                  </a:lnTo>
                  <a:lnTo>
                    <a:pt x="179" y="188"/>
                  </a:lnTo>
                  <a:close/>
                  <a:moveTo>
                    <a:pt x="179" y="188"/>
                  </a:moveTo>
                  <a:lnTo>
                    <a:pt x="178" y="187"/>
                  </a:lnTo>
                  <a:lnTo>
                    <a:pt x="179" y="188"/>
                  </a:lnTo>
                  <a:close/>
                  <a:moveTo>
                    <a:pt x="178" y="187"/>
                  </a:moveTo>
                  <a:lnTo>
                    <a:pt x="178" y="188"/>
                  </a:lnTo>
                  <a:lnTo>
                    <a:pt x="178" y="187"/>
                  </a:lnTo>
                  <a:close/>
                  <a:moveTo>
                    <a:pt x="291" y="186"/>
                  </a:moveTo>
                  <a:lnTo>
                    <a:pt x="290" y="186"/>
                  </a:lnTo>
                  <a:lnTo>
                    <a:pt x="291" y="186"/>
                  </a:lnTo>
                  <a:close/>
                  <a:moveTo>
                    <a:pt x="291" y="186"/>
                  </a:moveTo>
                  <a:lnTo>
                    <a:pt x="291" y="185"/>
                  </a:lnTo>
                  <a:lnTo>
                    <a:pt x="291" y="186"/>
                  </a:lnTo>
                  <a:close/>
                  <a:moveTo>
                    <a:pt x="289" y="185"/>
                  </a:moveTo>
                  <a:lnTo>
                    <a:pt x="290" y="185"/>
                  </a:lnTo>
                  <a:lnTo>
                    <a:pt x="289" y="185"/>
                  </a:lnTo>
                  <a:close/>
                  <a:moveTo>
                    <a:pt x="177" y="185"/>
                  </a:moveTo>
                  <a:lnTo>
                    <a:pt x="177" y="185"/>
                  </a:lnTo>
                  <a:lnTo>
                    <a:pt x="177" y="185"/>
                  </a:lnTo>
                  <a:close/>
                  <a:moveTo>
                    <a:pt x="176" y="184"/>
                  </a:moveTo>
                  <a:lnTo>
                    <a:pt x="176" y="183"/>
                  </a:lnTo>
                  <a:lnTo>
                    <a:pt x="176" y="184"/>
                  </a:lnTo>
                  <a:close/>
                  <a:moveTo>
                    <a:pt x="176" y="183"/>
                  </a:moveTo>
                  <a:lnTo>
                    <a:pt x="176" y="183"/>
                  </a:lnTo>
                  <a:lnTo>
                    <a:pt x="176" y="183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1"/>
                  </a:lnTo>
                  <a:lnTo>
                    <a:pt x="176" y="182"/>
                  </a:lnTo>
                  <a:close/>
                  <a:moveTo>
                    <a:pt x="176" y="181"/>
                  </a:moveTo>
                  <a:lnTo>
                    <a:pt x="176" y="181"/>
                  </a:lnTo>
                  <a:lnTo>
                    <a:pt x="176" y="181"/>
                  </a:lnTo>
                  <a:close/>
                  <a:moveTo>
                    <a:pt x="153" y="181"/>
                  </a:moveTo>
                  <a:lnTo>
                    <a:pt x="153" y="182"/>
                  </a:lnTo>
                  <a:lnTo>
                    <a:pt x="153" y="181"/>
                  </a:lnTo>
                  <a:close/>
                  <a:moveTo>
                    <a:pt x="175" y="180"/>
                  </a:moveTo>
                  <a:lnTo>
                    <a:pt x="175" y="179"/>
                  </a:lnTo>
                  <a:lnTo>
                    <a:pt x="175" y="180"/>
                  </a:lnTo>
                  <a:close/>
                  <a:moveTo>
                    <a:pt x="300" y="177"/>
                  </a:moveTo>
                  <a:lnTo>
                    <a:pt x="300" y="176"/>
                  </a:lnTo>
                  <a:lnTo>
                    <a:pt x="300" y="177"/>
                  </a:lnTo>
                  <a:close/>
                  <a:moveTo>
                    <a:pt x="136" y="176"/>
                  </a:moveTo>
                  <a:lnTo>
                    <a:pt x="136" y="175"/>
                  </a:lnTo>
                  <a:lnTo>
                    <a:pt x="136" y="176"/>
                  </a:lnTo>
                  <a:close/>
                  <a:moveTo>
                    <a:pt x="135" y="175"/>
                  </a:moveTo>
                  <a:lnTo>
                    <a:pt x="135" y="175"/>
                  </a:lnTo>
                  <a:lnTo>
                    <a:pt x="135" y="175"/>
                  </a:lnTo>
                  <a:close/>
                  <a:moveTo>
                    <a:pt x="138" y="175"/>
                  </a:moveTo>
                  <a:lnTo>
                    <a:pt x="138" y="175"/>
                  </a:lnTo>
                  <a:lnTo>
                    <a:pt x="138" y="175"/>
                  </a:lnTo>
                  <a:close/>
                  <a:moveTo>
                    <a:pt x="134" y="175"/>
                  </a:moveTo>
                  <a:lnTo>
                    <a:pt x="134" y="175"/>
                  </a:lnTo>
                  <a:lnTo>
                    <a:pt x="134" y="175"/>
                  </a:lnTo>
                  <a:close/>
                  <a:moveTo>
                    <a:pt x="302" y="174"/>
                  </a:moveTo>
                  <a:lnTo>
                    <a:pt x="303" y="174"/>
                  </a:lnTo>
                  <a:lnTo>
                    <a:pt x="302" y="174"/>
                  </a:lnTo>
                  <a:close/>
                  <a:moveTo>
                    <a:pt x="133" y="174"/>
                  </a:moveTo>
                  <a:lnTo>
                    <a:pt x="132" y="174"/>
                  </a:lnTo>
                  <a:lnTo>
                    <a:pt x="133" y="174"/>
                  </a:lnTo>
                  <a:close/>
                  <a:moveTo>
                    <a:pt x="133" y="173"/>
                  </a:moveTo>
                  <a:lnTo>
                    <a:pt x="133" y="174"/>
                  </a:lnTo>
                  <a:lnTo>
                    <a:pt x="133" y="173"/>
                  </a:lnTo>
                  <a:close/>
                  <a:moveTo>
                    <a:pt x="135" y="174"/>
                  </a:moveTo>
                  <a:lnTo>
                    <a:pt x="135" y="173"/>
                  </a:lnTo>
                  <a:lnTo>
                    <a:pt x="135" y="174"/>
                  </a:lnTo>
                  <a:close/>
                  <a:moveTo>
                    <a:pt x="131" y="173"/>
                  </a:moveTo>
                  <a:lnTo>
                    <a:pt x="131" y="174"/>
                  </a:lnTo>
                  <a:lnTo>
                    <a:pt x="131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9" y="173"/>
                  </a:moveTo>
                  <a:lnTo>
                    <a:pt x="138" y="173"/>
                  </a:lnTo>
                  <a:lnTo>
                    <a:pt x="139" y="173"/>
                  </a:lnTo>
                  <a:close/>
                  <a:moveTo>
                    <a:pt x="135" y="173"/>
                  </a:moveTo>
                  <a:lnTo>
                    <a:pt x="135" y="173"/>
                  </a:lnTo>
                  <a:lnTo>
                    <a:pt x="135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3" y="173"/>
                  </a:moveTo>
                  <a:lnTo>
                    <a:pt x="133" y="172"/>
                  </a:lnTo>
                  <a:lnTo>
                    <a:pt x="133" y="173"/>
                  </a:lnTo>
                  <a:close/>
                  <a:moveTo>
                    <a:pt x="132" y="172"/>
                  </a:moveTo>
                  <a:lnTo>
                    <a:pt x="131" y="172"/>
                  </a:lnTo>
                  <a:lnTo>
                    <a:pt x="132" y="172"/>
                  </a:lnTo>
                  <a:close/>
                  <a:moveTo>
                    <a:pt x="133" y="172"/>
                  </a:moveTo>
                  <a:lnTo>
                    <a:pt x="133" y="172"/>
                  </a:lnTo>
                  <a:lnTo>
                    <a:pt x="133" y="172"/>
                  </a:lnTo>
                  <a:close/>
                  <a:moveTo>
                    <a:pt x="134" y="172"/>
                  </a:moveTo>
                  <a:lnTo>
                    <a:pt x="133" y="172"/>
                  </a:lnTo>
                  <a:lnTo>
                    <a:pt x="134" y="172"/>
                  </a:lnTo>
                  <a:close/>
                  <a:moveTo>
                    <a:pt x="140" y="171"/>
                  </a:moveTo>
                  <a:lnTo>
                    <a:pt x="140" y="172"/>
                  </a:lnTo>
                  <a:lnTo>
                    <a:pt x="140" y="171"/>
                  </a:lnTo>
                  <a:close/>
                  <a:moveTo>
                    <a:pt x="176" y="171"/>
                  </a:moveTo>
                  <a:lnTo>
                    <a:pt x="176" y="171"/>
                  </a:lnTo>
                  <a:lnTo>
                    <a:pt x="176" y="171"/>
                  </a:lnTo>
                  <a:close/>
                  <a:moveTo>
                    <a:pt x="128" y="171"/>
                  </a:moveTo>
                  <a:lnTo>
                    <a:pt x="128" y="171"/>
                  </a:lnTo>
                  <a:lnTo>
                    <a:pt x="128" y="171"/>
                  </a:lnTo>
                  <a:close/>
                  <a:moveTo>
                    <a:pt x="131" y="171"/>
                  </a:moveTo>
                  <a:lnTo>
                    <a:pt x="131" y="170"/>
                  </a:lnTo>
                  <a:lnTo>
                    <a:pt x="131" y="171"/>
                  </a:lnTo>
                  <a:close/>
                  <a:moveTo>
                    <a:pt x="128" y="170"/>
                  </a:moveTo>
                  <a:lnTo>
                    <a:pt x="128" y="171"/>
                  </a:lnTo>
                  <a:lnTo>
                    <a:pt x="128" y="170"/>
                  </a:lnTo>
                  <a:close/>
                  <a:moveTo>
                    <a:pt x="174" y="170"/>
                  </a:moveTo>
                  <a:lnTo>
                    <a:pt x="174" y="171"/>
                  </a:lnTo>
                  <a:lnTo>
                    <a:pt x="174" y="170"/>
                  </a:lnTo>
                  <a:close/>
                  <a:moveTo>
                    <a:pt x="302" y="170"/>
                  </a:moveTo>
                  <a:lnTo>
                    <a:pt x="303" y="170"/>
                  </a:lnTo>
                  <a:lnTo>
                    <a:pt x="302" y="170"/>
                  </a:lnTo>
                  <a:close/>
                  <a:moveTo>
                    <a:pt x="172" y="170"/>
                  </a:moveTo>
                  <a:lnTo>
                    <a:pt x="171" y="170"/>
                  </a:lnTo>
                  <a:lnTo>
                    <a:pt x="172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24" y="170"/>
                  </a:moveTo>
                  <a:lnTo>
                    <a:pt x="124" y="170"/>
                  </a:lnTo>
                  <a:lnTo>
                    <a:pt x="124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6" y="170"/>
                  </a:moveTo>
                  <a:lnTo>
                    <a:pt x="125" y="170"/>
                  </a:lnTo>
                  <a:lnTo>
                    <a:pt x="126" y="170"/>
                  </a:lnTo>
                  <a:close/>
                  <a:moveTo>
                    <a:pt x="131" y="170"/>
                  </a:moveTo>
                  <a:lnTo>
                    <a:pt x="130" y="170"/>
                  </a:lnTo>
                  <a:lnTo>
                    <a:pt x="131" y="170"/>
                  </a:lnTo>
                  <a:close/>
                  <a:moveTo>
                    <a:pt x="126" y="170"/>
                  </a:moveTo>
                  <a:lnTo>
                    <a:pt x="126" y="170"/>
                  </a:lnTo>
                  <a:lnTo>
                    <a:pt x="126" y="170"/>
                  </a:lnTo>
                  <a:close/>
                  <a:moveTo>
                    <a:pt x="123" y="169"/>
                  </a:moveTo>
                  <a:lnTo>
                    <a:pt x="123" y="170"/>
                  </a:lnTo>
                  <a:lnTo>
                    <a:pt x="123" y="169"/>
                  </a:lnTo>
                  <a:close/>
                  <a:moveTo>
                    <a:pt x="123" y="169"/>
                  </a:moveTo>
                  <a:lnTo>
                    <a:pt x="123" y="169"/>
                  </a:lnTo>
                  <a:lnTo>
                    <a:pt x="123" y="169"/>
                  </a:lnTo>
                  <a:close/>
                  <a:moveTo>
                    <a:pt x="187" y="169"/>
                  </a:moveTo>
                  <a:lnTo>
                    <a:pt x="186" y="169"/>
                  </a:lnTo>
                  <a:lnTo>
                    <a:pt x="187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1" y="169"/>
                  </a:moveTo>
                  <a:lnTo>
                    <a:pt x="121" y="169"/>
                  </a:lnTo>
                  <a:lnTo>
                    <a:pt x="121" y="169"/>
                  </a:lnTo>
                  <a:close/>
                  <a:moveTo>
                    <a:pt x="122" y="169"/>
                  </a:moveTo>
                  <a:lnTo>
                    <a:pt x="121" y="169"/>
                  </a:lnTo>
                  <a:lnTo>
                    <a:pt x="122" y="169"/>
                  </a:lnTo>
                  <a:close/>
                  <a:moveTo>
                    <a:pt x="122" y="168"/>
                  </a:moveTo>
                  <a:lnTo>
                    <a:pt x="122" y="169"/>
                  </a:lnTo>
                  <a:lnTo>
                    <a:pt x="122" y="168"/>
                  </a:lnTo>
                  <a:close/>
                  <a:moveTo>
                    <a:pt x="121" y="168"/>
                  </a:moveTo>
                  <a:lnTo>
                    <a:pt x="120" y="168"/>
                  </a:lnTo>
                  <a:lnTo>
                    <a:pt x="121" y="168"/>
                  </a:lnTo>
                  <a:close/>
                  <a:moveTo>
                    <a:pt x="120" y="168"/>
                  </a:moveTo>
                  <a:lnTo>
                    <a:pt x="119" y="168"/>
                  </a:lnTo>
                  <a:lnTo>
                    <a:pt x="120" y="168"/>
                  </a:lnTo>
                  <a:close/>
                  <a:moveTo>
                    <a:pt x="164" y="168"/>
                  </a:moveTo>
                  <a:lnTo>
                    <a:pt x="164" y="168"/>
                  </a:lnTo>
                  <a:lnTo>
                    <a:pt x="164" y="168"/>
                  </a:lnTo>
                  <a:close/>
                  <a:moveTo>
                    <a:pt x="164" y="168"/>
                  </a:moveTo>
                  <a:lnTo>
                    <a:pt x="165" y="168"/>
                  </a:lnTo>
                  <a:lnTo>
                    <a:pt x="164" y="168"/>
                  </a:lnTo>
                  <a:close/>
                  <a:moveTo>
                    <a:pt x="187" y="168"/>
                  </a:moveTo>
                  <a:lnTo>
                    <a:pt x="187" y="167"/>
                  </a:lnTo>
                  <a:lnTo>
                    <a:pt x="187" y="168"/>
                  </a:lnTo>
                  <a:close/>
                  <a:moveTo>
                    <a:pt x="119" y="168"/>
                  </a:moveTo>
                  <a:lnTo>
                    <a:pt x="119" y="167"/>
                  </a:lnTo>
                  <a:lnTo>
                    <a:pt x="119" y="168"/>
                  </a:lnTo>
                  <a:close/>
                  <a:moveTo>
                    <a:pt x="164" y="168"/>
                  </a:moveTo>
                  <a:lnTo>
                    <a:pt x="164" y="167"/>
                  </a:lnTo>
                  <a:lnTo>
                    <a:pt x="164" y="168"/>
                  </a:lnTo>
                  <a:close/>
                  <a:moveTo>
                    <a:pt x="120" y="167"/>
                  </a:moveTo>
                  <a:lnTo>
                    <a:pt x="119" y="167"/>
                  </a:lnTo>
                  <a:lnTo>
                    <a:pt x="120" y="167"/>
                  </a:lnTo>
                  <a:close/>
                  <a:moveTo>
                    <a:pt x="163" y="167"/>
                  </a:moveTo>
                  <a:lnTo>
                    <a:pt x="162" y="167"/>
                  </a:lnTo>
                  <a:lnTo>
                    <a:pt x="163" y="167"/>
                  </a:lnTo>
                  <a:close/>
                  <a:moveTo>
                    <a:pt x="304" y="167"/>
                  </a:moveTo>
                  <a:lnTo>
                    <a:pt x="304" y="167"/>
                  </a:lnTo>
                  <a:lnTo>
                    <a:pt x="304" y="167"/>
                  </a:lnTo>
                  <a:close/>
                  <a:moveTo>
                    <a:pt x="164" y="167"/>
                  </a:moveTo>
                  <a:lnTo>
                    <a:pt x="164" y="167"/>
                  </a:lnTo>
                  <a:lnTo>
                    <a:pt x="164" y="167"/>
                  </a:lnTo>
                  <a:close/>
                  <a:moveTo>
                    <a:pt x="162" y="167"/>
                  </a:moveTo>
                  <a:lnTo>
                    <a:pt x="162" y="167"/>
                  </a:lnTo>
                  <a:lnTo>
                    <a:pt x="162" y="167"/>
                  </a:lnTo>
                  <a:close/>
                  <a:moveTo>
                    <a:pt x="164" y="167"/>
                  </a:moveTo>
                  <a:lnTo>
                    <a:pt x="163" y="167"/>
                  </a:lnTo>
                  <a:lnTo>
                    <a:pt x="164" y="167"/>
                  </a:lnTo>
                  <a:close/>
                  <a:moveTo>
                    <a:pt x="121" y="166"/>
                  </a:moveTo>
                  <a:lnTo>
                    <a:pt x="120" y="166"/>
                  </a:lnTo>
                  <a:lnTo>
                    <a:pt x="121" y="166"/>
                  </a:lnTo>
                  <a:close/>
                  <a:moveTo>
                    <a:pt x="126" y="166"/>
                  </a:moveTo>
                  <a:lnTo>
                    <a:pt x="126" y="166"/>
                  </a:lnTo>
                  <a:lnTo>
                    <a:pt x="126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close/>
                  <a:moveTo>
                    <a:pt x="121" y="165"/>
                  </a:moveTo>
                  <a:lnTo>
                    <a:pt x="121" y="166"/>
                  </a:lnTo>
                  <a:lnTo>
                    <a:pt x="121" y="165"/>
                  </a:lnTo>
                  <a:close/>
                  <a:moveTo>
                    <a:pt x="120" y="166"/>
                  </a:moveTo>
                  <a:lnTo>
                    <a:pt x="120" y="165"/>
                  </a:lnTo>
                  <a:lnTo>
                    <a:pt x="120" y="166"/>
                  </a:lnTo>
                  <a:close/>
                  <a:moveTo>
                    <a:pt x="163" y="166"/>
                  </a:moveTo>
                  <a:lnTo>
                    <a:pt x="163" y="165"/>
                  </a:lnTo>
                  <a:lnTo>
                    <a:pt x="163" y="166"/>
                  </a:lnTo>
                  <a:close/>
                  <a:moveTo>
                    <a:pt x="161" y="165"/>
                  </a:moveTo>
                  <a:lnTo>
                    <a:pt x="161" y="166"/>
                  </a:lnTo>
                  <a:lnTo>
                    <a:pt x="161" y="165"/>
                  </a:lnTo>
                  <a:close/>
                  <a:moveTo>
                    <a:pt x="191" y="165"/>
                  </a:moveTo>
                  <a:lnTo>
                    <a:pt x="191" y="166"/>
                  </a:lnTo>
                  <a:lnTo>
                    <a:pt x="191" y="165"/>
                  </a:lnTo>
                  <a:close/>
                  <a:moveTo>
                    <a:pt x="120" y="165"/>
                  </a:moveTo>
                  <a:lnTo>
                    <a:pt x="120" y="165"/>
                  </a:lnTo>
                  <a:lnTo>
                    <a:pt x="120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21" y="165"/>
                  </a:moveTo>
                  <a:lnTo>
                    <a:pt x="120" y="165"/>
                  </a:lnTo>
                  <a:lnTo>
                    <a:pt x="121" y="165"/>
                  </a:lnTo>
                  <a:close/>
                  <a:moveTo>
                    <a:pt x="161" y="165"/>
                  </a:moveTo>
                  <a:lnTo>
                    <a:pt x="160" y="165"/>
                  </a:lnTo>
                  <a:lnTo>
                    <a:pt x="161" y="165"/>
                  </a:lnTo>
                  <a:close/>
                  <a:moveTo>
                    <a:pt x="146" y="165"/>
                  </a:moveTo>
                  <a:lnTo>
                    <a:pt x="145" y="165"/>
                  </a:lnTo>
                  <a:lnTo>
                    <a:pt x="146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33" y="164"/>
                  </a:moveTo>
                  <a:lnTo>
                    <a:pt x="133" y="163"/>
                  </a:lnTo>
                  <a:lnTo>
                    <a:pt x="133" y="164"/>
                  </a:lnTo>
                  <a:close/>
                  <a:moveTo>
                    <a:pt x="126" y="164"/>
                  </a:moveTo>
                  <a:lnTo>
                    <a:pt x="126" y="163"/>
                  </a:lnTo>
                  <a:lnTo>
                    <a:pt x="126" y="164"/>
                  </a:lnTo>
                  <a:close/>
                  <a:moveTo>
                    <a:pt x="122" y="164"/>
                  </a:moveTo>
                  <a:lnTo>
                    <a:pt x="121" y="164"/>
                  </a:lnTo>
                  <a:lnTo>
                    <a:pt x="121" y="163"/>
                  </a:lnTo>
                  <a:lnTo>
                    <a:pt x="122" y="164"/>
                  </a:lnTo>
                  <a:close/>
                  <a:moveTo>
                    <a:pt x="164" y="163"/>
                  </a:moveTo>
                  <a:lnTo>
                    <a:pt x="163" y="163"/>
                  </a:lnTo>
                  <a:lnTo>
                    <a:pt x="164" y="163"/>
                  </a:lnTo>
                  <a:close/>
                  <a:moveTo>
                    <a:pt x="122" y="163"/>
                  </a:moveTo>
                  <a:lnTo>
                    <a:pt x="122" y="162"/>
                  </a:lnTo>
                  <a:lnTo>
                    <a:pt x="122" y="163"/>
                  </a:lnTo>
                  <a:close/>
                  <a:moveTo>
                    <a:pt x="122" y="162"/>
                  </a:moveTo>
                  <a:lnTo>
                    <a:pt x="122" y="163"/>
                  </a:lnTo>
                  <a:lnTo>
                    <a:pt x="122" y="162"/>
                  </a:lnTo>
                  <a:close/>
                  <a:moveTo>
                    <a:pt x="119" y="162"/>
                  </a:moveTo>
                  <a:lnTo>
                    <a:pt x="120" y="162"/>
                  </a:lnTo>
                  <a:lnTo>
                    <a:pt x="119" y="162"/>
                  </a:lnTo>
                  <a:close/>
                  <a:moveTo>
                    <a:pt x="123" y="162"/>
                  </a:moveTo>
                  <a:lnTo>
                    <a:pt x="122" y="162"/>
                  </a:lnTo>
                  <a:lnTo>
                    <a:pt x="123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302" y="162"/>
                  </a:moveTo>
                  <a:lnTo>
                    <a:pt x="302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21" y="162"/>
                  </a:lnTo>
                  <a:lnTo>
                    <a:pt x="120" y="162"/>
                  </a:lnTo>
                  <a:close/>
                  <a:moveTo>
                    <a:pt x="118" y="162"/>
                  </a:moveTo>
                  <a:lnTo>
                    <a:pt x="118" y="162"/>
                  </a:lnTo>
                  <a:lnTo>
                    <a:pt x="118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19" y="162"/>
                  </a:moveTo>
                  <a:lnTo>
                    <a:pt x="118" y="162"/>
                  </a:lnTo>
                  <a:lnTo>
                    <a:pt x="119" y="162"/>
                  </a:lnTo>
                  <a:close/>
                  <a:moveTo>
                    <a:pt x="302" y="162"/>
                  </a:moveTo>
                  <a:lnTo>
                    <a:pt x="301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7" y="162"/>
                  </a:moveTo>
                  <a:lnTo>
                    <a:pt x="126" y="162"/>
                  </a:lnTo>
                  <a:lnTo>
                    <a:pt x="127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1"/>
                  </a:lnTo>
                  <a:lnTo>
                    <a:pt x="120" y="162"/>
                  </a:lnTo>
                  <a:close/>
                  <a:moveTo>
                    <a:pt x="126" y="162"/>
                  </a:moveTo>
                  <a:lnTo>
                    <a:pt x="126" y="161"/>
                  </a:lnTo>
                  <a:lnTo>
                    <a:pt x="126" y="162"/>
                  </a:lnTo>
                  <a:close/>
                  <a:moveTo>
                    <a:pt x="127" y="161"/>
                  </a:moveTo>
                  <a:lnTo>
                    <a:pt x="126" y="161"/>
                  </a:lnTo>
                  <a:lnTo>
                    <a:pt x="127" y="161"/>
                  </a:lnTo>
                  <a:close/>
                  <a:moveTo>
                    <a:pt x="163" y="160"/>
                  </a:moveTo>
                  <a:lnTo>
                    <a:pt x="163" y="161"/>
                  </a:lnTo>
                  <a:lnTo>
                    <a:pt x="163" y="160"/>
                  </a:lnTo>
                  <a:close/>
                  <a:moveTo>
                    <a:pt x="122" y="161"/>
                  </a:moveTo>
                  <a:lnTo>
                    <a:pt x="121" y="161"/>
                  </a:lnTo>
                  <a:lnTo>
                    <a:pt x="121" y="160"/>
                  </a:lnTo>
                  <a:lnTo>
                    <a:pt x="122" y="161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27" y="160"/>
                  </a:moveTo>
                  <a:lnTo>
                    <a:pt x="127" y="160"/>
                  </a:lnTo>
                  <a:lnTo>
                    <a:pt x="127" y="160"/>
                  </a:lnTo>
                  <a:close/>
                  <a:moveTo>
                    <a:pt x="120" y="160"/>
                  </a:moveTo>
                  <a:lnTo>
                    <a:pt x="121" y="160"/>
                  </a:lnTo>
                  <a:lnTo>
                    <a:pt x="120" y="160"/>
                  </a:lnTo>
                  <a:close/>
                  <a:moveTo>
                    <a:pt x="129" y="160"/>
                  </a:moveTo>
                  <a:lnTo>
                    <a:pt x="128" y="160"/>
                  </a:lnTo>
                  <a:lnTo>
                    <a:pt x="129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19" y="159"/>
                  </a:moveTo>
                  <a:lnTo>
                    <a:pt x="119" y="160"/>
                  </a:lnTo>
                  <a:lnTo>
                    <a:pt x="119" y="159"/>
                  </a:lnTo>
                  <a:close/>
                  <a:moveTo>
                    <a:pt x="206" y="160"/>
                  </a:moveTo>
                  <a:lnTo>
                    <a:pt x="206" y="160"/>
                  </a:lnTo>
                  <a:lnTo>
                    <a:pt x="206" y="159"/>
                  </a:lnTo>
                  <a:lnTo>
                    <a:pt x="206" y="159"/>
                  </a:lnTo>
                  <a:lnTo>
                    <a:pt x="206" y="160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205" y="159"/>
                  </a:moveTo>
                  <a:lnTo>
                    <a:pt x="205" y="159"/>
                  </a:lnTo>
                  <a:lnTo>
                    <a:pt x="205" y="159"/>
                  </a:lnTo>
                  <a:close/>
                  <a:moveTo>
                    <a:pt x="298" y="158"/>
                  </a:moveTo>
                  <a:lnTo>
                    <a:pt x="298" y="158"/>
                  </a:lnTo>
                  <a:lnTo>
                    <a:pt x="298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4" y="158"/>
                  </a:lnTo>
                  <a:close/>
                  <a:moveTo>
                    <a:pt x="118" y="158"/>
                  </a:moveTo>
                  <a:lnTo>
                    <a:pt x="118" y="158"/>
                  </a:lnTo>
                  <a:lnTo>
                    <a:pt x="118" y="158"/>
                  </a:lnTo>
                  <a:close/>
                  <a:moveTo>
                    <a:pt x="266" y="158"/>
                  </a:moveTo>
                  <a:lnTo>
                    <a:pt x="265" y="158"/>
                  </a:lnTo>
                  <a:lnTo>
                    <a:pt x="266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7" y="156"/>
                  </a:moveTo>
                  <a:lnTo>
                    <a:pt x="117" y="157"/>
                  </a:lnTo>
                  <a:lnTo>
                    <a:pt x="117" y="156"/>
                  </a:lnTo>
                  <a:close/>
                  <a:moveTo>
                    <a:pt x="202" y="156"/>
                  </a:moveTo>
                  <a:lnTo>
                    <a:pt x="202" y="157"/>
                  </a:lnTo>
                  <a:lnTo>
                    <a:pt x="202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271" y="156"/>
                  </a:moveTo>
                  <a:lnTo>
                    <a:pt x="270" y="156"/>
                  </a:lnTo>
                  <a:lnTo>
                    <a:pt x="271" y="156"/>
                  </a:lnTo>
                  <a:lnTo>
                    <a:pt x="270" y="156"/>
                  </a:lnTo>
                  <a:lnTo>
                    <a:pt x="271" y="156"/>
                  </a:lnTo>
                  <a:close/>
                  <a:moveTo>
                    <a:pt x="258" y="156"/>
                  </a:moveTo>
                  <a:lnTo>
                    <a:pt x="258" y="155"/>
                  </a:lnTo>
                  <a:lnTo>
                    <a:pt x="258" y="156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01" y="156"/>
                  </a:moveTo>
                  <a:lnTo>
                    <a:pt x="201" y="155"/>
                  </a:lnTo>
                  <a:lnTo>
                    <a:pt x="202" y="155"/>
                  </a:lnTo>
                  <a:lnTo>
                    <a:pt x="201" y="156"/>
                  </a:lnTo>
                  <a:close/>
                  <a:moveTo>
                    <a:pt x="118" y="155"/>
                  </a:moveTo>
                  <a:lnTo>
                    <a:pt x="118" y="156"/>
                  </a:lnTo>
                  <a:lnTo>
                    <a:pt x="118" y="155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61" y="155"/>
                  </a:moveTo>
                  <a:lnTo>
                    <a:pt x="261" y="155"/>
                  </a:lnTo>
                  <a:lnTo>
                    <a:pt x="261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75" y="155"/>
                  </a:moveTo>
                  <a:lnTo>
                    <a:pt x="274" y="155"/>
                  </a:lnTo>
                  <a:lnTo>
                    <a:pt x="275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00" y="154"/>
                  </a:moveTo>
                  <a:lnTo>
                    <a:pt x="201" y="154"/>
                  </a:lnTo>
                  <a:lnTo>
                    <a:pt x="200" y="154"/>
                  </a:lnTo>
                  <a:close/>
                  <a:moveTo>
                    <a:pt x="200" y="154"/>
                  </a:moveTo>
                  <a:lnTo>
                    <a:pt x="200" y="154"/>
                  </a:lnTo>
                  <a:lnTo>
                    <a:pt x="200" y="154"/>
                  </a:lnTo>
                  <a:close/>
                  <a:moveTo>
                    <a:pt x="199" y="154"/>
                  </a:moveTo>
                  <a:lnTo>
                    <a:pt x="200" y="154"/>
                  </a:lnTo>
                  <a:lnTo>
                    <a:pt x="19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278" y="154"/>
                  </a:moveTo>
                  <a:lnTo>
                    <a:pt x="278" y="154"/>
                  </a:lnTo>
                  <a:lnTo>
                    <a:pt x="278" y="154"/>
                  </a:lnTo>
                  <a:close/>
                  <a:moveTo>
                    <a:pt x="278" y="153"/>
                  </a:moveTo>
                  <a:lnTo>
                    <a:pt x="278" y="154"/>
                  </a:lnTo>
                  <a:lnTo>
                    <a:pt x="278" y="153"/>
                  </a:lnTo>
                  <a:close/>
                  <a:moveTo>
                    <a:pt x="198" y="153"/>
                  </a:moveTo>
                  <a:lnTo>
                    <a:pt x="198" y="154"/>
                  </a:lnTo>
                  <a:lnTo>
                    <a:pt x="198" y="153"/>
                  </a:lnTo>
                  <a:close/>
                  <a:moveTo>
                    <a:pt x="119" y="153"/>
                  </a:moveTo>
                  <a:lnTo>
                    <a:pt x="119" y="153"/>
                  </a:lnTo>
                  <a:lnTo>
                    <a:pt x="119" y="153"/>
                  </a:lnTo>
                  <a:close/>
                  <a:moveTo>
                    <a:pt x="197" y="153"/>
                  </a:moveTo>
                  <a:lnTo>
                    <a:pt x="197" y="152"/>
                  </a:lnTo>
                  <a:lnTo>
                    <a:pt x="197" y="153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0" y="152"/>
                  </a:moveTo>
                  <a:lnTo>
                    <a:pt x="120" y="152"/>
                  </a:lnTo>
                  <a:lnTo>
                    <a:pt x="120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1" y="151"/>
                  </a:moveTo>
                  <a:lnTo>
                    <a:pt x="120" y="152"/>
                  </a:lnTo>
                  <a:lnTo>
                    <a:pt x="121" y="151"/>
                  </a:lnTo>
                  <a:close/>
                  <a:moveTo>
                    <a:pt x="295" y="152"/>
                  </a:moveTo>
                  <a:lnTo>
                    <a:pt x="295" y="151"/>
                  </a:lnTo>
                  <a:lnTo>
                    <a:pt x="295" y="152"/>
                  </a:lnTo>
                  <a:close/>
                  <a:moveTo>
                    <a:pt x="119" y="151"/>
                  </a:moveTo>
                  <a:lnTo>
                    <a:pt x="119" y="152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2" y="151"/>
                  </a:moveTo>
                  <a:lnTo>
                    <a:pt x="121" y="151"/>
                  </a:lnTo>
                  <a:lnTo>
                    <a:pt x="122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1" y="151"/>
                  </a:moveTo>
                  <a:lnTo>
                    <a:pt x="121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1" y="151"/>
                  </a:moveTo>
                  <a:lnTo>
                    <a:pt x="121" y="150"/>
                  </a:lnTo>
                  <a:lnTo>
                    <a:pt x="121" y="151"/>
                  </a:lnTo>
                  <a:close/>
                  <a:moveTo>
                    <a:pt x="195" y="150"/>
                  </a:moveTo>
                  <a:lnTo>
                    <a:pt x="195" y="151"/>
                  </a:lnTo>
                  <a:lnTo>
                    <a:pt x="195" y="150"/>
                  </a:lnTo>
                  <a:close/>
                  <a:moveTo>
                    <a:pt x="259" y="150"/>
                  </a:moveTo>
                  <a:lnTo>
                    <a:pt x="260" y="150"/>
                  </a:lnTo>
                  <a:lnTo>
                    <a:pt x="259" y="150"/>
                  </a:lnTo>
                  <a:close/>
                  <a:moveTo>
                    <a:pt x="120" y="150"/>
                  </a:moveTo>
                  <a:lnTo>
                    <a:pt x="120" y="150"/>
                  </a:lnTo>
                  <a:lnTo>
                    <a:pt x="120" y="150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50"/>
                  </a:moveTo>
                  <a:lnTo>
                    <a:pt x="120" y="149"/>
                  </a:lnTo>
                  <a:lnTo>
                    <a:pt x="120" y="150"/>
                  </a:lnTo>
                  <a:close/>
                  <a:moveTo>
                    <a:pt x="195" y="149"/>
                  </a:moveTo>
                  <a:lnTo>
                    <a:pt x="195" y="150"/>
                  </a:lnTo>
                  <a:lnTo>
                    <a:pt x="195" y="149"/>
                  </a:lnTo>
                  <a:lnTo>
                    <a:pt x="195" y="150"/>
                  </a:lnTo>
                  <a:lnTo>
                    <a:pt x="195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296" y="149"/>
                  </a:moveTo>
                  <a:lnTo>
                    <a:pt x="295" y="149"/>
                  </a:lnTo>
                  <a:lnTo>
                    <a:pt x="296" y="149"/>
                  </a:lnTo>
                  <a:close/>
                  <a:moveTo>
                    <a:pt x="120" y="149"/>
                  </a:moveTo>
                  <a:lnTo>
                    <a:pt x="120" y="149"/>
                  </a:lnTo>
                  <a:lnTo>
                    <a:pt x="120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317" y="149"/>
                  </a:moveTo>
                  <a:lnTo>
                    <a:pt x="317" y="149"/>
                  </a:lnTo>
                  <a:lnTo>
                    <a:pt x="317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120" y="149"/>
                  </a:moveTo>
                  <a:lnTo>
                    <a:pt x="119" y="149"/>
                  </a:lnTo>
                  <a:lnTo>
                    <a:pt x="120" y="149"/>
                  </a:lnTo>
                  <a:close/>
                  <a:moveTo>
                    <a:pt x="119" y="149"/>
                  </a:moveTo>
                  <a:lnTo>
                    <a:pt x="119" y="149"/>
                  </a:lnTo>
                  <a:lnTo>
                    <a:pt x="119" y="149"/>
                  </a:lnTo>
                  <a:close/>
                  <a:moveTo>
                    <a:pt x="119" y="149"/>
                  </a:moveTo>
                  <a:lnTo>
                    <a:pt x="118" y="149"/>
                  </a:lnTo>
                  <a:lnTo>
                    <a:pt x="119" y="149"/>
                  </a:lnTo>
                  <a:close/>
                  <a:moveTo>
                    <a:pt x="119" y="148"/>
                  </a:moveTo>
                  <a:lnTo>
                    <a:pt x="119" y="149"/>
                  </a:lnTo>
                  <a:lnTo>
                    <a:pt x="119" y="148"/>
                  </a:lnTo>
                  <a:close/>
                  <a:moveTo>
                    <a:pt x="119" y="148"/>
                  </a:moveTo>
                  <a:lnTo>
                    <a:pt x="118" y="148"/>
                  </a:lnTo>
                  <a:lnTo>
                    <a:pt x="119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304" y="148"/>
                  </a:moveTo>
                  <a:lnTo>
                    <a:pt x="305" y="148"/>
                  </a:lnTo>
                  <a:lnTo>
                    <a:pt x="304" y="148"/>
                  </a:lnTo>
                  <a:close/>
                  <a:moveTo>
                    <a:pt x="194" y="147"/>
                  </a:move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close/>
                  <a:moveTo>
                    <a:pt x="171" y="147"/>
                  </a:moveTo>
                  <a:lnTo>
                    <a:pt x="171" y="147"/>
                  </a:lnTo>
                  <a:lnTo>
                    <a:pt x="171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306" y="147"/>
                  </a:moveTo>
                  <a:lnTo>
                    <a:pt x="306" y="147"/>
                  </a:lnTo>
                  <a:lnTo>
                    <a:pt x="306" y="147"/>
                  </a:lnTo>
                  <a:close/>
                  <a:moveTo>
                    <a:pt x="152" y="147"/>
                  </a:moveTo>
                  <a:lnTo>
                    <a:pt x="151" y="147"/>
                  </a:lnTo>
                  <a:lnTo>
                    <a:pt x="152" y="147"/>
                  </a:lnTo>
                  <a:close/>
                  <a:moveTo>
                    <a:pt x="189" y="146"/>
                  </a:moveTo>
                  <a:lnTo>
                    <a:pt x="188" y="146"/>
                  </a:lnTo>
                  <a:lnTo>
                    <a:pt x="189" y="146"/>
                  </a:lnTo>
                  <a:close/>
                  <a:moveTo>
                    <a:pt x="295" y="146"/>
                  </a:moveTo>
                  <a:lnTo>
                    <a:pt x="295" y="145"/>
                  </a:lnTo>
                  <a:lnTo>
                    <a:pt x="295" y="146"/>
                  </a:lnTo>
                  <a:close/>
                  <a:moveTo>
                    <a:pt x="174" y="146"/>
                  </a:moveTo>
                  <a:lnTo>
                    <a:pt x="174" y="145"/>
                  </a:lnTo>
                  <a:lnTo>
                    <a:pt x="174" y="146"/>
                  </a:lnTo>
                  <a:close/>
                  <a:moveTo>
                    <a:pt x="283" y="145"/>
                  </a:moveTo>
                  <a:lnTo>
                    <a:pt x="283" y="145"/>
                  </a:lnTo>
                  <a:lnTo>
                    <a:pt x="283" y="145"/>
                  </a:lnTo>
                  <a:close/>
                  <a:moveTo>
                    <a:pt x="190" y="145"/>
                  </a:moveTo>
                  <a:lnTo>
                    <a:pt x="190" y="145"/>
                  </a:lnTo>
                  <a:lnTo>
                    <a:pt x="190" y="145"/>
                  </a:lnTo>
                  <a:close/>
                  <a:moveTo>
                    <a:pt x="191" y="145"/>
                  </a:moveTo>
                  <a:lnTo>
                    <a:pt x="191" y="145"/>
                  </a:lnTo>
                  <a:lnTo>
                    <a:pt x="191" y="145"/>
                  </a:lnTo>
                  <a:close/>
                  <a:moveTo>
                    <a:pt x="286" y="144"/>
                  </a:moveTo>
                  <a:lnTo>
                    <a:pt x="286" y="144"/>
                  </a:lnTo>
                  <a:lnTo>
                    <a:pt x="286" y="144"/>
                  </a:lnTo>
                  <a:close/>
                  <a:moveTo>
                    <a:pt x="320" y="144"/>
                  </a:moveTo>
                  <a:lnTo>
                    <a:pt x="320" y="143"/>
                  </a:lnTo>
                  <a:lnTo>
                    <a:pt x="320" y="144"/>
                  </a:lnTo>
                  <a:close/>
                  <a:moveTo>
                    <a:pt x="136" y="143"/>
                  </a:moveTo>
                  <a:lnTo>
                    <a:pt x="136" y="144"/>
                  </a:lnTo>
                  <a:lnTo>
                    <a:pt x="136" y="143"/>
                  </a:lnTo>
                  <a:close/>
                  <a:moveTo>
                    <a:pt x="112" y="143"/>
                  </a:moveTo>
                  <a:lnTo>
                    <a:pt x="111" y="143"/>
                  </a:lnTo>
                  <a:lnTo>
                    <a:pt x="112" y="143"/>
                  </a:lnTo>
                  <a:close/>
                  <a:moveTo>
                    <a:pt x="293" y="143"/>
                  </a:moveTo>
                  <a:lnTo>
                    <a:pt x="292" y="143"/>
                  </a:lnTo>
                  <a:lnTo>
                    <a:pt x="293" y="143"/>
                  </a:lnTo>
                  <a:close/>
                  <a:moveTo>
                    <a:pt x="135" y="143"/>
                  </a:moveTo>
                  <a:lnTo>
                    <a:pt x="134" y="143"/>
                  </a:lnTo>
                  <a:lnTo>
                    <a:pt x="135" y="143"/>
                  </a:lnTo>
                  <a:close/>
                  <a:moveTo>
                    <a:pt x="188" y="143"/>
                  </a:moveTo>
                  <a:lnTo>
                    <a:pt x="188" y="142"/>
                  </a:lnTo>
                  <a:lnTo>
                    <a:pt x="188" y="143"/>
                  </a:lnTo>
                  <a:close/>
                  <a:moveTo>
                    <a:pt x="177" y="142"/>
                  </a:moveTo>
                  <a:lnTo>
                    <a:pt x="177" y="143"/>
                  </a:lnTo>
                  <a:lnTo>
                    <a:pt x="177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34" y="142"/>
                  </a:moveTo>
                  <a:lnTo>
                    <a:pt x="134" y="143"/>
                  </a:lnTo>
                  <a:lnTo>
                    <a:pt x="134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1"/>
                  </a:moveTo>
                  <a:lnTo>
                    <a:pt x="111" y="142"/>
                  </a:lnTo>
                  <a:lnTo>
                    <a:pt x="111" y="141"/>
                  </a:lnTo>
                  <a:close/>
                  <a:moveTo>
                    <a:pt x="187" y="142"/>
                  </a:moveTo>
                  <a:lnTo>
                    <a:pt x="187" y="142"/>
                  </a:lnTo>
                  <a:lnTo>
                    <a:pt x="187" y="141"/>
                  </a:lnTo>
                  <a:lnTo>
                    <a:pt x="187" y="142"/>
                  </a:lnTo>
                  <a:close/>
                  <a:moveTo>
                    <a:pt x="319" y="141"/>
                  </a:moveTo>
                  <a:lnTo>
                    <a:pt x="319" y="142"/>
                  </a:lnTo>
                  <a:lnTo>
                    <a:pt x="319" y="141"/>
                  </a:lnTo>
                  <a:close/>
                  <a:moveTo>
                    <a:pt x="110" y="141"/>
                  </a:moveTo>
                  <a:lnTo>
                    <a:pt x="109" y="141"/>
                  </a:lnTo>
                  <a:lnTo>
                    <a:pt x="110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319" y="141"/>
                  </a:moveTo>
                  <a:lnTo>
                    <a:pt x="319" y="141"/>
                  </a:lnTo>
                  <a:lnTo>
                    <a:pt x="319" y="141"/>
                  </a:lnTo>
                  <a:close/>
                  <a:moveTo>
                    <a:pt x="108" y="141"/>
                  </a:moveTo>
                  <a:lnTo>
                    <a:pt x="107" y="141"/>
                  </a:lnTo>
                  <a:lnTo>
                    <a:pt x="108" y="141"/>
                  </a:lnTo>
                  <a:close/>
                  <a:moveTo>
                    <a:pt x="109" y="141"/>
                  </a:moveTo>
                  <a:lnTo>
                    <a:pt x="108" y="141"/>
                  </a:lnTo>
                  <a:lnTo>
                    <a:pt x="109" y="141"/>
                  </a:lnTo>
                  <a:close/>
                  <a:moveTo>
                    <a:pt x="122" y="141"/>
                  </a:moveTo>
                  <a:lnTo>
                    <a:pt x="122" y="141"/>
                  </a:lnTo>
                  <a:lnTo>
                    <a:pt x="122" y="141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09" y="140"/>
                  </a:moveTo>
                  <a:lnTo>
                    <a:pt x="109" y="141"/>
                  </a:lnTo>
                  <a:lnTo>
                    <a:pt x="109" y="140"/>
                  </a:lnTo>
                  <a:close/>
                  <a:moveTo>
                    <a:pt x="109" y="140"/>
                  </a:moveTo>
                  <a:lnTo>
                    <a:pt x="109" y="140"/>
                  </a:lnTo>
                  <a:lnTo>
                    <a:pt x="109" y="140"/>
                  </a:lnTo>
                  <a:close/>
                  <a:moveTo>
                    <a:pt x="315" y="140"/>
                  </a:moveTo>
                  <a:lnTo>
                    <a:pt x="315" y="140"/>
                  </a:lnTo>
                  <a:lnTo>
                    <a:pt x="315" y="140"/>
                  </a:lnTo>
                  <a:close/>
                  <a:moveTo>
                    <a:pt x="261" y="140"/>
                  </a:moveTo>
                  <a:lnTo>
                    <a:pt x="261" y="140"/>
                  </a:lnTo>
                  <a:lnTo>
                    <a:pt x="261" y="140"/>
                  </a:lnTo>
                  <a:close/>
                  <a:moveTo>
                    <a:pt x="104" y="140"/>
                  </a:moveTo>
                  <a:lnTo>
                    <a:pt x="104" y="140"/>
                  </a:lnTo>
                  <a:lnTo>
                    <a:pt x="104" y="140"/>
                  </a:lnTo>
                  <a:close/>
                  <a:moveTo>
                    <a:pt x="104" y="140"/>
                  </a:moveTo>
                  <a:lnTo>
                    <a:pt x="104" y="139"/>
                  </a:lnTo>
                  <a:lnTo>
                    <a:pt x="104" y="140"/>
                  </a:lnTo>
                  <a:close/>
                  <a:moveTo>
                    <a:pt x="104" y="139"/>
                  </a:moveTo>
                  <a:lnTo>
                    <a:pt x="104" y="140"/>
                  </a:lnTo>
                  <a:lnTo>
                    <a:pt x="104" y="139"/>
                  </a:lnTo>
                  <a:lnTo>
                    <a:pt x="104" y="140"/>
                  </a:lnTo>
                  <a:lnTo>
                    <a:pt x="104" y="139"/>
                  </a:lnTo>
                  <a:close/>
                  <a:moveTo>
                    <a:pt x="104" y="139"/>
                  </a:moveTo>
                  <a:lnTo>
                    <a:pt x="104" y="139"/>
                  </a:lnTo>
                  <a:lnTo>
                    <a:pt x="104" y="139"/>
                  </a:lnTo>
                  <a:close/>
                  <a:moveTo>
                    <a:pt x="343" y="139"/>
                  </a:moveTo>
                  <a:lnTo>
                    <a:pt x="342" y="139"/>
                  </a:lnTo>
                  <a:lnTo>
                    <a:pt x="343" y="139"/>
                  </a:lnTo>
                  <a:close/>
                  <a:moveTo>
                    <a:pt x="117" y="138"/>
                  </a:moveTo>
                  <a:lnTo>
                    <a:pt x="117" y="139"/>
                  </a:lnTo>
                  <a:lnTo>
                    <a:pt x="116" y="138"/>
                  </a:lnTo>
                  <a:lnTo>
                    <a:pt x="117" y="138"/>
                  </a:lnTo>
                  <a:close/>
                  <a:moveTo>
                    <a:pt x="107" y="138"/>
                  </a:moveTo>
                  <a:lnTo>
                    <a:pt x="107" y="139"/>
                  </a:lnTo>
                  <a:lnTo>
                    <a:pt x="107" y="138"/>
                  </a:lnTo>
                  <a:close/>
                  <a:moveTo>
                    <a:pt x="261" y="138"/>
                  </a:moveTo>
                  <a:lnTo>
                    <a:pt x="261" y="138"/>
                  </a:lnTo>
                  <a:lnTo>
                    <a:pt x="261" y="138"/>
                  </a:lnTo>
                  <a:close/>
                  <a:moveTo>
                    <a:pt x="115" y="138"/>
                  </a:moveTo>
                  <a:lnTo>
                    <a:pt x="114" y="138"/>
                  </a:lnTo>
                  <a:lnTo>
                    <a:pt x="115" y="138"/>
                  </a:lnTo>
                  <a:close/>
                  <a:moveTo>
                    <a:pt x="114" y="138"/>
                  </a:moveTo>
                  <a:lnTo>
                    <a:pt x="114" y="138"/>
                  </a:lnTo>
                  <a:lnTo>
                    <a:pt x="114" y="138"/>
                  </a:lnTo>
                  <a:close/>
                  <a:moveTo>
                    <a:pt x="196" y="138"/>
                  </a:moveTo>
                  <a:lnTo>
                    <a:pt x="195" y="138"/>
                  </a:lnTo>
                  <a:lnTo>
                    <a:pt x="196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1" y="138"/>
                  </a:lnTo>
                  <a:lnTo>
                    <a:pt x="112" y="138"/>
                  </a:lnTo>
                  <a:close/>
                  <a:moveTo>
                    <a:pt x="109" y="138"/>
                  </a:moveTo>
                  <a:lnTo>
                    <a:pt x="109" y="137"/>
                  </a:lnTo>
                  <a:lnTo>
                    <a:pt x="109" y="138"/>
                  </a:lnTo>
                  <a:close/>
                  <a:moveTo>
                    <a:pt x="104" y="137"/>
                  </a:moveTo>
                  <a:lnTo>
                    <a:pt x="104" y="138"/>
                  </a:lnTo>
                  <a:lnTo>
                    <a:pt x="104" y="137"/>
                  </a:lnTo>
                  <a:close/>
                  <a:moveTo>
                    <a:pt x="260" y="137"/>
                  </a:moveTo>
                  <a:lnTo>
                    <a:pt x="260" y="138"/>
                  </a:lnTo>
                  <a:lnTo>
                    <a:pt x="260" y="137"/>
                  </a:lnTo>
                  <a:close/>
                  <a:moveTo>
                    <a:pt x="111" y="137"/>
                  </a:moveTo>
                  <a:lnTo>
                    <a:pt x="111" y="138"/>
                  </a:lnTo>
                  <a:lnTo>
                    <a:pt x="111" y="137"/>
                  </a:lnTo>
                  <a:close/>
                  <a:moveTo>
                    <a:pt x="112" y="137"/>
                  </a:moveTo>
                  <a:lnTo>
                    <a:pt x="111" y="137"/>
                  </a:lnTo>
                  <a:lnTo>
                    <a:pt x="112" y="137"/>
                  </a:lnTo>
                  <a:close/>
                  <a:moveTo>
                    <a:pt x="170" y="137"/>
                  </a:moveTo>
                  <a:lnTo>
                    <a:pt x="170" y="137"/>
                  </a:lnTo>
                  <a:lnTo>
                    <a:pt x="170" y="137"/>
                  </a:lnTo>
                  <a:close/>
                  <a:moveTo>
                    <a:pt x="213" y="137"/>
                  </a:moveTo>
                  <a:lnTo>
                    <a:pt x="212" y="137"/>
                  </a:lnTo>
                  <a:lnTo>
                    <a:pt x="213" y="137"/>
                  </a:lnTo>
                  <a:close/>
                  <a:moveTo>
                    <a:pt x="105" y="137"/>
                  </a:moveTo>
                  <a:lnTo>
                    <a:pt x="105" y="137"/>
                  </a:lnTo>
                  <a:lnTo>
                    <a:pt x="105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261" y="137"/>
                  </a:moveTo>
                  <a:lnTo>
                    <a:pt x="261" y="137"/>
                  </a:lnTo>
                  <a:lnTo>
                    <a:pt x="261" y="137"/>
                  </a:lnTo>
                  <a:close/>
                  <a:moveTo>
                    <a:pt x="110" y="137"/>
                  </a:moveTo>
                  <a:lnTo>
                    <a:pt x="110" y="136"/>
                  </a:lnTo>
                  <a:lnTo>
                    <a:pt x="110" y="137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223" y="136"/>
                  </a:moveTo>
                  <a:lnTo>
                    <a:pt x="223" y="136"/>
                  </a:lnTo>
                  <a:lnTo>
                    <a:pt x="22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218" y="136"/>
                  </a:moveTo>
                  <a:lnTo>
                    <a:pt x="217" y="136"/>
                  </a:lnTo>
                  <a:lnTo>
                    <a:pt x="218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1" y="136"/>
                  </a:moveTo>
                  <a:lnTo>
                    <a:pt x="101" y="136"/>
                  </a:lnTo>
                  <a:lnTo>
                    <a:pt x="101" y="136"/>
                  </a:lnTo>
                  <a:close/>
                  <a:moveTo>
                    <a:pt x="197" y="135"/>
                  </a:moveTo>
                  <a:lnTo>
                    <a:pt x="197" y="135"/>
                  </a:lnTo>
                  <a:lnTo>
                    <a:pt x="197" y="135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4" y="133"/>
                  </a:moveTo>
                  <a:lnTo>
                    <a:pt x="104" y="134"/>
                  </a:lnTo>
                  <a:lnTo>
                    <a:pt x="104" y="133"/>
                  </a:lnTo>
                  <a:close/>
                  <a:moveTo>
                    <a:pt x="102" y="133"/>
                  </a:moveTo>
                  <a:lnTo>
                    <a:pt x="103" y="133"/>
                  </a:lnTo>
                  <a:lnTo>
                    <a:pt x="103" y="134"/>
                  </a:lnTo>
                  <a:lnTo>
                    <a:pt x="103" y="133"/>
                  </a:lnTo>
                  <a:lnTo>
                    <a:pt x="102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2" y="133"/>
                  </a:moveTo>
                  <a:lnTo>
                    <a:pt x="262" y="133"/>
                  </a:lnTo>
                  <a:lnTo>
                    <a:pt x="262" y="133"/>
                  </a:lnTo>
                  <a:close/>
                  <a:moveTo>
                    <a:pt x="100" y="133"/>
                  </a:moveTo>
                  <a:lnTo>
                    <a:pt x="100" y="133"/>
                  </a:lnTo>
                  <a:lnTo>
                    <a:pt x="100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100" y="133"/>
                  </a:moveTo>
                  <a:lnTo>
                    <a:pt x="99" y="133"/>
                  </a:lnTo>
                  <a:lnTo>
                    <a:pt x="100" y="133"/>
                  </a:lnTo>
                  <a:close/>
                  <a:moveTo>
                    <a:pt x="103" y="133"/>
                  </a:moveTo>
                  <a:lnTo>
                    <a:pt x="103" y="133"/>
                  </a:lnTo>
                  <a:lnTo>
                    <a:pt x="103" y="133"/>
                  </a:lnTo>
                  <a:close/>
                  <a:moveTo>
                    <a:pt x="101" y="133"/>
                  </a:moveTo>
                  <a:lnTo>
                    <a:pt x="100" y="133"/>
                  </a:lnTo>
                  <a:lnTo>
                    <a:pt x="101" y="133"/>
                  </a:lnTo>
                  <a:close/>
                  <a:moveTo>
                    <a:pt x="103" y="133"/>
                  </a:moveTo>
                  <a:lnTo>
                    <a:pt x="103" y="132"/>
                  </a:lnTo>
                  <a:lnTo>
                    <a:pt x="103" y="133"/>
                  </a:lnTo>
                  <a:close/>
                  <a:moveTo>
                    <a:pt x="258" y="132"/>
                  </a:moveTo>
                  <a:lnTo>
                    <a:pt x="258" y="132"/>
                  </a:lnTo>
                  <a:lnTo>
                    <a:pt x="258" y="132"/>
                  </a:lnTo>
                  <a:close/>
                  <a:moveTo>
                    <a:pt x="103" y="132"/>
                  </a:moveTo>
                  <a:lnTo>
                    <a:pt x="102" y="132"/>
                  </a:lnTo>
                  <a:lnTo>
                    <a:pt x="103" y="132"/>
                  </a:lnTo>
                  <a:close/>
                  <a:moveTo>
                    <a:pt x="100" y="132"/>
                  </a:moveTo>
                  <a:lnTo>
                    <a:pt x="100" y="132"/>
                  </a:lnTo>
                  <a:lnTo>
                    <a:pt x="100" y="132"/>
                  </a:lnTo>
                  <a:close/>
                  <a:moveTo>
                    <a:pt x="223" y="131"/>
                  </a:moveTo>
                  <a:lnTo>
                    <a:pt x="224" y="131"/>
                  </a:lnTo>
                  <a:lnTo>
                    <a:pt x="223" y="131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6" y="130"/>
                  </a:moveTo>
                  <a:lnTo>
                    <a:pt x="255" y="130"/>
                  </a:lnTo>
                  <a:lnTo>
                    <a:pt x="256" y="130"/>
                  </a:lnTo>
                  <a:close/>
                  <a:moveTo>
                    <a:pt x="255" y="130"/>
                  </a:moveTo>
                  <a:lnTo>
                    <a:pt x="256" y="130"/>
                  </a:lnTo>
                  <a:lnTo>
                    <a:pt x="255" y="130"/>
                  </a:lnTo>
                  <a:close/>
                  <a:moveTo>
                    <a:pt x="254" y="130"/>
                  </a:moveTo>
                  <a:lnTo>
                    <a:pt x="255" y="130"/>
                  </a:lnTo>
                  <a:lnTo>
                    <a:pt x="254" y="130"/>
                  </a:lnTo>
                  <a:close/>
                  <a:moveTo>
                    <a:pt x="256" y="130"/>
                  </a:moveTo>
                  <a:lnTo>
                    <a:pt x="256" y="129"/>
                  </a:lnTo>
                  <a:lnTo>
                    <a:pt x="256" y="130"/>
                  </a:lnTo>
                  <a:close/>
                  <a:moveTo>
                    <a:pt x="256" y="129"/>
                  </a:moveTo>
                  <a:lnTo>
                    <a:pt x="256" y="129"/>
                  </a:lnTo>
                  <a:lnTo>
                    <a:pt x="256" y="129"/>
                  </a:lnTo>
                  <a:close/>
                  <a:moveTo>
                    <a:pt x="255" y="129"/>
                  </a:moveTo>
                  <a:lnTo>
                    <a:pt x="254" y="129"/>
                  </a:lnTo>
                  <a:lnTo>
                    <a:pt x="255" y="129"/>
                  </a:lnTo>
                  <a:close/>
                  <a:moveTo>
                    <a:pt x="256" y="128"/>
                  </a:moveTo>
                  <a:lnTo>
                    <a:pt x="255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7" y="126"/>
                  </a:moveTo>
                  <a:lnTo>
                    <a:pt x="258" y="126"/>
                  </a:lnTo>
                  <a:lnTo>
                    <a:pt x="257" y="126"/>
                  </a:lnTo>
                  <a:close/>
                  <a:moveTo>
                    <a:pt x="258" y="126"/>
                  </a:moveTo>
                  <a:lnTo>
                    <a:pt x="257" y="126"/>
                  </a:lnTo>
                  <a:lnTo>
                    <a:pt x="258" y="126"/>
                  </a:lnTo>
                  <a:close/>
                  <a:moveTo>
                    <a:pt x="264" y="125"/>
                  </a:moveTo>
                  <a:lnTo>
                    <a:pt x="264" y="125"/>
                  </a:lnTo>
                  <a:lnTo>
                    <a:pt x="264" y="125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09" y="123"/>
                  </a:moveTo>
                  <a:lnTo>
                    <a:pt x="209" y="122"/>
                  </a:lnTo>
                  <a:lnTo>
                    <a:pt x="209" y="123"/>
                  </a:lnTo>
                  <a:close/>
                  <a:moveTo>
                    <a:pt x="268" y="122"/>
                  </a:moveTo>
                  <a:lnTo>
                    <a:pt x="268" y="123"/>
                  </a:lnTo>
                  <a:lnTo>
                    <a:pt x="268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96" y="121"/>
                  </a:moveTo>
                  <a:lnTo>
                    <a:pt x="195" y="121"/>
                  </a:lnTo>
                  <a:lnTo>
                    <a:pt x="196" y="121"/>
                  </a:lnTo>
                  <a:close/>
                  <a:moveTo>
                    <a:pt x="268" y="121"/>
                  </a:moveTo>
                  <a:lnTo>
                    <a:pt x="267" y="121"/>
                  </a:lnTo>
                  <a:lnTo>
                    <a:pt x="268" y="121"/>
                  </a:lnTo>
                  <a:close/>
                  <a:moveTo>
                    <a:pt x="264" y="121"/>
                  </a:moveTo>
                  <a:lnTo>
                    <a:pt x="264" y="120"/>
                  </a:lnTo>
                  <a:lnTo>
                    <a:pt x="264" y="121"/>
                  </a:lnTo>
                  <a:close/>
                  <a:moveTo>
                    <a:pt x="263" y="121"/>
                  </a:moveTo>
                  <a:lnTo>
                    <a:pt x="263" y="120"/>
                  </a:lnTo>
                  <a:lnTo>
                    <a:pt x="263" y="121"/>
                  </a:lnTo>
                  <a:close/>
                  <a:moveTo>
                    <a:pt x="163" y="120"/>
                  </a:moveTo>
                  <a:lnTo>
                    <a:pt x="163" y="120"/>
                  </a:lnTo>
                  <a:lnTo>
                    <a:pt x="163" y="120"/>
                  </a:lnTo>
                  <a:close/>
                  <a:moveTo>
                    <a:pt x="194" y="120"/>
                  </a:moveTo>
                  <a:lnTo>
                    <a:pt x="194" y="120"/>
                  </a:lnTo>
                  <a:lnTo>
                    <a:pt x="194" y="120"/>
                  </a:lnTo>
                  <a:close/>
                  <a:moveTo>
                    <a:pt x="195" y="119"/>
                  </a:moveTo>
                  <a:lnTo>
                    <a:pt x="194" y="119"/>
                  </a:lnTo>
                  <a:lnTo>
                    <a:pt x="195" y="119"/>
                  </a:lnTo>
                  <a:close/>
                  <a:moveTo>
                    <a:pt x="195" y="119"/>
                  </a:moveTo>
                  <a:lnTo>
                    <a:pt x="195" y="119"/>
                  </a:lnTo>
                  <a:lnTo>
                    <a:pt x="195" y="119"/>
                  </a:lnTo>
                  <a:close/>
                  <a:moveTo>
                    <a:pt x="159" y="119"/>
                  </a:moveTo>
                  <a:lnTo>
                    <a:pt x="158" y="119"/>
                  </a:lnTo>
                  <a:lnTo>
                    <a:pt x="159" y="119"/>
                  </a:lnTo>
                  <a:close/>
                  <a:moveTo>
                    <a:pt x="299" y="118"/>
                  </a:moveTo>
                  <a:lnTo>
                    <a:pt x="299" y="119"/>
                  </a:lnTo>
                  <a:lnTo>
                    <a:pt x="299" y="118"/>
                  </a:lnTo>
                  <a:close/>
                  <a:moveTo>
                    <a:pt x="271" y="119"/>
                  </a:moveTo>
                  <a:lnTo>
                    <a:pt x="271" y="118"/>
                  </a:lnTo>
                  <a:lnTo>
                    <a:pt x="271" y="119"/>
                  </a:lnTo>
                  <a:close/>
                  <a:moveTo>
                    <a:pt x="157" y="118"/>
                  </a:moveTo>
                  <a:lnTo>
                    <a:pt x="156" y="118"/>
                  </a:lnTo>
                  <a:lnTo>
                    <a:pt x="157" y="118"/>
                  </a:lnTo>
                  <a:close/>
                  <a:moveTo>
                    <a:pt x="156" y="118"/>
                  </a:moveTo>
                  <a:lnTo>
                    <a:pt x="157" y="118"/>
                  </a:lnTo>
                  <a:lnTo>
                    <a:pt x="156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75" y="118"/>
                  </a:moveTo>
                  <a:lnTo>
                    <a:pt x="275" y="118"/>
                  </a:lnTo>
                  <a:lnTo>
                    <a:pt x="275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15" y="118"/>
                  </a:moveTo>
                  <a:lnTo>
                    <a:pt x="215" y="118"/>
                  </a:lnTo>
                  <a:lnTo>
                    <a:pt x="215" y="118"/>
                  </a:lnTo>
                  <a:close/>
                  <a:moveTo>
                    <a:pt x="215" y="117"/>
                  </a:moveTo>
                  <a:lnTo>
                    <a:pt x="215" y="118"/>
                  </a:lnTo>
                  <a:lnTo>
                    <a:pt x="215" y="117"/>
                  </a:lnTo>
                  <a:close/>
                  <a:moveTo>
                    <a:pt x="215" y="117"/>
                  </a:moveTo>
                  <a:lnTo>
                    <a:pt x="214" y="117"/>
                  </a:lnTo>
                  <a:lnTo>
                    <a:pt x="215" y="117"/>
                  </a:lnTo>
                  <a:close/>
                  <a:moveTo>
                    <a:pt x="212" y="117"/>
                  </a:moveTo>
                  <a:lnTo>
                    <a:pt x="212" y="117"/>
                  </a:lnTo>
                  <a:lnTo>
                    <a:pt x="212" y="117"/>
                  </a:lnTo>
                  <a:close/>
                  <a:moveTo>
                    <a:pt x="273" y="116"/>
                  </a:moveTo>
                  <a:lnTo>
                    <a:pt x="273" y="116"/>
                  </a:lnTo>
                  <a:lnTo>
                    <a:pt x="273" y="116"/>
                  </a:lnTo>
                  <a:close/>
                  <a:moveTo>
                    <a:pt x="269" y="116"/>
                  </a:moveTo>
                  <a:lnTo>
                    <a:pt x="269" y="116"/>
                  </a:lnTo>
                  <a:lnTo>
                    <a:pt x="269" y="116"/>
                  </a:lnTo>
                  <a:close/>
                  <a:moveTo>
                    <a:pt x="274" y="116"/>
                  </a:moveTo>
                  <a:lnTo>
                    <a:pt x="274" y="116"/>
                  </a:lnTo>
                  <a:lnTo>
                    <a:pt x="274" y="116"/>
                  </a:lnTo>
                  <a:close/>
                  <a:moveTo>
                    <a:pt x="268" y="116"/>
                  </a:moveTo>
                  <a:lnTo>
                    <a:pt x="268" y="116"/>
                  </a:lnTo>
                  <a:lnTo>
                    <a:pt x="268" y="116"/>
                  </a:lnTo>
                  <a:close/>
                  <a:moveTo>
                    <a:pt x="275" y="116"/>
                  </a:moveTo>
                  <a:lnTo>
                    <a:pt x="275" y="116"/>
                  </a:lnTo>
                  <a:lnTo>
                    <a:pt x="275" y="116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20" y="115"/>
                  </a:moveTo>
                  <a:lnTo>
                    <a:pt x="320" y="115"/>
                  </a:lnTo>
                  <a:lnTo>
                    <a:pt x="320" y="115"/>
                  </a:lnTo>
                  <a:close/>
                  <a:moveTo>
                    <a:pt x="320" y="114"/>
                  </a:moveTo>
                  <a:lnTo>
                    <a:pt x="320" y="115"/>
                  </a:lnTo>
                  <a:lnTo>
                    <a:pt x="320" y="114"/>
                  </a:lnTo>
                  <a:close/>
                  <a:moveTo>
                    <a:pt x="248" y="114"/>
                  </a:moveTo>
                  <a:lnTo>
                    <a:pt x="248" y="115"/>
                  </a:lnTo>
                  <a:lnTo>
                    <a:pt x="248" y="114"/>
                  </a:lnTo>
                  <a:close/>
                  <a:moveTo>
                    <a:pt x="297" y="114"/>
                  </a:moveTo>
                  <a:lnTo>
                    <a:pt x="296" y="114"/>
                  </a:lnTo>
                  <a:lnTo>
                    <a:pt x="297" y="114"/>
                  </a:lnTo>
                  <a:close/>
                  <a:moveTo>
                    <a:pt x="249" y="114"/>
                  </a:moveTo>
                  <a:lnTo>
                    <a:pt x="249" y="114"/>
                  </a:lnTo>
                  <a:lnTo>
                    <a:pt x="249" y="114"/>
                  </a:lnTo>
                  <a:close/>
                  <a:moveTo>
                    <a:pt x="321" y="114"/>
                  </a:moveTo>
                  <a:lnTo>
                    <a:pt x="321" y="114"/>
                  </a:lnTo>
                  <a:lnTo>
                    <a:pt x="321" y="114"/>
                  </a:lnTo>
                  <a:close/>
                  <a:moveTo>
                    <a:pt x="254" y="114"/>
                  </a:moveTo>
                  <a:lnTo>
                    <a:pt x="253" y="114"/>
                  </a:lnTo>
                  <a:lnTo>
                    <a:pt x="254" y="114"/>
                  </a:lnTo>
                  <a:close/>
                  <a:moveTo>
                    <a:pt x="254" y="113"/>
                  </a:moveTo>
                  <a:lnTo>
                    <a:pt x="253" y="113"/>
                  </a:lnTo>
                  <a:lnTo>
                    <a:pt x="254" y="113"/>
                  </a:lnTo>
                  <a:close/>
                  <a:moveTo>
                    <a:pt x="264" y="113"/>
                  </a:moveTo>
                  <a:lnTo>
                    <a:pt x="263" y="113"/>
                  </a:lnTo>
                  <a:lnTo>
                    <a:pt x="264" y="113"/>
                  </a:lnTo>
                  <a:close/>
                  <a:moveTo>
                    <a:pt x="254" y="113"/>
                  </a:moveTo>
                  <a:lnTo>
                    <a:pt x="254" y="112"/>
                  </a:lnTo>
                  <a:lnTo>
                    <a:pt x="254" y="113"/>
                  </a:lnTo>
                  <a:close/>
                  <a:moveTo>
                    <a:pt x="283" y="113"/>
                  </a:moveTo>
                  <a:lnTo>
                    <a:pt x="283" y="112"/>
                  </a:lnTo>
                  <a:lnTo>
                    <a:pt x="283" y="113"/>
                  </a:lnTo>
                  <a:close/>
                  <a:moveTo>
                    <a:pt x="283" y="112"/>
                  </a:moveTo>
                  <a:lnTo>
                    <a:pt x="283" y="113"/>
                  </a:lnTo>
                  <a:lnTo>
                    <a:pt x="283" y="112"/>
                  </a:lnTo>
                  <a:close/>
                  <a:moveTo>
                    <a:pt x="298" y="112"/>
                  </a:moveTo>
                  <a:lnTo>
                    <a:pt x="298" y="112"/>
                  </a:lnTo>
                  <a:lnTo>
                    <a:pt x="298" y="112"/>
                  </a:lnTo>
                  <a:lnTo>
                    <a:pt x="298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60" y="112"/>
                  </a:moveTo>
                  <a:lnTo>
                    <a:pt x="260" y="112"/>
                  </a:lnTo>
                  <a:lnTo>
                    <a:pt x="260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99" y="112"/>
                  </a:moveTo>
                  <a:lnTo>
                    <a:pt x="299" y="112"/>
                  </a:lnTo>
                  <a:lnTo>
                    <a:pt x="299" y="112"/>
                  </a:lnTo>
                  <a:close/>
                  <a:moveTo>
                    <a:pt x="261" y="112"/>
                  </a:moveTo>
                  <a:lnTo>
                    <a:pt x="261" y="112"/>
                  </a:lnTo>
                  <a:lnTo>
                    <a:pt x="261" y="112"/>
                  </a:lnTo>
                  <a:close/>
                  <a:moveTo>
                    <a:pt x="284" y="112"/>
                  </a:moveTo>
                  <a:lnTo>
                    <a:pt x="284" y="112"/>
                  </a:lnTo>
                  <a:lnTo>
                    <a:pt x="284" y="112"/>
                  </a:lnTo>
                  <a:close/>
                  <a:moveTo>
                    <a:pt x="301" y="112"/>
                  </a:moveTo>
                  <a:lnTo>
                    <a:pt x="300" y="112"/>
                  </a:lnTo>
                  <a:lnTo>
                    <a:pt x="301" y="112"/>
                  </a:lnTo>
                  <a:close/>
                  <a:moveTo>
                    <a:pt x="260" y="112"/>
                  </a:moveTo>
                  <a:lnTo>
                    <a:pt x="259" y="112"/>
                  </a:lnTo>
                  <a:lnTo>
                    <a:pt x="260" y="112"/>
                  </a:lnTo>
                  <a:lnTo>
                    <a:pt x="259" y="112"/>
                  </a:lnTo>
                  <a:lnTo>
                    <a:pt x="260" y="112"/>
                  </a:lnTo>
                  <a:close/>
                  <a:moveTo>
                    <a:pt x="261" y="112"/>
                  </a:moveTo>
                  <a:lnTo>
                    <a:pt x="260" y="112"/>
                  </a:lnTo>
                  <a:lnTo>
                    <a:pt x="261" y="112"/>
                  </a:lnTo>
                  <a:close/>
                  <a:moveTo>
                    <a:pt x="287" y="112"/>
                  </a:moveTo>
                  <a:lnTo>
                    <a:pt x="286" y="112"/>
                  </a:lnTo>
                  <a:lnTo>
                    <a:pt x="287" y="112"/>
                  </a:lnTo>
                  <a:close/>
                  <a:moveTo>
                    <a:pt x="301" y="111"/>
                  </a:moveTo>
                  <a:lnTo>
                    <a:pt x="301" y="112"/>
                  </a:lnTo>
                  <a:lnTo>
                    <a:pt x="301" y="111"/>
                  </a:lnTo>
                  <a:close/>
                  <a:moveTo>
                    <a:pt x="296" y="112"/>
                  </a:moveTo>
                  <a:lnTo>
                    <a:pt x="296" y="111"/>
                  </a:lnTo>
                  <a:lnTo>
                    <a:pt x="296" y="112"/>
                  </a:lnTo>
                  <a:close/>
                  <a:moveTo>
                    <a:pt x="301" y="112"/>
                  </a:moveTo>
                  <a:lnTo>
                    <a:pt x="301" y="111"/>
                  </a:lnTo>
                  <a:lnTo>
                    <a:pt x="301" y="112"/>
                  </a:lnTo>
                  <a:close/>
                  <a:moveTo>
                    <a:pt x="295" y="112"/>
                  </a:moveTo>
                  <a:lnTo>
                    <a:pt x="295" y="111"/>
                  </a:lnTo>
                  <a:lnTo>
                    <a:pt x="295" y="112"/>
                  </a:lnTo>
                  <a:close/>
                  <a:moveTo>
                    <a:pt x="315" y="111"/>
                  </a:moveTo>
                  <a:lnTo>
                    <a:pt x="315" y="112"/>
                  </a:lnTo>
                  <a:lnTo>
                    <a:pt x="315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4" y="111"/>
                  </a:moveTo>
                  <a:lnTo>
                    <a:pt x="294" y="111"/>
                  </a:lnTo>
                  <a:lnTo>
                    <a:pt x="294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2" y="111"/>
                  </a:moveTo>
                  <a:lnTo>
                    <a:pt x="291" y="111"/>
                  </a:lnTo>
                  <a:lnTo>
                    <a:pt x="292" y="111"/>
                  </a:lnTo>
                  <a:close/>
                  <a:moveTo>
                    <a:pt x="313" y="111"/>
                  </a:moveTo>
                  <a:lnTo>
                    <a:pt x="313" y="111"/>
                  </a:lnTo>
                  <a:lnTo>
                    <a:pt x="313" y="111"/>
                  </a:lnTo>
                  <a:close/>
                  <a:moveTo>
                    <a:pt x="260" y="111"/>
                  </a:moveTo>
                  <a:lnTo>
                    <a:pt x="259" y="111"/>
                  </a:lnTo>
                  <a:lnTo>
                    <a:pt x="260" y="111"/>
                  </a:lnTo>
                  <a:close/>
                  <a:moveTo>
                    <a:pt x="295" y="111"/>
                  </a:moveTo>
                  <a:lnTo>
                    <a:pt x="296" y="111"/>
                  </a:lnTo>
                  <a:lnTo>
                    <a:pt x="295" y="111"/>
                  </a:lnTo>
                  <a:close/>
                  <a:moveTo>
                    <a:pt x="144" y="111"/>
                  </a:moveTo>
                  <a:lnTo>
                    <a:pt x="144" y="111"/>
                  </a:lnTo>
                  <a:lnTo>
                    <a:pt x="144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0"/>
                  </a:moveTo>
                  <a:lnTo>
                    <a:pt x="315" y="111"/>
                  </a:lnTo>
                  <a:lnTo>
                    <a:pt x="315" y="110"/>
                  </a:lnTo>
                  <a:close/>
                  <a:moveTo>
                    <a:pt x="144" y="110"/>
                  </a:moveTo>
                  <a:lnTo>
                    <a:pt x="143" y="110"/>
                  </a:lnTo>
                  <a:lnTo>
                    <a:pt x="144" y="110"/>
                  </a:lnTo>
                  <a:close/>
                  <a:moveTo>
                    <a:pt x="316" y="110"/>
                  </a:moveTo>
                  <a:lnTo>
                    <a:pt x="315" y="110"/>
                  </a:lnTo>
                  <a:lnTo>
                    <a:pt x="316" y="110"/>
                  </a:lnTo>
                  <a:close/>
                  <a:moveTo>
                    <a:pt x="234" y="109"/>
                  </a:moveTo>
                  <a:lnTo>
                    <a:pt x="234" y="110"/>
                  </a:lnTo>
                  <a:lnTo>
                    <a:pt x="234" y="109"/>
                  </a:lnTo>
                  <a:close/>
                  <a:moveTo>
                    <a:pt x="267" y="110"/>
                  </a:moveTo>
                  <a:lnTo>
                    <a:pt x="267" y="109"/>
                  </a:lnTo>
                  <a:lnTo>
                    <a:pt x="267" y="110"/>
                  </a:lnTo>
                  <a:close/>
                  <a:moveTo>
                    <a:pt x="266" y="109"/>
                  </a:moveTo>
                  <a:lnTo>
                    <a:pt x="266" y="110"/>
                  </a:lnTo>
                  <a:lnTo>
                    <a:pt x="266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141" y="109"/>
                  </a:moveTo>
                  <a:lnTo>
                    <a:pt x="141" y="109"/>
                  </a:lnTo>
                  <a:lnTo>
                    <a:pt x="141" y="109"/>
                  </a:lnTo>
                  <a:close/>
                  <a:moveTo>
                    <a:pt x="267" y="109"/>
                  </a:moveTo>
                  <a:lnTo>
                    <a:pt x="267" y="109"/>
                  </a:lnTo>
                  <a:lnTo>
                    <a:pt x="267" y="109"/>
                  </a:lnTo>
                  <a:close/>
                  <a:moveTo>
                    <a:pt x="292" y="108"/>
                  </a:moveTo>
                  <a:lnTo>
                    <a:pt x="292" y="109"/>
                  </a:lnTo>
                  <a:lnTo>
                    <a:pt x="292" y="108"/>
                  </a:lnTo>
                  <a:close/>
                  <a:moveTo>
                    <a:pt x="228" y="109"/>
                  </a:moveTo>
                  <a:lnTo>
                    <a:pt x="228" y="108"/>
                  </a:lnTo>
                  <a:lnTo>
                    <a:pt x="228" y="109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332" y="108"/>
                  </a:moveTo>
                  <a:lnTo>
                    <a:pt x="331" y="108"/>
                  </a:lnTo>
                  <a:lnTo>
                    <a:pt x="332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228" y="108"/>
                  </a:moveTo>
                  <a:lnTo>
                    <a:pt x="227" y="108"/>
                  </a:lnTo>
                  <a:lnTo>
                    <a:pt x="228" y="108"/>
                  </a:lnTo>
                  <a:close/>
                  <a:moveTo>
                    <a:pt x="274" y="108"/>
                  </a:moveTo>
                  <a:lnTo>
                    <a:pt x="273" y="108"/>
                  </a:lnTo>
                  <a:lnTo>
                    <a:pt x="274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3" y="108"/>
                  </a:moveTo>
                  <a:lnTo>
                    <a:pt x="273" y="108"/>
                  </a:lnTo>
                  <a:lnTo>
                    <a:pt x="273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276" y="108"/>
                  </a:moveTo>
                  <a:lnTo>
                    <a:pt x="275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318" y="107"/>
                  </a:moveTo>
                  <a:lnTo>
                    <a:pt x="318" y="108"/>
                  </a:lnTo>
                  <a:lnTo>
                    <a:pt x="318" y="107"/>
                  </a:lnTo>
                  <a:close/>
                  <a:moveTo>
                    <a:pt x="320" y="107"/>
                  </a:moveTo>
                  <a:lnTo>
                    <a:pt x="320" y="108"/>
                  </a:lnTo>
                  <a:lnTo>
                    <a:pt x="320" y="107"/>
                  </a:lnTo>
                  <a:close/>
                  <a:moveTo>
                    <a:pt x="272" y="107"/>
                  </a:moveTo>
                  <a:lnTo>
                    <a:pt x="272" y="107"/>
                  </a:lnTo>
                  <a:lnTo>
                    <a:pt x="272" y="107"/>
                  </a:lnTo>
                  <a:close/>
                  <a:moveTo>
                    <a:pt x="320" y="107"/>
                  </a:moveTo>
                  <a:lnTo>
                    <a:pt x="319" y="107"/>
                  </a:lnTo>
                  <a:lnTo>
                    <a:pt x="320" y="107"/>
                  </a:lnTo>
                  <a:close/>
                  <a:moveTo>
                    <a:pt x="317" y="107"/>
                  </a:moveTo>
                  <a:lnTo>
                    <a:pt x="316" y="107"/>
                  </a:lnTo>
                  <a:lnTo>
                    <a:pt x="317" y="107"/>
                  </a:lnTo>
                  <a:close/>
                  <a:moveTo>
                    <a:pt x="331" y="107"/>
                  </a:moveTo>
                  <a:lnTo>
                    <a:pt x="330" y="107"/>
                  </a:lnTo>
                  <a:lnTo>
                    <a:pt x="331" y="107"/>
                  </a:lnTo>
                  <a:close/>
                  <a:moveTo>
                    <a:pt x="317" y="107"/>
                  </a:moveTo>
                  <a:lnTo>
                    <a:pt x="317" y="107"/>
                  </a:lnTo>
                  <a:lnTo>
                    <a:pt x="317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9" y="107"/>
                  </a:moveTo>
                  <a:lnTo>
                    <a:pt x="319" y="107"/>
                  </a:lnTo>
                  <a:lnTo>
                    <a:pt x="319" y="107"/>
                  </a:lnTo>
                  <a:close/>
                  <a:moveTo>
                    <a:pt x="239" y="107"/>
                  </a:moveTo>
                  <a:lnTo>
                    <a:pt x="239" y="107"/>
                  </a:lnTo>
                  <a:lnTo>
                    <a:pt x="239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136" y="107"/>
                  </a:moveTo>
                  <a:lnTo>
                    <a:pt x="135" y="107"/>
                  </a:lnTo>
                  <a:lnTo>
                    <a:pt x="136" y="107"/>
                  </a:lnTo>
                  <a:close/>
                  <a:moveTo>
                    <a:pt x="240" y="107"/>
                  </a:moveTo>
                  <a:lnTo>
                    <a:pt x="239" y="107"/>
                  </a:lnTo>
                  <a:lnTo>
                    <a:pt x="240" y="107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135" y="106"/>
                  </a:moveTo>
                  <a:lnTo>
                    <a:pt x="135" y="107"/>
                  </a:lnTo>
                  <a:lnTo>
                    <a:pt x="135" y="106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241" y="107"/>
                  </a:moveTo>
                  <a:lnTo>
                    <a:pt x="241" y="106"/>
                  </a:lnTo>
                  <a:lnTo>
                    <a:pt x="241" y="107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4" y="106"/>
                  </a:moveTo>
                  <a:lnTo>
                    <a:pt x="243" y="106"/>
                  </a:lnTo>
                  <a:lnTo>
                    <a:pt x="244" y="106"/>
                  </a:lnTo>
                  <a:close/>
                  <a:moveTo>
                    <a:pt x="278" y="106"/>
                  </a:moveTo>
                  <a:lnTo>
                    <a:pt x="278" y="106"/>
                  </a:lnTo>
                  <a:lnTo>
                    <a:pt x="278" y="106"/>
                  </a:lnTo>
                  <a:close/>
                  <a:moveTo>
                    <a:pt x="241" y="106"/>
                  </a:moveTo>
                  <a:lnTo>
                    <a:pt x="241" y="105"/>
                  </a:lnTo>
                  <a:lnTo>
                    <a:pt x="241" y="106"/>
                  </a:lnTo>
                  <a:close/>
                  <a:moveTo>
                    <a:pt x="242" y="105"/>
                  </a:moveTo>
                  <a:lnTo>
                    <a:pt x="242" y="106"/>
                  </a:lnTo>
                  <a:lnTo>
                    <a:pt x="242" y="105"/>
                  </a:lnTo>
                  <a:close/>
                  <a:moveTo>
                    <a:pt x="245" y="106"/>
                  </a:moveTo>
                  <a:lnTo>
                    <a:pt x="245" y="105"/>
                  </a:lnTo>
                  <a:lnTo>
                    <a:pt x="245" y="106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5" y="105"/>
                  </a:moveTo>
                  <a:lnTo>
                    <a:pt x="245" y="106"/>
                  </a:lnTo>
                  <a:lnTo>
                    <a:pt x="245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4" y="105"/>
                  </a:moveTo>
                  <a:lnTo>
                    <a:pt x="243" y="105"/>
                  </a:lnTo>
                  <a:lnTo>
                    <a:pt x="244" y="105"/>
                  </a:lnTo>
                  <a:close/>
                  <a:moveTo>
                    <a:pt x="330" y="105"/>
                  </a:moveTo>
                  <a:lnTo>
                    <a:pt x="330" y="105"/>
                  </a:lnTo>
                  <a:lnTo>
                    <a:pt x="330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132" y="105"/>
                  </a:moveTo>
                  <a:lnTo>
                    <a:pt x="132" y="104"/>
                  </a:lnTo>
                  <a:lnTo>
                    <a:pt x="132" y="105"/>
                  </a:lnTo>
                  <a:close/>
                  <a:moveTo>
                    <a:pt x="358" y="104"/>
                  </a:moveTo>
                  <a:lnTo>
                    <a:pt x="358" y="105"/>
                  </a:lnTo>
                  <a:lnTo>
                    <a:pt x="358" y="104"/>
                  </a:lnTo>
                  <a:lnTo>
                    <a:pt x="358" y="104"/>
                  </a:lnTo>
                  <a:close/>
                  <a:moveTo>
                    <a:pt x="330" y="104"/>
                  </a:moveTo>
                  <a:lnTo>
                    <a:pt x="329" y="104"/>
                  </a:lnTo>
                  <a:lnTo>
                    <a:pt x="330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20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19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130" y="104"/>
                  </a:moveTo>
                  <a:lnTo>
                    <a:pt x="131" y="104"/>
                  </a:lnTo>
                  <a:lnTo>
                    <a:pt x="130" y="104"/>
                  </a:lnTo>
                  <a:close/>
                  <a:moveTo>
                    <a:pt x="131" y="104"/>
                  </a:moveTo>
                  <a:lnTo>
                    <a:pt x="130" y="104"/>
                  </a:lnTo>
                  <a:lnTo>
                    <a:pt x="131" y="104"/>
                  </a:lnTo>
                  <a:close/>
                  <a:moveTo>
                    <a:pt x="317" y="104"/>
                  </a:moveTo>
                  <a:lnTo>
                    <a:pt x="317" y="104"/>
                  </a:lnTo>
                  <a:lnTo>
                    <a:pt x="317" y="104"/>
                  </a:lnTo>
                  <a:close/>
                  <a:moveTo>
                    <a:pt x="109" y="104"/>
                  </a:moveTo>
                  <a:lnTo>
                    <a:pt x="108" y="104"/>
                  </a:lnTo>
                  <a:lnTo>
                    <a:pt x="109" y="104"/>
                  </a:lnTo>
                  <a:close/>
                  <a:moveTo>
                    <a:pt x="360" y="104"/>
                  </a:moveTo>
                  <a:lnTo>
                    <a:pt x="360" y="103"/>
                  </a:lnTo>
                  <a:lnTo>
                    <a:pt x="360" y="104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360" y="103"/>
                  </a:moveTo>
                  <a:lnTo>
                    <a:pt x="360" y="103"/>
                  </a:lnTo>
                  <a:lnTo>
                    <a:pt x="360" y="103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109" y="103"/>
                  </a:moveTo>
                  <a:lnTo>
                    <a:pt x="109" y="102"/>
                  </a:lnTo>
                  <a:lnTo>
                    <a:pt x="109" y="103"/>
                  </a:lnTo>
                  <a:close/>
                  <a:moveTo>
                    <a:pt x="120" y="102"/>
                  </a:moveTo>
                  <a:lnTo>
                    <a:pt x="119" y="102"/>
                  </a:lnTo>
                  <a:lnTo>
                    <a:pt x="120" y="102"/>
                  </a:lnTo>
                  <a:close/>
                  <a:moveTo>
                    <a:pt x="360" y="102"/>
                  </a:moveTo>
                  <a:lnTo>
                    <a:pt x="360" y="101"/>
                  </a:lnTo>
                  <a:lnTo>
                    <a:pt x="360" y="102"/>
                  </a:lnTo>
                  <a:close/>
                  <a:moveTo>
                    <a:pt x="109" y="102"/>
                  </a:moveTo>
                  <a:lnTo>
                    <a:pt x="109" y="101"/>
                  </a:lnTo>
                  <a:lnTo>
                    <a:pt x="109" y="102"/>
                  </a:lnTo>
                  <a:close/>
                  <a:moveTo>
                    <a:pt x="111" y="101"/>
                  </a:moveTo>
                  <a:lnTo>
                    <a:pt x="111" y="101"/>
                  </a:lnTo>
                  <a:lnTo>
                    <a:pt x="111" y="101"/>
                  </a:lnTo>
                  <a:close/>
                  <a:moveTo>
                    <a:pt x="105" y="100"/>
                  </a:moveTo>
                  <a:lnTo>
                    <a:pt x="105" y="100"/>
                  </a:lnTo>
                  <a:lnTo>
                    <a:pt x="105" y="100"/>
                  </a:lnTo>
                  <a:close/>
                  <a:moveTo>
                    <a:pt x="107" y="99"/>
                  </a:moveTo>
                  <a:lnTo>
                    <a:pt x="107" y="99"/>
                  </a:lnTo>
                  <a:lnTo>
                    <a:pt x="107" y="99"/>
                  </a:lnTo>
                  <a:close/>
                  <a:moveTo>
                    <a:pt x="100" y="99"/>
                  </a:moveTo>
                  <a:lnTo>
                    <a:pt x="99" y="99"/>
                  </a:lnTo>
                  <a:lnTo>
                    <a:pt x="100" y="99"/>
                  </a:lnTo>
                  <a:close/>
                  <a:moveTo>
                    <a:pt x="327" y="96"/>
                  </a:moveTo>
                  <a:lnTo>
                    <a:pt x="328" y="96"/>
                  </a:lnTo>
                  <a:lnTo>
                    <a:pt x="327" y="96"/>
                  </a:lnTo>
                  <a:close/>
                  <a:moveTo>
                    <a:pt x="328" y="96"/>
                  </a:moveTo>
                  <a:lnTo>
                    <a:pt x="327" y="96"/>
                  </a:lnTo>
                  <a:lnTo>
                    <a:pt x="328" y="96"/>
                  </a:lnTo>
                  <a:close/>
                  <a:moveTo>
                    <a:pt x="93" y="96"/>
                  </a:moveTo>
                  <a:lnTo>
                    <a:pt x="93" y="96"/>
                  </a:lnTo>
                  <a:lnTo>
                    <a:pt x="93" y="96"/>
                  </a:lnTo>
                  <a:close/>
                  <a:moveTo>
                    <a:pt x="322" y="96"/>
                  </a:moveTo>
                  <a:lnTo>
                    <a:pt x="322" y="95"/>
                  </a:lnTo>
                  <a:lnTo>
                    <a:pt x="322" y="96"/>
                  </a:lnTo>
                  <a:close/>
                  <a:moveTo>
                    <a:pt x="344" y="95"/>
                  </a:moveTo>
                  <a:lnTo>
                    <a:pt x="343" y="95"/>
                  </a:lnTo>
                  <a:lnTo>
                    <a:pt x="344" y="95"/>
                  </a:lnTo>
                  <a:close/>
                  <a:moveTo>
                    <a:pt x="326" y="95"/>
                  </a:moveTo>
                  <a:lnTo>
                    <a:pt x="325" y="95"/>
                  </a:lnTo>
                  <a:lnTo>
                    <a:pt x="326" y="95"/>
                  </a:lnTo>
                  <a:close/>
                  <a:moveTo>
                    <a:pt x="104" y="94"/>
                  </a:moveTo>
                  <a:lnTo>
                    <a:pt x="104" y="94"/>
                  </a:lnTo>
                  <a:lnTo>
                    <a:pt x="104" y="94"/>
                  </a:lnTo>
                  <a:close/>
                  <a:moveTo>
                    <a:pt x="97" y="93"/>
                  </a:moveTo>
                  <a:lnTo>
                    <a:pt x="96" y="93"/>
                  </a:lnTo>
                  <a:lnTo>
                    <a:pt x="97" y="93"/>
                  </a:lnTo>
                  <a:close/>
                  <a:moveTo>
                    <a:pt x="96" y="93"/>
                  </a:moveTo>
                  <a:lnTo>
                    <a:pt x="96" y="92"/>
                  </a:lnTo>
                  <a:lnTo>
                    <a:pt x="96" y="93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10" y="86"/>
                  </a:moveTo>
                  <a:lnTo>
                    <a:pt x="309" y="86"/>
                  </a:lnTo>
                  <a:lnTo>
                    <a:pt x="310" y="86"/>
                  </a:lnTo>
                  <a:close/>
                  <a:moveTo>
                    <a:pt x="311" y="86"/>
                  </a:moveTo>
                  <a:lnTo>
                    <a:pt x="310" y="86"/>
                  </a:lnTo>
                  <a:lnTo>
                    <a:pt x="311" y="86"/>
                  </a:lnTo>
                  <a:close/>
                  <a:moveTo>
                    <a:pt x="296" y="83"/>
                  </a:moveTo>
                  <a:lnTo>
                    <a:pt x="297" y="83"/>
                  </a:lnTo>
                  <a:lnTo>
                    <a:pt x="296" y="83"/>
                  </a:lnTo>
                  <a:close/>
                  <a:moveTo>
                    <a:pt x="299" y="83"/>
                  </a:moveTo>
                  <a:lnTo>
                    <a:pt x="300" y="83"/>
                  </a:lnTo>
                  <a:lnTo>
                    <a:pt x="299" y="83"/>
                  </a:lnTo>
                  <a:close/>
                  <a:moveTo>
                    <a:pt x="284" y="83"/>
                  </a:moveTo>
                  <a:lnTo>
                    <a:pt x="284" y="83"/>
                  </a:lnTo>
                  <a:lnTo>
                    <a:pt x="284" y="83"/>
                  </a:lnTo>
                  <a:close/>
                  <a:moveTo>
                    <a:pt x="300" y="83"/>
                  </a:moveTo>
                  <a:lnTo>
                    <a:pt x="299" y="83"/>
                  </a:lnTo>
                  <a:lnTo>
                    <a:pt x="300" y="83"/>
                  </a:lnTo>
                  <a:close/>
                  <a:moveTo>
                    <a:pt x="293" y="83"/>
                  </a:moveTo>
                  <a:lnTo>
                    <a:pt x="292" y="83"/>
                  </a:lnTo>
                  <a:lnTo>
                    <a:pt x="293" y="83"/>
                  </a:lnTo>
                  <a:close/>
                  <a:moveTo>
                    <a:pt x="287" y="83"/>
                  </a:moveTo>
                  <a:lnTo>
                    <a:pt x="287" y="82"/>
                  </a:lnTo>
                  <a:lnTo>
                    <a:pt x="287" y="83"/>
                  </a:lnTo>
                  <a:close/>
                  <a:moveTo>
                    <a:pt x="282" y="82"/>
                  </a:moveTo>
                  <a:lnTo>
                    <a:pt x="282" y="82"/>
                  </a:lnTo>
                  <a:lnTo>
                    <a:pt x="282" y="82"/>
                  </a:lnTo>
                  <a:close/>
                  <a:moveTo>
                    <a:pt x="289" y="82"/>
                  </a:moveTo>
                  <a:lnTo>
                    <a:pt x="289" y="82"/>
                  </a:lnTo>
                  <a:lnTo>
                    <a:pt x="289" y="82"/>
                  </a:lnTo>
                  <a:close/>
                  <a:moveTo>
                    <a:pt x="284" y="82"/>
                  </a:moveTo>
                  <a:lnTo>
                    <a:pt x="284" y="82"/>
                  </a:lnTo>
                  <a:lnTo>
                    <a:pt x="284" y="82"/>
                  </a:lnTo>
                  <a:close/>
                  <a:moveTo>
                    <a:pt x="287" y="82"/>
                  </a:moveTo>
                  <a:lnTo>
                    <a:pt x="286" y="82"/>
                  </a:lnTo>
                  <a:lnTo>
                    <a:pt x="287" y="82"/>
                  </a:lnTo>
                  <a:close/>
                  <a:moveTo>
                    <a:pt x="294" y="81"/>
                  </a:moveTo>
                  <a:lnTo>
                    <a:pt x="293" y="81"/>
                  </a:lnTo>
                  <a:lnTo>
                    <a:pt x="294" y="81"/>
                  </a:lnTo>
                  <a:close/>
                  <a:moveTo>
                    <a:pt x="278" y="81"/>
                  </a:moveTo>
                  <a:lnTo>
                    <a:pt x="278" y="81"/>
                  </a:lnTo>
                  <a:lnTo>
                    <a:pt x="278" y="81"/>
                  </a:lnTo>
                  <a:close/>
                  <a:moveTo>
                    <a:pt x="279" y="81"/>
                  </a:moveTo>
                  <a:lnTo>
                    <a:pt x="279" y="81"/>
                  </a:lnTo>
                  <a:lnTo>
                    <a:pt x="279" y="81"/>
                  </a:lnTo>
                  <a:close/>
                  <a:moveTo>
                    <a:pt x="270" y="79"/>
                  </a:moveTo>
                  <a:lnTo>
                    <a:pt x="270" y="79"/>
                  </a:lnTo>
                  <a:lnTo>
                    <a:pt x="270" y="79"/>
                  </a:lnTo>
                  <a:close/>
                  <a:moveTo>
                    <a:pt x="278" y="79"/>
                  </a:moveTo>
                  <a:lnTo>
                    <a:pt x="278" y="79"/>
                  </a:lnTo>
                  <a:lnTo>
                    <a:pt x="278" y="79"/>
                  </a:lnTo>
                  <a:close/>
                  <a:moveTo>
                    <a:pt x="267" y="77"/>
                  </a:moveTo>
                  <a:lnTo>
                    <a:pt x="267" y="77"/>
                  </a:lnTo>
                  <a:lnTo>
                    <a:pt x="267" y="77"/>
                  </a:lnTo>
                  <a:close/>
                  <a:moveTo>
                    <a:pt x="269" y="74"/>
                  </a:moveTo>
                  <a:lnTo>
                    <a:pt x="268" y="74"/>
                  </a:lnTo>
                  <a:lnTo>
                    <a:pt x="269" y="74"/>
                  </a:lnTo>
                  <a:close/>
                  <a:moveTo>
                    <a:pt x="274" y="74"/>
                  </a:moveTo>
                  <a:lnTo>
                    <a:pt x="274" y="73"/>
                  </a:lnTo>
                  <a:lnTo>
                    <a:pt x="274" y="74"/>
                  </a:lnTo>
                  <a:close/>
                  <a:moveTo>
                    <a:pt x="263" y="71"/>
                  </a:moveTo>
                  <a:lnTo>
                    <a:pt x="263" y="71"/>
                  </a:lnTo>
                  <a:lnTo>
                    <a:pt x="263" y="71"/>
                  </a:lnTo>
                  <a:close/>
                  <a:moveTo>
                    <a:pt x="290" y="71"/>
                  </a:moveTo>
                  <a:lnTo>
                    <a:pt x="289" y="71"/>
                  </a:lnTo>
                  <a:lnTo>
                    <a:pt x="290" y="71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8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0" y="68"/>
                  </a:moveTo>
                  <a:lnTo>
                    <a:pt x="260" y="68"/>
                  </a:lnTo>
                  <a:lnTo>
                    <a:pt x="260" y="68"/>
                  </a:lnTo>
                  <a:close/>
                  <a:moveTo>
                    <a:pt x="283" y="63"/>
                  </a:moveTo>
                  <a:lnTo>
                    <a:pt x="282" y="63"/>
                  </a:lnTo>
                  <a:lnTo>
                    <a:pt x="283" y="63"/>
                  </a:lnTo>
                  <a:close/>
                  <a:moveTo>
                    <a:pt x="258" y="60"/>
                  </a:moveTo>
                  <a:lnTo>
                    <a:pt x="258" y="60"/>
                  </a:lnTo>
                  <a:lnTo>
                    <a:pt x="258" y="60"/>
                  </a:lnTo>
                  <a:close/>
                  <a:moveTo>
                    <a:pt x="263" y="56"/>
                  </a:moveTo>
                  <a:lnTo>
                    <a:pt x="262" y="56"/>
                  </a:lnTo>
                  <a:lnTo>
                    <a:pt x="263" y="56"/>
                  </a:lnTo>
                  <a:close/>
                  <a:moveTo>
                    <a:pt x="263" y="56"/>
                  </a:moveTo>
                  <a:lnTo>
                    <a:pt x="263" y="56"/>
                  </a:lnTo>
                  <a:lnTo>
                    <a:pt x="263" y="56"/>
                  </a:lnTo>
                  <a:close/>
                  <a:moveTo>
                    <a:pt x="263" y="55"/>
                  </a:moveTo>
                  <a:lnTo>
                    <a:pt x="263" y="55"/>
                  </a:lnTo>
                  <a:lnTo>
                    <a:pt x="263" y="55"/>
                  </a:lnTo>
                  <a:close/>
                  <a:moveTo>
                    <a:pt x="264" y="54"/>
                  </a:moveTo>
                  <a:lnTo>
                    <a:pt x="263" y="54"/>
                  </a:lnTo>
                  <a:lnTo>
                    <a:pt x="264" y="54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3" y="53"/>
                  </a:lnTo>
                  <a:lnTo>
                    <a:pt x="284" y="53"/>
                  </a:lnTo>
                  <a:close/>
                  <a:moveTo>
                    <a:pt x="264" y="52"/>
                  </a:moveTo>
                  <a:lnTo>
                    <a:pt x="264" y="52"/>
                  </a:lnTo>
                  <a:lnTo>
                    <a:pt x="264" y="52"/>
                  </a:lnTo>
                  <a:close/>
                  <a:moveTo>
                    <a:pt x="289" y="48"/>
                  </a:moveTo>
                  <a:lnTo>
                    <a:pt x="289" y="48"/>
                  </a:lnTo>
                  <a:lnTo>
                    <a:pt x="289" y="48"/>
                  </a:lnTo>
                  <a:close/>
                  <a:moveTo>
                    <a:pt x="268" y="46"/>
                  </a:moveTo>
                  <a:lnTo>
                    <a:pt x="267" y="46"/>
                  </a:lnTo>
                  <a:lnTo>
                    <a:pt x="268" y="46"/>
                  </a:lnTo>
                  <a:close/>
                  <a:moveTo>
                    <a:pt x="267" y="46"/>
                  </a:moveTo>
                  <a:lnTo>
                    <a:pt x="266" y="46"/>
                  </a:lnTo>
                  <a:lnTo>
                    <a:pt x="267" y="46"/>
                  </a:lnTo>
                  <a:close/>
                  <a:moveTo>
                    <a:pt x="268" y="44"/>
                  </a:moveTo>
                  <a:lnTo>
                    <a:pt x="268" y="44"/>
                  </a:lnTo>
                  <a:lnTo>
                    <a:pt x="268" y="44"/>
                  </a:lnTo>
                  <a:close/>
                  <a:moveTo>
                    <a:pt x="269" y="43"/>
                  </a:moveTo>
                  <a:lnTo>
                    <a:pt x="269" y="44"/>
                  </a:lnTo>
                  <a:lnTo>
                    <a:pt x="269" y="43"/>
                  </a:lnTo>
                  <a:close/>
                  <a:moveTo>
                    <a:pt x="290" y="42"/>
                  </a:moveTo>
                  <a:lnTo>
                    <a:pt x="290" y="42"/>
                  </a:lnTo>
                  <a:lnTo>
                    <a:pt x="290" y="42"/>
                  </a:lnTo>
                  <a:close/>
                  <a:moveTo>
                    <a:pt x="299" y="41"/>
                  </a:moveTo>
                  <a:lnTo>
                    <a:pt x="298" y="41"/>
                  </a:lnTo>
                  <a:lnTo>
                    <a:pt x="299" y="41"/>
                  </a:lnTo>
                  <a:close/>
                  <a:moveTo>
                    <a:pt x="302" y="37"/>
                  </a:moveTo>
                  <a:lnTo>
                    <a:pt x="302" y="37"/>
                  </a:lnTo>
                  <a:lnTo>
                    <a:pt x="302" y="37"/>
                  </a:lnTo>
                  <a:close/>
                  <a:moveTo>
                    <a:pt x="295" y="37"/>
                  </a:moveTo>
                  <a:lnTo>
                    <a:pt x="295" y="37"/>
                  </a:lnTo>
                  <a:lnTo>
                    <a:pt x="295" y="37"/>
                  </a:lnTo>
                  <a:close/>
                  <a:moveTo>
                    <a:pt x="300" y="34"/>
                  </a:moveTo>
                  <a:lnTo>
                    <a:pt x="300" y="35"/>
                  </a:lnTo>
                  <a:lnTo>
                    <a:pt x="300" y="34"/>
                  </a:lnTo>
                  <a:close/>
                  <a:moveTo>
                    <a:pt x="287" y="30"/>
                  </a:moveTo>
                  <a:lnTo>
                    <a:pt x="287" y="30"/>
                  </a:lnTo>
                  <a:lnTo>
                    <a:pt x="287" y="30"/>
                  </a:lnTo>
                  <a:close/>
                  <a:moveTo>
                    <a:pt x="311" y="26"/>
                  </a:moveTo>
                  <a:lnTo>
                    <a:pt x="310" y="26"/>
                  </a:lnTo>
                  <a:lnTo>
                    <a:pt x="311" y="26"/>
                  </a:lnTo>
                  <a:close/>
                  <a:moveTo>
                    <a:pt x="295" y="25"/>
                  </a:moveTo>
                  <a:lnTo>
                    <a:pt x="294" y="25"/>
                  </a:lnTo>
                  <a:lnTo>
                    <a:pt x="295" y="25"/>
                  </a:lnTo>
                  <a:close/>
                  <a:moveTo>
                    <a:pt x="309" y="24"/>
                  </a:moveTo>
                  <a:lnTo>
                    <a:pt x="310" y="24"/>
                  </a:lnTo>
                  <a:lnTo>
                    <a:pt x="309" y="24"/>
                  </a:lnTo>
                  <a:close/>
                  <a:moveTo>
                    <a:pt x="317" y="23"/>
                  </a:moveTo>
                  <a:lnTo>
                    <a:pt x="316" y="23"/>
                  </a:lnTo>
                  <a:lnTo>
                    <a:pt x="317" y="23"/>
                  </a:lnTo>
                  <a:close/>
                  <a:moveTo>
                    <a:pt x="293" y="20"/>
                  </a:moveTo>
                  <a:lnTo>
                    <a:pt x="293" y="20"/>
                  </a:lnTo>
                  <a:lnTo>
                    <a:pt x="293" y="20"/>
                  </a:lnTo>
                  <a:close/>
                  <a:moveTo>
                    <a:pt x="309" y="5"/>
                  </a:moveTo>
                  <a:lnTo>
                    <a:pt x="309" y="5"/>
                  </a:lnTo>
                  <a:lnTo>
                    <a:pt x="309" y="5"/>
                  </a:lnTo>
                  <a:close/>
                  <a:moveTo>
                    <a:pt x="314" y="2"/>
                  </a:moveTo>
                  <a:lnTo>
                    <a:pt x="313" y="2"/>
                  </a:lnTo>
                  <a:lnTo>
                    <a:pt x="314" y="2"/>
                  </a:lnTo>
                  <a:close/>
                  <a:moveTo>
                    <a:pt x="323" y="1"/>
                  </a:moveTo>
                  <a:lnTo>
                    <a:pt x="322" y="1"/>
                  </a:lnTo>
                  <a:lnTo>
                    <a:pt x="323" y="1"/>
                  </a:lnTo>
                  <a:close/>
                  <a:moveTo>
                    <a:pt x="328" y="1"/>
                  </a:moveTo>
                  <a:lnTo>
                    <a:pt x="328" y="1"/>
                  </a:lnTo>
                  <a:lnTo>
                    <a:pt x="328" y="1"/>
                  </a:lnTo>
                  <a:close/>
                  <a:moveTo>
                    <a:pt x="326" y="1"/>
                  </a:moveTo>
                  <a:lnTo>
                    <a:pt x="325" y="1"/>
                  </a:lnTo>
                  <a:lnTo>
                    <a:pt x="326" y="1"/>
                  </a:lnTo>
                  <a:close/>
                  <a:moveTo>
                    <a:pt x="328" y="1"/>
                  </a:moveTo>
                  <a:lnTo>
                    <a:pt x="328" y="0"/>
                  </a:lnTo>
                  <a:lnTo>
                    <a:pt x="328" y="1"/>
                  </a:lnTo>
                  <a:close/>
                  <a:moveTo>
                    <a:pt x="328" y="0"/>
                  </a:moveTo>
                  <a:lnTo>
                    <a:pt x="328" y="0"/>
                  </a:lnTo>
                  <a:lnTo>
                    <a:pt x="328" y="0"/>
                  </a:lnTo>
                  <a:close/>
                  <a:moveTo>
                    <a:pt x="331" y="0"/>
                  </a:moveTo>
                  <a:lnTo>
                    <a:pt x="330" y="0"/>
                  </a:lnTo>
                  <a:lnTo>
                    <a:pt x="3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4" name="Freeform 100"/>
            <p:cNvSpPr>
              <a:spLocks/>
            </p:cNvSpPr>
            <p:nvPr/>
          </p:nvSpPr>
          <p:spPr bwMode="auto">
            <a:xfrm>
              <a:off x="5889700" y="375482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5" name="Freeform 101"/>
            <p:cNvSpPr>
              <a:spLocks noEditPoints="1"/>
            </p:cNvSpPr>
            <p:nvPr/>
          </p:nvSpPr>
          <p:spPr bwMode="auto">
            <a:xfrm>
              <a:off x="5956271" y="3719005"/>
              <a:ext cx="44381" cy="67514"/>
            </a:xfrm>
            <a:custGeom>
              <a:avLst/>
              <a:gdLst>
                <a:gd name="T0" fmla="*/ 9 w 34"/>
                <a:gd name="T1" fmla="*/ 1 h 49"/>
                <a:gd name="T2" fmla="*/ 12 w 34"/>
                <a:gd name="T3" fmla="*/ 2 h 49"/>
                <a:gd name="T4" fmla="*/ 15 w 34"/>
                <a:gd name="T5" fmla="*/ 5 h 49"/>
                <a:gd name="T6" fmla="*/ 16 w 34"/>
                <a:gd name="T7" fmla="*/ 6 h 49"/>
                <a:gd name="T8" fmla="*/ 16 w 34"/>
                <a:gd name="T9" fmla="*/ 8 h 49"/>
                <a:gd name="T10" fmla="*/ 17 w 34"/>
                <a:gd name="T11" fmla="*/ 10 h 49"/>
                <a:gd name="T12" fmla="*/ 19 w 34"/>
                <a:gd name="T13" fmla="*/ 11 h 49"/>
                <a:gd name="T14" fmla="*/ 22 w 34"/>
                <a:gd name="T15" fmla="*/ 12 h 49"/>
                <a:gd name="T16" fmla="*/ 20 w 34"/>
                <a:gd name="T17" fmla="*/ 14 h 49"/>
                <a:gd name="T18" fmla="*/ 21 w 34"/>
                <a:gd name="T19" fmla="*/ 15 h 49"/>
                <a:gd name="T20" fmla="*/ 21 w 34"/>
                <a:gd name="T21" fmla="*/ 16 h 49"/>
                <a:gd name="T22" fmla="*/ 24 w 34"/>
                <a:gd name="T23" fmla="*/ 18 h 49"/>
                <a:gd name="T24" fmla="*/ 26 w 34"/>
                <a:gd name="T25" fmla="*/ 20 h 49"/>
                <a:gd name="T26" fmla="*/ 28 w 34"/>
                <a:gd name="T27" fmla="*/ 18 h 49"/>
                <a:gd name="T28" fmla="*/ 31 w 34"/>
                <a:gd name="T29" fmla="*/ 19 h 49"/>
                <a:gd name="T30" fmla="*/ 29 w 34"/>
                <a:gd name="T31" fmla="*/ 20 h 49"/>
                <a:gd name="T32" fmla="*/ 31 w 34"/>
                <a:gd name="T33" fmla="*/ 23 h 49"/>
                <a:gd name="T34" fmla="*/ 31 w 34"/>
                <a:gd name="T35" fmla="*/ 24 h 49"/>
                <a:gd name="T36" fmla="*/ 29 w 34"/>
                <a:gd name="T37" fmla="*/ 26 h 49"/>
                <a:gd name="T38" fmla="*/ 29 w 34"/>
                <a:gd name="T39" fmla="*/ 29 h 49"/>
                <a:gd name="T40" fmla="*/ 31 w 34"/>
                <a:gd name="T41" fmla="*/ 32 h 49"/>
                <a:gd name="T42" fmla="*/ 32 w 34"/>
                <a:gd name="T43" fmla="*/ 33 h 49"/>
                <a:gd name="T44" fmla="*/ 33 w 34"/>
                <a:gd name="T45" fmla="*/ 36 h 49"/>
                <a:gd name="T46" fmla="*/ 31 w 34"/>
                <a:gd name="T47" fmla="*/ 38 h 49"/>
                <a:gd name="T48" fmla="*/ 29 w 34"/>
                <a:gd name="T49" fmla="*/ 38 h 49"/>
                <a:gd name="T50" fmla="*/ 29 w 34"/>
                <a:gd name="T51" fmla="*/ 41 h 49"/>
                <a:gd name="T52" fmla="*/ 29 w 34"/>
                <a:gd name="T53" fmla="*/ 44 h 49"/>
                <a:gd name="T54" fmla="*/ 26 w 34"/>
                <a:gd name="T55" fmla="*/ 44 h 49"/>
                <a:gd name="T56" fmla="*/ 24 w 34"/>
                <a:gd name="T57" fmla="*/ 44 h 49"/>
                <a:gd name="T58" fmla="*/ 22 w 34"/>
                <a:gd name="T59" fmla="*/ 45 h 49"/>
                <a:gd name="T60" fmla="*/ 19 w 34"/>
                <a:gd name="T61" fmla="*/ 46 h 49"/>
                <a:gd name="T62" fmla="*/ 16 w 34"/>
                <a:gd name="T63" fmla="*/ 47 h 49"/>
                <a:gd name="T64" fmla="*/ 14 w 34"/>
                <a:gd name="T65" fmla="*/ 49 h 49"/>
                <a:gd name="T66" fmla="*/ 14 w 34"/>
                <a:gd name="T67" fmla="*/ 47 h 49"/>
                <a:gd name="T68" fmla="*/ 13 w 34"/>
                <a:gd name="T69" fmla="*/ 45 h 49"/>
                <a:gd name="T70" fmla="*/ 12 w 34"/>
                <a:gd name="T71" fmla="*/ 43 h 49"/>
                <a:gd name="T72" fmla="*/ 10 w 34"/>
                <a:gd name="T73" fmla="*/ 40 h 49"/>
                <a:gd name="T74" fmla="*/ 12 w 34"/>
                <a:gd name="T75" fmla="*/ 40 h 49"/>
                <a:gd name="T76" fmla="*/ 10 w 34"/>
                <a:gd name="T77" fmla="*/ 37 h 49"/>
                <a:gd name="T78" fmla="*/ 8 w 34"/>
                <a:gd name="T79" fmla="*/ 35 h 49"/>
                <a:gd name="T80" fmla="*/ 6 w 34"/>
                <a:gd name="T81" fmla="*/ 33 h 49"/>
                <a:gd name="T82" fmla="*/ 3 w 34"/>
                <a:gd name="T83" fmla="*/ 31 h 49"/>
                <a:gd name="T84" fmla="*/ 5 w 34"/>
                <a:gd name="T85" fmla="*/ 30 h 49"/>
                <a:gd name="T86" fmla="*/ 6 w 34"/>
                <a:gd name="T87" fmla="*/ 30 h 49"/>
                <a:gd name="T88" fmla="*/ 4 w 34"/>
                <a:gd name="T89" fmla="*/ 27 h 49"/>
                <a:gd name="T90" fmla="*/ 4 w 34"/>
                <a:gd name="T91" fmla="*/ 26 h 49"/>
                <a:gd name="T92" fmla="*/ 6 w 34"/>
                <a:gd name="T93" fmla="*/ 25 h 49"/>
                <a:gd name="T94" fmla="*/ 4 w 34"/>
                <a:gd name="T95" fmla="*/ 23 h 49"/>
                <a:gd name="T96" fmla="*/ 3 w 34"/>
                <a:gd name="T97" fmla="*/ 21 h 49"/>
                <a:gd name="T98" fmla="*/ 3 w 34"/>
                <a:gd name="T99" fmla="*/ 18 h 49"/>
                <a:gd name="T100" fmla="*/ 5 w 34"/>
                <a:gd name="T101" fmla="*/ 15 h 49"/>
                <a:gd name="T102" fmla="*/ 2 w 34"/>
                <a:gd name="T103" fmla="*/ 16 h 49"/>
                <a:gd name="T104" fmla="*/ 3 w 34"/>
                <a:gd name="T105" fmla="*/ 15 h 49"/>
                <a:gd name="T106" fmla="*/ 3 w 34"/>
                <a:gd name="T107" fmla="*/ 12 h 49"/>
                <a:gd name="T108" fmla="*/ 3 w 34"/>
                <a:gd name="T109" fmla="*/ 11 h 49"/>
                <a:gd name="T110" fmla="*/ 1 w 34"/>
                <a:gd name="T111" fmla="*/ 10 h 49"/>
                <a:gd name="T112" fmla="*/ 2 w 34"/>
                <a:gd name="T113" fmla="*/ 8 h 49"/>
                <a:gd name="T114" fmla="*/ 1 w 34"/>
                <a:gd name="T115" fmla="*/ 6 h 49"/>
                <a:gd name="T116" fmla="*/ 1 w 34"/>
                <a:gd name="T117" fmla="*/ 4 h 49"/>
                <a:gd name="T118" fmla="*/ 2 w 34"/>
                <a:gd name="T119" fmla="*/ 3 h 49"/>
                <a:gd name="T120" fmla="*/ 5 w 34"/>
                <a:gd name="T121" fmla="*/ 2 h 49"/>
                <a:gd name="T122" fmla="*/ 7 w 34"/>
                <a:gd name="T1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" h="49"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2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1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6" y="44"/>
                  </a:lnTo>
                  <a:lnTo>
                    <a:pt x="26" y="45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40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0"/>
                  </a:lnTo>
                  <a:close/>
                  <a:moveTo>
                    <a:pt x="5" y="30"/>
                  </a:moveTo>
                  <a:lnTo>
                    <a:pt x="5" y="30"/>
                  </a:lnTo>
                  <a:lnTo>
                    <a:pt x="5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6" name="Freeform 102"/>
            <p:cNvSpPr>
              <a:spLocks/>
            </p:cNvSpPr>
            <p:nvPr/>
          </p:nvSpPr>
          <p:spPr bwMode="auto">
            <a:xfrm>
              <a:off x="5935386" y="3665269"/>
              <a:ext cx="60045" cy="30312"/>
            </a:xfrm>
            <a:custGeom>
              <a:avLst/>
              <a:gdLst>
                <a:gd name="T0" fmla="*/ 23 w 46"/>
                <a:gd name="T1" fmla="*/ 2 h 22"/>
                <a:gd name="T2" fmla="*/ 24 w 46"/>
                <a:gd name="T3" fmla="*/ 3 h 22"/>
                <a:gd name="T4" fmla="*/ 24 w 46"/>
                <a:gd name="T5" fmla="*/ 5 h 22"/>
                <a:gd name="T6" fmla="*/ 26 w 46"/>
                <a:gd name="T7" fmla="*/ 5 h 22"/>
                <a:gd name="T8" fmla="*/ 27 w 46"/>
                <a:gd name="T9" fmla="*/ 3 h 22"/>
                <a:gd name="T10" fmla="*/ 29 w 46"/>
                <a:gd name="T11" fmla="*/ 2 h 22"/>
                <a:gd name="T12" fmla="*/ 32 w 46"/>
                <a:gd name="T13" fmla="*/ 3 h 22"/>
                <a:gd name="T14" fmla="*/ 32 w 46"/>
                <a:gd name="T15" fmla="*/ 3 h 22"/>
                <a:gd name="T16" fmla="*/ 33 w 46"/>
                <a:gd name="T17" fmla="*/ 3 h 22"/>
                <a:gd name="T18" fmla="*/ 34 w 46"/>
                <a:gd name="T19" fmla="*/ 2 h 22"/>
                <a:gd name="T20" fmla="*/ 36 w 46"/>
                <a:gd name="T21" fmla="*/ 2 h 22"/>
                <a:gd name="T22" fmla="*/ 37 w 46"/>
                <a:gd name="T23" fmla="*/ 2 h 22"/>
                <a:gd name="T24" fmla="*/ 40 w 46"/>
                <a:gd name="T25" fmla="*/ 2 h 22"/>
                <a:gd name="T26" fmla="*/ 41 w 46"/>
                <a:gd name="T27" fmla="*/ 3 h 22"/>
                <a:gd name="T28" fmla="*/ 43 w 46"/>
                <a:gd name="T29" fmla="*/ 5 h 22"/>
                <a:gd name="T30" fmla="*/ 45 w 46"/>
                <a:gd name="T31" fmla="*/ 6 h 22"/>
                <a:gd name="T32" fmla="*/ 45 w 46"/>
                <a:gd name="T33" fmla="*/ 7 h 22"/>
                <a:gd name="T34" fmla="*/ 44 w 46"/>
                <a:gd name="T35" fmla="*/ 9 h 22"/>
                <a:gd name="T36" fmla="*/ 44 w 46"/>
                <a:gd name="T37" fmla="*/ 11 h 22"/>
                <a:gd name="T38" fmla="*/ 43 w 46"/>
                <a:gd name="T39" fmla="*/ 13 h 22"/>
                <a:gd name="T40" fmla="*/ 41 w 46"/>
                <a:gd name="T41" fmla="*/ 14 h 22"/>
                <a:gd name="T42" fmla="*/ 39 w 46"/>
                <a:gd name="T43" fmla="*/ 14 h 22"/>
                <a:gd name="T44" fmla="*/ 37 w 46"/>
                <a:gd name="T45" fmla="*/ 12 h 22"/>
                <a:gd name="T46" fmla="*/ 36 w 46"/>
                <a:gd name="T47" fmla="*/ 13 h 22"/>
                <a:gd name="T48" fmla="*/ 35 w 46"/>
                <a:gd name="T49" fmla="*/ 13 h 22"/>
                <a:gd name="T50" fmla="*/ 32 w 46"/>
                <a:gd name="T51" fmla="*/ 12 h 22"/>
                <a:gd name="T52" fmla="*/ 30 w 46"/>
                <a:gd name="T53" fmla="*/ 12 h 22"/>
                <a:gd name="T54" fmla="*/ 29 w 46"/>
                <a:gd name="T55" fmla="*/ 13 h 22"/>
                <a:gd name="T56" fmla="*/ 28 w 46"/>
                <a:gd name="T57" fmla="*/ 15 h 22"/>
                <a:gd name="T58" fmla="*/ 26 w 46"/>
                <a:gd name="T59" fmla="*/ 16 h 22"/>
                <a:gd name="T60" fmla="*/ 25 w 46"/>
                <a:gd name="T61" fmla="*/ 17 h 22"/>
                <a:gd name="T62" fmla="*/ 24 w 46"/>
                <a:gd name="T63" fmla="*/ 16 h 22"/>
                <a:gd name="T64" fmla="*/ 22 w 46"/>
                <a:gd name="T65" fmla="*/ 16 h 22"/>
                <a:gd name="T66" fmla="*/ 21 w 46"/>
                <a:gd name="T67" fmla="*/ 17 h 22"/>
                <a:gd name="T68" fmla="*/ 19 w 46"/>
                <a:gd name="T69" fmla="*/ 18 h 22"/>
                <a:gd name="T70" fmla="*/ 17 w 46"/>
                <a:gd name="T71" fmla="*/ 18 h 22"/>
                <a:gd name="T72" fmla="*/ 15 w 46"/>
                <a:gd name="T73" fmla="*/ 19 h 22"/>
                <a:gd name="T74" fmla="*/ 17 w 46"/>
                <a:gd name="T75" fmla="*/ 21 h 22"/>
                <a:gd name="T76" fmla="*/ 14 w 46"/>
                <a:gd name="T77" fmla="*/ 21 h 22"/>
                <a:gd name="T78" fmla="*/ 11 w 46"/>
                <a:gd name="T79" fmla="*/ 21 h 22"/>
                <a:gd name="T80" fmla="*/ 9 w 46"/>
                <a:gd name="T81" fmla="*/ 21 h 22"/>
                <a:gd name="T82" fmla="*/ 6 w 46"/>
                <a:gd name="T83" fmla="*/ 21 h 22"/>
                <a:gd name="T84" fmla="*/ 4 w 46"/>
                <a:gd name="T85" fmla="*/ 20 h 22"/>
                <a:gd name="T86" fmla="*/ 3 w 46"/>
                <a:gd name="T87" fmla="*/ 18 h 22"/>
                <a:gd name="T88" fmla="*/ 2 w 46"/>
                <a:gd name="T89" fmla="*/ 17 h 22"/>
                <a:gd name="T90" fmla="*/ 0 w 46"/>
                <a:gd name="T91" fmla="*/ 14 h 22"/>
                <a:gd name="T92" fmla="*/ 0 w 46"/>
                <a:gd name="T93" fmla="*/ 14 h 22"/>
                <a:gd name="T94" fmla="*/ 1 w 46"/>
                <a:gd name="T95" fmla="*/ 12 h 22"/>
                <a:gd name="T96" fmla="*/ 2 w 46"/>
                <a:gd name="T97" fmla="*/ 10 h 22"/>
                <a:gd name="T98" fmla="*/ 3 w 46"/>
                <a:gd name="T99" fmla="*/ 9 h 22"/>
                <a:gd name="T100" fmla="*/ 6 w 46"/>
                <a:gd name="T101" fmla="*/ 9 h 22"/>
                <a:gd name="T102" fmla="*/ 7 w 46"/>
                <a:gd name="T103" fmla="*/ 9 h 22"/>
                <a:gd name="T104" fmla="*/ 9 w 46"/>
                <a:gd name="T105" fmla="*/ 7 h 22"/>
                <a:gd name="T106" fmla="*/ 10 w 46"/>
                <a:gd name="T107" fmla="*/ 6 h 22"/>
                <a:gd name="T108" fmla="*/ 11 w 46"/>
                <a:gd name="T109" fmla="*/ 5 h 22"/>
                <a:gd name="T110" fmla="*/ 13 w 46"/>
                <a:gd name="T111" fmla="*/ 3 h 22"/>
                <a:gd name="T112" fmla="*/ 14 w 46"/>
                <a:gd name="T113" fmla="*/ 2 h 22"/>
                <a:gd name="T114" fmla="*/ 16 w 46"/>
                <a:gd name="T115" fmla="*/ 1 h 22"/>
                <a:gd name="T116" fmla="*/ 17 w 46"/>
                <a:gd name="T117" fmla="*/ 1 h 22"/>
                <a:gd name="T118" fmla="*/ 18 w 46"/>
                <a:gd name="T119" fmla="*/ 2 h 22"/>
                <a:gd name="T120" fmla="*/ 19 w 46"/>
                <a:gd name="T121" fmla="*/ 1 h 22"/>
                <a:gd name="T122" fmla="*/ 22 w 46"/>
                <a:gd name="T1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" h="22">
                  <a:moveTo>
                    <a:pt x="22" y="0"/>
                  </a:moveTo>
                  <a:lnTo>
                    <a:pt x="22" y="1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7" name="Freeform 103"/>
            <p:cNvSpPr>
              <a:spLocks/>
            </p:cNvSpPr>
            <p:nvPr/>
          </p:nvSpPr>
          <p:spPr bwMode="auto">
            <a:xfrm>
              <a:off x="5898837" y="3709359"/>
              <a:ext cx="35243" cy="23424"/>
            </a:xfrm>
            <a:custGeom>
              <a:avLst/>
              <a:gdLst>
                <a:gd name="T0" fmla="*/ 24 w 27"/>
                <a:gd name="T1" fmla="*/ 0 h 17"/>
                <a:gd name="T2" fmla="*/ 25 w 27"/>
                <a:gd name="T3" fmla="*/ 2 h 17"/>
                <a:gd name="T4" fmla="*/ 25 w 27"/>
                <a:gd name="T5" fmla="*/ 3 h 17"/>
                <a:gd name="T6" fmla="*/ 26 w 27"/>
                <a:gd name="T7" fmla="*/ 4 h 17"/>
                <a:gd name="T8" fmla="*/ 26 w 27"/>
                <a:gd name="T9" fmla="*/ 4 h 17"/>
                <a:gd name="T10" fmla="*/ 24 w 27"/>
                <a:gd name="T11" fmla="*/ 4 h 17"/>
                <a:gd name="T12" fmla="*/ 24 w 27"/>
                <a:gd name="T13" fmla="*/ 5 h 17"/>
                <a:gd name="T14" fmla="*/ 22 w 27"/>
                <a:gd name="T15" fmla="*/ 6 h 17"/>
                <a:gd name="T16" fmla="*/ 20 w 27"/>
                <a:gd name="T17" fmla="*/ 7 h 17"/>
                <a:gd name="T18" fmla="*/ 19 w 27"/>
                <a:gd name="T19" fmla="*/ 7 h 17"/>
                <a:gd name="T20" fmla="*/ 19 w 27"/>
                <a:gd name="T21" fmla="*/ 8 h 17"/>
                <a:gd name="T22" fmla="*/ 19 w 27"/>
                <a:gd name="T23" fmla="*/ 10 h 17"/>
                <a:gd name="T24" fmla="*/ 19 w 27"/>
                <a:gd name="T25" fmla="*/ 12 h 17"/>
                <a:gd name="T26" fmla="*/ 17 w 27"/>
                <a:gd name="T27" fmla="*/ 12 h 17"/>
                <a:gd name="T28" fmla="*/ 16 w 27"/>
                <a:gd name="T29" fmla="*/ 12 h 17"/>
                <a:gd name="T30" fmla="*/ 16 w 27"/>
                <a:gd name="T31" fmla="*/ 14 h 17"/>
                <a:gd name="T32" fmla="*/ 16 w 27"/>
                <a:gd name="T33" fmla="*/ 15 h 17"/>
                <a:gd name="T34" fmla="*/ 15 w 27"/>
                <a:gd name="T35" fmla="*/ 17 h 17"/>
                <a:gd name="T36" fmla="*/ 13 w 27"/>
                <a:gd name="T37" fmla="*/ 15 h 17"/>
                <a:gd name="T38" fmla="*/ 12 w 27"/>
                <a:gd name="T39" fmla="*/ 15 h 17"/>
                <a:gd name="T40" fmla="*/ 11 w 27"/>
                <a:gd name="T41" fmla="*/ 15 h 17"/>
                <a:gd name="T42" fmla="*/ 11 w 27"/>
                <a:gd name="T43" fmla="*/ 14 h 17"/>
                <a:gd name="T44" fmla="*/ 9 w 27"/>
                <a:gd name="T45" fmla="*/ 14 h 17"/>
                <a:gd name="T46" fmla="*/ 8 w 27"/>
                <a:gd name="T47" fmla="*/ 15 h 17"/>
                <a:gd name="T48" fmla="*/ 6 w 27"/>
                <a:gd name="T49" fmla="*/ 15 h 17"/>
                <a:gd name="T50" fmla="*/ 5 w 27"/>
                <a:gd name="T51" fmla="*/ 16 h 17"/>
                <a:gd name="T52" fmla="*/ 3 w 27"/>
                <a:gd name="T53" fmla="*/ 16 h 17"/>
                <a:gd name="T54" fmla="*/ 2 w 27"/>
                <a:gd name="T55" fmla="*/ 15 h 17"/>
                <a:gd name="T56" fmla="*/ 2 w 27"/>
                <a:gd name="T57" fmla="*/ 15 h 17"/>
                <a:gd name="T58" fmla="*/ 3 w 27"/>
                <a:gd name="T59" fmla="*/ 15 h 17"/>
                <a:gd name="T60" fmla="*/ 5 w 27"/>
                <a:gd name="T61" fmla="*/ 14 h 17"/>
                <a:gd name="T62" fmla="*/ 4 w 27"/>
                <a:gd name="T63" fmla="*/ 13 h 17"/>
                <a:gd name="T64" fmla="*/ 2 w 27"/>
                <a:gd name="T65" fmla="*/ 12 h 17"/>
                <a:gd name="T66" fmla="*/ 2 w 27"/>
                <a:gd name="T67" fmla="*/ 11 h 17"/>
                <a:gd name="T68" fmla="*/ 2 w 27"/>
                <a:gd name="T69" fmla="*/ 10 h 17"/>
                <a:gd name="T70" fmla="*/ 2 w 27"/>
                <a:gd name="T71" fmla="*/ 9 h 17"/>
                <a:gd name="T72" fmla="*/ 2 w 27"/>
                <a:gd name="T73" fmla="*/ 7 h 17"/>
                <a:gd name="T74" fmla="*/ 1 w 27"/>
                <a:gd name="T75" fmla="*/ 7 h 17"/>
                <a:gd name="T76" fmla="*/ 0 w 27"/>
                <a:gd name="T77" fmla="*/ 6 h 17"/>
                <a:gd name="T78" fmla="*/ 2 w 27"/>
                <a:gd name="T79" fmla="*/ 5 h 17"/>
                <a:gd name="T80" fmla="*/ 3 w 27"/>
                <a:gd name="T81" fmla="*/ 4 h 17"/>
                <a:gd name="T82" fmla="*/ 5 w 27"/>
                <a:gd name="T83" fmla="*/ 4 h 17"/>
                <a:gd name="T84" fmla="*/ 6 w 27"/>
                <a:gd name="T85" fmla="*/ 4 h 17"/>
                <a:gd name="T86" fmla="*/ 7 w 27"/>
                <a:gd name="T87" fmla="*/ 5 h 17"/>
                <a:gd name="T88" fmla="*/ 8 w 27"/>
                <a:gd name="T89" fmla="*/ 4 h 17"/>
                <a:gd name="T90" fmla="*/ 10 w 27"/>
                <a:gd name="T91" fmla="*/ 5 h 17"/>
                <a:gd name="T92" fmla="*/ 11 w 27"/>
                <a:gd name="T93" fmla="*/ 4 h 17"/>
                <a:gd name="T94" fmla="*/ 12 w 27"/>
                <a:gd name="T95" fmla="*/ 4 h 17"/>
                <a:gd name="T96" fmla="*/ 13 w 27"/>
                <a:gd name="T97" fmla="*/ 3 h 17"/>
                <a:gd name="T98" fmla="*/ 15 w 27"/>
                <a:gd name="T99" fmla="*/ 2 h 17"/>
                <a:gd name="T100" fmla="*/ 17 w 27"/>
                <a:gd name="T101" fmla="*/ 3 h 17"/>
                <a:gd name="T102" fmla="*/ 19 w 27"/>
                <a:gd name="T103" fmla="*/ 1 h 17"/>
                <a:gd name="T104" fmla="*/ 21 w 27"/>
                <a:gd name="T105" fmla="*/ 1 h 17"/>
                <a:gd name="T106" fmla="*/ 21 w 27"/>
                <a:gd name="T107" fmla="*/ 0 h 17"/>
                <a:gd name="T108" fmla="*/ 22 w 27"/>
                <a:gd name="T10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" h="17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8" name="Freeform 104"/>
            <p:cNvSpPr>
              <a:spLocks/>
            </p:cNvSpPr>
            <p:nvPr/>
          </p:nvSpPr>
          <p:spPr bwMode="auto">
            <a:xfrm>
              <a:off x="5901447" y="373002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9" name="Freeform 105"/>
            <p:cNvSpPr>
              <a:spLocks noEditPoints="1"/>
            </p:cNvSpPr>
            <p:nvPr/>
          </p:nvSpPr>
          <p:spPr bwMode="auto">
            <a:xfrm>
              <a:off x="5879257" y="3517841"/>
              <a:ext cx="79625" cy="37202"/>
            </a:xfrm>
            <a:custGeom>
              <a:avLst/>
              <a:gdLst>
                <a:gd name="T0" fmla="*/ 46 w 61"/>
                <a:gd name="T1" fmla="*/ 13 h 27"/>
                <a:gd name="T2" fmla="*/ 45 w 61"/>
                <a:gd name="T3" fmla="*/ 14 h 27"/>
                <a:gd name="T4" fmla="*/ 45 w 61"/>
                <a:gd name="T5" fmla="*/ 15 h 27"/>
                <a:gd name="T6" fmla="*/ 44 w 61"/>
                <a:gd name="T7" fmla="*/ 16 h 27"/>
                <a:gd name="T8" fmla="*/ 43 w 61"/>
                <a:gd name="T9" fmla="*/ 16 h 27"/>
                <a:gd name="T10" fmla="*/ 44 w 61"/>
                <a:gd name="T11" fmla="*/ 17 h 27"/>
                <a:gd name="T12" fmla="*/ 43 w 61"/>
                <a:gd name="T13" fmla="*/ 18 h 27"/>
                <a:gd name="T14" fmla="*/ 43 w 61"/>
                <a:gd name="T15" fmla="*/ 19 h 27"/>
                <a:gd name="T16" fmla="*/ 42 w 61"/>
                <a:gd name="T17" fmla="*/ 21 h 27"/>
                <a:gd name="T18" fmla="*/ 42 w 61"/>
                <a:gd name="T19" fmla="*/ 23 h 27"/>
                <a:gd name="T20" fmla="*/ 41 w 61"/>
                <a:gd name="T21" fmla="*/ 25 h 27"/>
                <a:gd name="T22" fmla="*/ 39 w 61"/>
                <a:gd name="T23" fmla="*/ 27 h 27"/>
                <a:gd name="T24" fmla="*/ 39 w 61"/>
                <a:gd name="T25" fmla="*/ 26 h 27"/>
                <a:gd name="T26" fmla="*/ 39 w 61"/>
                <a:gd name="T27" fmla="*/ 24 h 27"/>
                <a:gd name="T28" fmla="*/ 40 w 61"/>
                <a:gd name="T29" fmla="*/ 22 h 27"/>
                <a:gd name="T30" fmla="*/ 41 w 61"/>
                <a:gd name="T31" fmla="*/ 21 h 27"/>
                <a:gd name="T32" fmla="*/ 41 w 61"/>
                <a:gd name="T33" fmla="*/ 18 h 27"/>
                <a:gd name="T34" fmla="*/ 43 w 61"/>
                <a:gd name="T35" fmla="*/ 17 h 27"/>
                <a:gd name="T36" fmla="*/ 43 w 61"/>
                <a:gd name="T37" fmla="*/ 15 h 27"/>
                <a:gd name="T38" fmla="*/ 44 w 61"/>
                <a:gd name="T39" fmla="*/ 13 h 27"/>
                <a:gd name="T40" fmla="*/ 59 w 61"/>
                <a:gd name="T41" fmla="*/ 6 h 27"/>
                <a:gd name="T42" fmla="*/ 60 w 61"/>
                <a:gd name="T43" fmla="*/ 5 h 27"/>
                <a:gd name="T44" fmla="*/ 61 w 61"/>
                <a:gd name="T45" fmla="*/ 6 h 27"/>
                <a:gd name="T46" fmla="*/ 60 w 61"/>
                <a:gd name="T47" fmla="*/ 7 h 27"/>
                <a:gd name="T48" fmla="*/ 60 w 61"/>
                <a:gd name="T49" fmla="*/ 7 h 27"/>
                <a:gd name="T50" fmla="*/ 59 w 61"/>
                <a:gd name="T51" fmla="*/ 8 h 27"/>
                <a:gd name="T52" fmla="*/ 59 w 61"/>
                <a:gd name="T53" fmla="*/ 9 h 27"/>
                <a:gd name="T54" fmla="*/ 59 w 61"/>
                <a:gd name="T55" fmla="*/ 10 h 27"/>
                <a:gd name="T56" fmla="*/ 59 w 61"/>
                <a:gd name="T57" fmla="*/ 11 h 27"/>
                <a:gd name="T58" fmla="*/ 59 w 61"/>
                <a:gd name="T59" fmla="*/ 11 h 27"/>
                <a:gd name="T60" fmla="*/ 59 w 61"/>
                <a:gd name="T61" fmla="*/ 12 h 27"/>
                <a:gd name="T62" fmla="*/ 58 w 61"/>
                <a:gd name="T63" fmla="*/ 13 h 27"/>
                <a:gd name="T64" fmla="*/ 58 w 61"/>
                <a:gd name="T65" fmla="*/ 14 h 27"/>
                <a:gd name="T66" fmla="*/ 58 w 61"/>
                <a:gd name="T67" fmla="*/ 14 h 27"/>
                <a:gd name="T68" fmla="*/ 57 w 61"/>
                <a:gd name="T69" fmla="*/ 14 h 27"/>
                <a:gd name="T70" fmla="*/ 56 w 61"/>
                <a:gd name="T71" fmla="*/ 15 h 27"/>
                <a:gd name="T72" fmla="*/ 55 w 61"/>
                <a:gd name="T73" fmla="*/ 16 h 27"/>
                <a:gd name="T74" fmla="*/ 56 w 61"/>
                <a:gd name="T75" fmla="*/ 17 h 27"/>
                <a:gd name="T76" fmla="*/ 54 w 61"/>
                <a:gd name="T77" fmla="*/ 18 h 27"/>
                <a:gd name="T78" fmla="*/ 54 w 61"/>
                <a:gd name="T79" fmla="*/ 17 h 27"/>
                <a:gd name="T80" fmla="*/ 54 w 61"/>
                <a:gd name="T81" fmla="*/ 16 h 27"/>
                <a:gd name="T82" fmla="*/ 54 w 61"/>
                <a:gd name="T83" fmla="*/ 15 h 27"/>
                <a:gd name="T84" fmla="*/ 54 w 61"/>
                <a:gd name="T85" fmla="*/ 13 h 27"/>
                <a:gd name="T86" fmla="*/ 53 w 61"/>
                <a:gd name="T87" fmla="*/ 11 h 27"/>
                <a:gd name="T88" fmla="*/ 54 w 61"/>
                <a:gd name="T89" fmla="*/ 9 h 27"/>
                <a:gd name="T90" fmla="*/ 55 w 61"/>
                <a:gd name="T91" fmla="*/ 8 h 27"/>
                <a:gd name="T92" fmla="*/ 56 w 61"/>
                <a:gd name="T93" fmla="*/ 7 h 27"/>
                <a:gd name="T94" fmla="*/ 58 w 61"/>
                <a:gd name="T95" fmla="*/ 6 h 27"/>
                <a:gd name="T96" fmla="*/ 2 w 61"/>
                <a:gd name="T97" fmla="*/ 1 h 27"/>
                <a:gd name="T98" fmla="*/ 2 w 61"/>
                <a:gd name="T99" fmla="*/ 3 h 27"/>
                <a:gd name="T100" fmla="*/ 2 w 61"/>
                <a:gd name="T101" fmla="*/ 3 h 27"/>
                <a:gd name="T102" fmla="*/ 2 w 61"/>
                <a:gd name="T103" fmla="*/ 5 h 27"/>
                <a:gd name="T104" fmla="*/ 1 w 61"/>
                <a:gd name="T105" fmla="*/ 5 h 27"/>
                <a:gd name="T106" fmla="*/ 1 w 61"/>
                <a:gd name="T107" fmla="*/ 5 h 27"/>
                <a:gd name="T108" fmla="*/ 0 w 61"/>
                <a:gd name="T109" fmla="*/ 5 h 27"/>
                <a:gd name="T110" fmla="*/ 1 w 61"/>
                <a:gd name="T111" fmla="*/ 3 h 27"/>
                <a:gd name="T112" fmla="*/ 1 w 61"/>
                <a:gd name="T113" fmla="*/ 3 h 27"/>
                <a:gd name="T114" fmla="*/ 1 w 61"/>
                <a:gd name="T115" fmla="*/ 3 h 27"/>
                <a:gd name="T116" fmla="*/ 0 w 61"/>
                <a:gd name="T117" fmla="*/ 3 h 27"/>
                <a:gd name="T118" fmla="*/ 0 w 61"/>
                <a:gd name="T119" fmla="*/ 3 h 27"/>
                <a:gd name="T120" fmla="*/ 1 w 61"/>
                <a:gd name="T121" fmla="*/ 1 h 27"/>
                <a:gd name="T122" fmla="*/ 2 w 61"/>
                <a:gd name="T12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" h="27">
                  <a:moveTo>
                    <a:pt x="45" y="12"/>
                  </a:move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2"/>
                  </a:lnTo>
                  <a:close/>
                  <a:moveTo>
                    <a:pt x="58" y="5"/>
                  </a:move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59" y="8"/>
                  </a:lnTo>
                  <a:lnTo>
                    <a:pt x="59" y="7"/>
                  </a:lnTo>
                  <a:lnTo>
                    <a:pt x="59" y="8"/>
                  </a:lnTo>
                  <a:lnTo>
                    <a:pt x="58" y="8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59" y="12"/>
                  </a:lnTo>
                  <a:lnTo>
                    <a:pt x="58" y="12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3" y="14"/>
                  </a:lnTo>
                  <a:lnTo>
                    <a:pt x="53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8" y="5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0" name="Freeform 106"/>
            <p:cNvSpPr>
              <a:spLocks noEditPoints="1"/>
            </p:cNvSpPr>
            <p:nvPr/>
          </p:nvSpPr>
          <p:spPr bwMode="auto">
            <a:xfrm>
              <a:off x="5875341" y="3318056"/>
              <a:ext cx="137059" cy="252143"/>
            </a:xfrm>
            <a:custGeom>
              <a:avLst/>
              <a:gdLst>
                <a:gd name="T0" fmla="*/ 101 w 105"/>
                <a:gd name="T1" fmla="*/ 46 h 183"/>
                <a:gd name="T2" fmla="*/ 95 w 105"/>
                <a:gd name="T3" fmla="*/ 45 h 183"/>
                <a:gd name="T4" fmla="*/ 93 w 105"/>
                <a:gd name="T5" fmla="*/ 30 h 183"/>
                <a:gd name="T6" fmla="*/ 94 w 105"/>
                <a:gd name="T7" fmla="*/ 40 h 183"/>
                <a:gd name="T8" fmla="*/ 96 w 105"/>
                <a:gd name="T9" fmla="*/ 47 h 183"/>
                <a:gd name="T10" fmla="*/ 90 w 105"/>
                <a:gd name="T11" fmla="*/ 48 h 183"/>
                <a:gd name="T12" fmla="*/ 87 w 105"/>
                <a:gd name="T13" fmla="*/ 49 h 183"/>
                <a:gd name="T14" fmla="*/ 85 w 105"/>
                <a:gd name="T15" fmla="*/ 52 h 183"/>
                <a:gd name="T16" fmla="*/ 82 w 105"/>
                <a:gd name="T17" fmla="*/ 52 h 183"/>
                <a:gd name="T18" fmla="*/ 83 w 105"/>
                <a:gd name="T19" fmla="*/ 56 h 183"/>
                <a:gd name="T20" fmla="*/ 82 w 105"/>
                <a:gd name="T21" fmla="*/ 62 h 183"/>
                <a:gd name="T22" fmla="*/ 83 w 105"/>
                <a:gd name="T23" fmla="*/ 65 h 183"/>
                <a:gd name="T24" fmla="*/ 78 w 105"/>
                <a:gd name="T25" fmla="*/ 73 h 183"/>
                <a:gd name="T26" fmla="*/ 74 w 105"/>
                <a:gd name="T27" fmla="*/ 74 h 183"/>
                <a:gd name="T28" fmla="*/ 68 w 105"/>
                <a:gd name="T29" fmla="*/ 78 h 183"/>
                <a:gd name="T30" fmla="*/ 63 w 105"/>
                <a:gd name="T31" fmla="*/ 81 h 183"/>
                <a:gd name="T32" fmla="*/ 59 w 105"/>
                <a:gd name="T33" fmla="*/ 84 h 183"/>
                <a:gd name="T34" fmla="*/ 56 w 105"/>
                <a:gd name="T35" fmla="*/ 87 h 183"/>
                <a:gd name="T36" fmla="*/ 53 w 105"/>
                <a:gd name="T37" fmla="*/ 82 h 183"/>
                <a:gd name="T38" fmla="*/ 53 w 105"/>
                <a:gd name="T39" fmla="*/ 91 h 183"/>
                <a:gd name="T40" fmla="*/ 53 w 105"/>
                <a:gd name="T41" fmla="*/ 94 h 183"/>
                <a:gd name="T42" fmla="*/ 50 w 105"/>
                <a:gd name="T43" fmla="*/ 100 h 183"/>
                <a:gd name="T44" fmla="*/ 49 w 105"/>
                <a:gd name="T45" fmla="*/ 103 h 183"/>
                <a:gd name="T46" fmla="*/ 49 w 105"/>
                <a:gd name="T47" fmla="*/ 107 h 183"/>
                <a:gd name="T48" fmla="*/ 49 w 105"/>
                <a:gd name="T49" fmla="*/ 113 h 183"/>
                <a:gd name="T50" fmla="*/ 53 w 105"/>
                <a:gd name="T51" fmla="*/ 117 h 183"/>
                <a:gd name="T52" fmla="*/ 57 w 105"/>
                <a:gd name="T53" fmla="*/ 118 h 183"/>
                <a:gd name="T54" fmla="*/ 60 w 105"/>
                <a:gd name="T55" fmla="*/ 122 h 183"/>
                <a:gd name="T56" fmla="*/ 63 w 105"/>
                <a:gd name="T57" fmla="*/ 125 h 183"/>
                <a:gd name="T58" fmla="*/ 59 w 105"/>
                <a:gd name="T59" fmla="*/ 130 h 183"/>
                <a:gd name="T60" fmla="*/ 60 w 105"/>
                <a:gd name="T61" fmla="*/ 132 h 183"/>
                <a:gd name="T62" fmla="*/ 60 w 105"/>
                <a:gd name="T63" fmla="*/ 133 h 183"/>
                <a:gd name="T64" fmla="*/ 56 w 105"/>
                <a:gd name="T65" fmla="*/ 136 h 183"/>
                <a:gd name="T66" fmla="*/ 53 w 105"/>
                <a:gd name="T67" fmla="*/ 136 h 183"/>
                <a:gd name="T68" fmla="*/ 52 w 105"/>
                <a:gd name="T69" fmla="*/ 137 h 183"/>
                <a:gd name="T70" fmla="*/ 49 w 105"/>
                <a:gd name="T71" fmla="*/ 140 h 183"/>
                <a:gd name="T72" fmla="*/ 46 w 105"/>
                <a:gd name="T73" fmla="*/ 142 h 183"/>
                <a:gd name="T74" fmla="*/ 45 w 105"/>
                <a:gd name="T75" fmla="*/ 145 h 183"/>
                <a:gd name="T76" fmla="*/ 45 w 105"/>
                <a:gd name="T77" fmla="*/ 149 h 183"/>
                <a:gd name="T78" fmla="*/ 44 w 105"/>
                <a:gd name="T79" fmla="*/ 150 h 183"/>
                <a:gd name="T80" fmla="*/ 45 w 105"/>
                <a:gd name="T81" fmla="*/ 154 h 183"/>
                <a:gd name="T82" fmla="*/ 44 w 105"/>
                <a:gd name="T83" fmla="*/ 157 h 183"/>
                <a:gd name="T84" fmla="*/ 43 w 105"/>
                <a:gd name="T85" fmla="*/ 165 h 183"/>
                <a:gd name="T86" fmla="*/ 38 w 105"/>
                <a:gd name="T87" fmla="*/ 173 h 183"/>
                <a:gd name="T88" fmla="*/ 33 w 105"/>
                <a:gd name="T89" fmla="*/ 172 h 183"/>
                <a:gd name="T90" fmla="*/ 28 w 105"/>
                <a:gd name="T91" fmla="*/ 174 h 183"/>
                <a:gd name="T92" fmla="*/ 18 w 105"/>
                <a:gd name="T93" fmla="*/ 183 h 183"/>
                <a:gd name="T94" fmla="*/ 12 w 105"/>
                <a:gd name="T95" fmla="*/ 173 h 183"/>
                <a:gd name="T96" fmla="*/ 9 w 105"/>
                <a:gd name="T97" fmla="*/ 162 h 183"/>
                <a:gd name="T98" fmla="*/ 7 w 105"/>
                <a:gd name="T99" fmla="*/ 157 h 183"/>
                <a:gd name="T100" fmla="*/ 7 w 105"/>
                <a:gd name="T101" fmla="*/ 151 h 183"/>
                <a:gd name="T102" fmla="*/ 5 w 105"/>
                <a:gd name="T103" fmla="*/ 145 h 183"/>
                <a:gd name="T104" fmla="*/ 3 w 105"/>
                <a:gd name="T105" fmla="*/ 144 h 183"/>
                <a:gd name="T106" fmla="*/ 1 w 105"/>
                <a:gd name="T107" fmla="*/ 143 h 183"/>
                <a:gd name="T108" fmla="*/ 1 w 105"/>
                <a:gd name="T109" fmla="*/ 136 h 183"/>
                <a:gd name="T110" fmla="*/ 6 w 105"/>
                <a:gd name="T111" fmla="*/ 126 h 183"/>
                <a:gd name="T112" fmla="*/ 8 w 105"/>
                <a:gd name="T113" fmla="*/ 100 h 183"/>
                <a:gd name="T114" fmla="*/ 23 w 105"/>
                <a:gd name="T115" fmla="*/ 59 h 183"/>
                <a:gd name="T116" fmla="*/ 53 w 105"/>
                <a:gd name="T117" fmla="*/ 15 h 183"/>
                <a:gd name="T118" fmla="*/ 83 w 105"/>
                <a:gd name="T119" fmla="*/ 6 h 183"/>
                <a:gd name="T120" fmla="*/ 101 w 105"/>
                <a:gd name="T121" fmla="*/ 16 h 183"/>
                <a:gd name="T122" fmla="*/ 103 w 105"/>
                <a:gd name="T123" fmla="*/ 32 h 183"/>
                <a:gd name="T124" fmla="*/ 50 w 105"/>
                <a:gd name="T125" fmla="*/ 9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83">
                  <a:moveTo>
                    <a:pt x="55" y="139"/>
                  </a:moveTo>
                  <a:lnTo>
                    <a:pt x="55" y="139"/>
                  </a:lnTo>
                  <a:lnTo>
                    <a:pt x="55" y="139"/>
                  </a:lnTo>
                  <a:close/>
                  <a:moveTo>
                    <a:pt x="58" y="131"/>
                  </a:move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1"/>
                  </a:lnTo>
                  <a:close/>
                  <a:moveTo>
                    <a:pt x="56" y="88"/>
                  </a:moveTo>
                  <a:lnTo>
                    <a:pt x="57" y="88"/>
                  </a:lnTo>
                  <a:lnTo>
                    <a:pt x="56" y="88"/>
                  </a:lnTo>
                  <a:lnTo>
                    <a:pt x="56" y="89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6" y="88"/>
                  </a:lnTo>
                  <a:close/>
                  <a:moveTo>
                    <a:pt x="105" y="47"/>
                  </a:moveTo>
                  <a:lnTo>
                    <a:pt x="105" y="48"/>
                  </a:lnTo>
                  <a:lnTo>
                    <a:pt x="105" y="47"/>
                  </a:lnTo>
                  <a:close/>
                  <a:moveTo>
                    <a:pt x="104" y="46"/>
                  </a:move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1" y="46"/>
                  </a:lnTo>
                  <a:lnTo>
                    <a:pt x="101" y="45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0" y="47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7" y="46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39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39"/>
                  </a:lnTo>
                  <a:lnTo>
                    <a:pt x="95" y="38"/>
                  </a:lnTo>
                  <a:lnTo>
                    <a:pt x="95" y="39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5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1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1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3" y="29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4" y="30"/>
                  </a:lnTo>
                  <a:lnTo>
                    <a:pt x="94" y="31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2" y="36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7" y="45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1" y="46"/>
                  </a:lnTo>
                  <a:lnTo>
                    <a:pt x="92" y="46"/>
                  </a:lnTo>
                  <a:lnTo>
                    <a:pt x="91" y="46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1" y="49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6" y="48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5" y="47"/>
                  </a:lnTo>
                  <a:lnTo>
                    <a:pt x="85" y="46"/>
                  </a:lnTo>
                  <a:lnTo>
                    <a:pt x="85" y="47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7" y="48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6" y="52"/>
                  </a:lnTo>
                  <a:lnTo>
                    <a:pt x="86" y="51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3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2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6" y="54"/>
                  </a:lnTo>
                  <a:lnTo>
                    <a:pt x="86" y="55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3" y="55"/>
                  </a:lnTo>
                  <a:lnTo>
                    <a:pt x="84" y="55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7"/>
                  </a:lnTo>
                  <a:lnTo>
                    <a:pt x="83" y="57"/>
                  </a:lnTo>
                  <a:lnTo>
                    <a:pt x="83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3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2" y="60"/>
                  </a:lnTo>
                  <a:lnTo>
                    <a:pt x="81" y="60"/>
                  </a:lnTo>
                  <a:lnTo>
                    <a:pt x="81" y="61"/>
                  </a:lnTo>
                  <a:lnTo>
                    <a:pt x="82" y="61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5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3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1" y="75"/>
                  </a:lnTo>
                  <a:lnTo>
                    <a:pt x="71" y="76"/>
                  </a:lnTo>
                  <a:lnTo>
                    <a:pt x="72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0" y="76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8" y="79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7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79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0"/>
                  </a:lnTo>
                  <a:lnTo>
                    <a:pt x="62" y="80"/>
                  </a:lnTo>
                  <a:lnTo>
                    <a:pt x="63" y="80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4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60" y="84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5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1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49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7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4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0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2" y="101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3"/>
                  </a:lnTo>
                  <a:lnTo>
                    <a:pt x="51" y="103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8" y="101"/>
                  </a:lnTo>
                  <a:lnTo>
                    <a:pt x="48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50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8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8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9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50" y="112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9" y="114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1" y="115"/>
                  </a:lnTo>
                  <a:lnTo>
                    <a:pt x="51" y="116"/>
                  </a:lnTo>
                  <a:lnTo>
                    <a:pt x="51" y="117"/>
                  </a:lnTo>
                  <a:lnTo>
                    <a:pt x="51" y="116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3" y="115"/>
                  </a:lnTo>
                  <a:lnTo>
                    <a:pt x="52" y="116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6"/>
                  </a:lnTo>
                  <a:lnTo>
                    <a:pt x="54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5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60" y="119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60" y="121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3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3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3"/>
                  </a:lnTo>
                  <a:lnTo>
                    <a:pt x="62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2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1" y="127"/>
                  </a:lnTo>
                  <a:lnTo>
                    <a:pt x="62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8"/>
                  </a:lnTo>
                  <a:lnTo>
                    <a:pt x="63" y="128"/>
                  </a:lnTo>
                  <a:lnTo>
                    <a:pt x="63" y="127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0" y="129"/>
                  </a:lnTo>
                  <a:lnTo>
                    <a:pt x="60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8" y="130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6" y="131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59" y="134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4"/>
                  </a:lnTo>
                  <a:lnTo>
                    <a:pt x="58" y="134"/>
                  </a:lnTo>
                  <a:lnTo>
                    <a:pt x="58" y="133"/>
                  </a:lnTo>
                  <a:lnTo>
                    <a:pt x="58" y="134"/>
                  </a:lnTo>
                  <a:lnTo>
                    <a:pt x="59" y="134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8" y="135"/>
                  </a:lnTo>
                  <a:lnTo>
                    <a:pt x="57" y="135"/>
                  </a:lnTo>
                  <a:lnTo>
                    <a:pt x="58" y="135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7"/>
                  </a:lnTo>
                  <a:lnTo>
                    <a:pt x="56" y="136"/>
                  </a:lnTo>
                  <a:lnTo>
                    <a:pt x="55" y="136"/>
                  </a:lnTo>
                  <a:lnTo>
                    <a:pt x="55" y="137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8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4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4" y="139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4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4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1" y="138"/>
                  </a:lnTo>
                  <a:lnTo>
                    <a:pt x="51" y="139"/>
                  </a:lnTo>
                  <a:lnTo>
                    <a:pt x="51" y="138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0" y="139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9" y="140"/>
                  </a:lnTo>
                  <a:lnTo>
                    <a:pt x="49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0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3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2"/>
                  </a:lnTo>
                  <a:lnTo>
                    <a:pt x="43" y="142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2"/>
                  </a:lnTo>
                  <a:lnTo>
                    <a:pt x="45" y="141"/>
                  </a:lnTo>
                  <a:lnTo>
                    <a:pt x="46" y="141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6" y="143"/>
                  </a:lnTo>
                  <a:lnTo>
                    <a:pt x="46" y="144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6" y="144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6" y="146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4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0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3" y="150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4" y="152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2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5" y="155"/>
                  </a:lnTo>
                  <a:lnTo>
                    <a:pt x="45" y="155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4" y="157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3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3" y="159"/>
                  </a:lnTo>
                  <a:lnTo>
                    <a:pt x="43" y="160"/>
                  </a:lnTo>
                  <a:lnTo>
                    <a:pt x="44" y="16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1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3" y="164"/>
                  </a:lnTo>
                  <a:lnTo>
                    <a:pt x="42" y="164"/>
                  </a:lnTo>
                  <a:lnTo>
                    <a:pt x="43" y="164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1" y="166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39" y="170"/>
                  </a:lnTo>
                  <a:lnTo>
                    <a:pt x="40" y="170"/>
                  </a:lnTo>
                  <a:lnTo>
                    <a:pt x="40" y="171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2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8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6" y="172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5" y="172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2"/>
                  </a:lnTo>
                  <a:lnTo>
                    <a:pt x="34" y="172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5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2" y="173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4"/>
                  </a:lnTo>
                  <a:lnTo>
                    <a:pt x="30" y="174"/>
                  </a:lnTo>
                  <a:lnTo>
                    <a:pt x="30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6" y="174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5" y="176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8"/>
                  </a:lnTo>
                  <a:lnTo>
                    <a:pt x="25" y="178"/>
                  </a:lnTo>
                  <a:lnTo>
                    <a:pt x="26" y="178"/>
                  </a:lnTo>
                  <a:lnTo>
                    <a:pt x="26" y="179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5" y="181"/>
                  </a:lnTo>
                  <a:lnTo>
                    <a:pt x="25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3" y="181"/>
                  </a:lnTo>
                  <a:lnTo>
                    <a:pt x="23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1" y="181"/>
                  </a:lnTo>
                  <a:lnTo>
                    <a:pt x="20" y="181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8" y="183"/>
                  </a:lnTo>
                  <a:lnTo>
                    <a:pt x="18" y="183"/>
                  </a:lnTo>
                  <a:lnTo>
                    <a:pt x="17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4" y="182"/>
                  </a:lnTo>
                  <a:lnTo>
                    <a:pt x="13" y="182"/>
                  </a:lnTo>
                  <a:lnTo>
                    <a:pt x="14" y="182"/>
                  </a:lnTo>
                  <a:lnTo>
                    <a:pt x="14" y="181"/>
                  </a:lnTo>
                  <a:lnTo>
                    <a:pt x="15" y="182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0"/>
                  </a:lnTo>
                  <a:lnTo>
                    <a:pt x="15" y="180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3" y="176"/>
                  </a:lnTo>
                  <a:lnTo>
                    <a:pt x="13" y="175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11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2"/>
                  </a:lnTo>
                  <a:lnTo>
                    <a:pt x="13" y="172"/>
                  </a:lnTo>
                  <a:lnTo>
                    <a:pt x="13" y="172"/>
                  </a:lnTo>
                  <a:lnTo>
                    <a:pt x="14" y="172"/>
                  </a:lnTo>
                  <a:lnTo>
                    <a:pt x="14" y="171"/>
                  </a:lnTo>
                  <a:lnTo>
                    <a:pt x="13" y="171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2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5" y="169"/>
                  </a:lnTo>
                  <a:lnTo>
                    <a:pt x="15" y="168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5" y="166"/>
                  </a:lnTo>
                  <a:lnTo>
                    <a:pt x="14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2" y="165"/>
                  </a:lnTo>
                  <a:lnTo>
                    <a:pt x="12" y="165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2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0" y="163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6" y="152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8" y="151"/>
                  </a:lnTo>
                  <a:lnTo>
                    <a:pt x="8" y="150"/>
                  </a:lnTo>
                  <a:lnTo>
                    <a:pt x="8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6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1"/>
                  </a:lnTo>
                  <a:lnTo>
                    <a:pt x="4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6" y="150"/>
                  </a:lnTo>
                  <a:lnTo>
                    <a:pt x="6" y="149"/>
                  </a:lnTo>
                  <a:lnTo>
                    <a:pt x="5" y="149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6" y="147"/>
                  </a:lnTo>
                  <a:lnTo>
                    <a:pt x="6" y="146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7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4" y="145"/>
                  </a:lnTo>
                  <a:lnTo>
                    <a:pt x="5" y="145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5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3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3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4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2" y="142"/>
                  </a:lnTo>
                  <a:lnTo>
                    <a:pt x="1" y="142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2" y="135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4"/>
                  </a:lnTo>
                  <a:lnTo>
                    <a:pt x="6" y="133"/>
                  </a:lnTo>
                  <a:lnTo>
                    <a:pt x="6" y="132"/>
                  </a:lnTo>
                  <a:lnTo>
                    <a:pt x="5" y="132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29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6" y="128"/>
                  </a:lnTo>
                  <a:lnTo>
                    <a:pt x="7" y="128"/>
                  </a:lnTo>
                  <a:lnTo>
                    <a:pt x="7" y="127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6" y="126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9" y="125"/>
                  </a:lnTo>
                  <a:lnTo>
                    <a:pt x="9" y="125"/>
                  </a:lnTo>
                  <a:lnTo>
                    <a:pt x="9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1" y="124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1" y="121"/>
                  </a:lnTo>
                  <a:lnTo>
                    <a:pt x="11" y="120"/>
                  </a:lnTo>
                  <a:lnTo>
                    <a:pt x="11" y="119"/>
                  </a:lnTo>
                  <a:lnTo>
                    <a:pt x="12" y="119"/>
                  </a:lnTo>
                  <a:lnTo>
                    <a:pt x="12" y="118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1" y="116"/>
                  </a:lnTo>
                  <a:lnTo>
                    <a:pt x="11" y="115"/>
                  </a:lnTo>
                  <a:lnTo>
                    <a:pt x="11" y="114"/>
                  </a:lnTo>
                  <a:lnTo>
                    <a:pt x="10" y="113"/>
                  </a:lnTo>
                  <a:lnTo>
                    <a:pt x="10" y="112"/>
                  </a:lnTo>
                  <a:lnTo>
                    <a:pt x="9" y="111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2" y="110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2" y="104"/>
                  </a:lnTo>
                  <a:lnTo>
                    <a:pt x="12" y="103"/>
                  </a:lnTo>
                  <a:lnTo>
                    <a:pt x="11" y="103"/>
                  </a:lnTo>
                  <a:lnTo>
                    <a:pt x="10" y="103"/>
                  </a:lnTo>
                  <a:lnTo>
                    <a:pt x="9" y="102"/>
                  </a:lnTo>
                  <a:lnTo>
                    <a:pt x="8" y="101"/>
                  </a:lnTo>
                  <a:lnTo>
                    <a:pt x="8" y="100"/>
                  </a:lnTo>
                  <a:lnTo>
                    <a:pt x="9" y="97"/>
                  </a:lnTo>
                  <a:lnTo>
                    <a:pt x="9" y="96"/>
                  </a:lnTo>
                  <a:lnTo>
                    <a:pt x="9" y="95"/>
                  </a:lnTo>
                  <a:lnTo>
                    <a:pt x="9" y="94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8" y="89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8" y="85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8" y="82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0"/>
                  </a:lnTo>
                  <a:lnTo>
                    <a:pt x="8" y="80"/>
                  </a:lnTo>
                  <a:lnTo>
                    <a:pt x="9" y="78"/>
                  </a:lnTo>
                  <a:lnTo>
                    <a:pt x="8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0" y="75"/>
                  </a:lnTo>
                  <a:lnTo>
                    <a:pt x="11" y="73"/>
                  </a:lnTo>
                  <a:lnTo>
                    <a:pt x="12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5" y="70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1" y="70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2" y="63"/>
                  </a:lnTo>
                  <a:lnTo>
                    <a:pt x="20" y="63"/>
                  </a:lnTo>
                  <a:lnTo>
                    <a:pt x="21" y="63"/>
                  </a:lnTo>
                  <a:lnTo>
                    <a:pt x="21" y="62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3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4"/>
                  </a:lnTo>
                  <a:lnTo>
                    <a:pt x="27" y="53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8" y="48"/>
                  </a:lnTo>
                  <a:lnTo>
                    <a:pt x="29" y="46"/>
                  </a:lnTo>
                  <a:lnTo>
                    <a:pt x="28" y="45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4" y="40"/>
                  </a:lnTo>
                  <a:lnTo>
                    <a:pt x="35" y="40"/>
                  </a:lnTo>
                  <a:lnTo>
                    <a:pt x="35" y="39"/>
                  </a:lnTo>
                  <a:lnTo>
                    <a:pt x="35" y="38"/>
                  </a:lnTo>
                  <a:lnTo>
                    <a:pt x="34" y="37"/>
                  </a:lnTo>
                  <a:lnTo>
                    <a:pt x="35" y="36"/>
                  </a:lnTo>
                  <a:lnTo>
                    <a:pt x="37" y="35"/>
                  </a:lnTo>
                  <a:lnTo>
                    <a:pt x="39" y="31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42" y="27"/>
                  </a:lnTo>
                  <a:lnTo>
                    <a:pt x="42" y="26"/>
                  </a:lnTo>
                  <a:lnTo>
                    <a:pt x="41" y="25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46" y="16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0" y="14"/>
                  </a:lnTo>
                  <a:lnTo>
                    <a:pt x="52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6" y="14"/>
                  </a:lnTo>
                  <a:lnTo>
                    <a:pt x="57" y="12"/>
                  </a:lnTo>
                  <a:lnTo>
                    <a:pt x="56" y="10"/>
                  </a:lnTo>
                  <a:lnTo>
                    <a:pt x="56" y="8"/>
                  </a:lnTo>
                  <a:lnTo>
                    <a:pt x="59" y="7"/>
                  </a:lnTo>
                  <a:lnTo>
                    <a:pt x="60" y="8"/>
                  </a:lnTo>
                  <a:lnTo>
                    <a:pt x="63" y="8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1" y="8"/>
                  </a:lnTo>
                  <a:lnTo>
                    <a:pt x="72" y="7"/>
                  </a:lnTo>
                  <a:lnTo>
                    <a:pt x="73" y="6"/>
                  </a:lnTo>
                  <a:lnTo>
                    <a:pt x="74" y="4"/>
                  </a:lnTo>
                  <a:lnTo>
                    <a:pt x="74" y="3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2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5" y="6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8" y="8"/>
                  </a:lnTo>
                  <a:lnTo>
                    <a:pt x="88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2" y="23"/>
                  </a:lnTo>
                  <a:lnTo>
                    <a:pt x="102" y="24"/>
                  </a:lnTo>
                  <a:lnTo>
                    <a:pt x="101" y="24"/>
                  </a:lnTo>
                  <a:lnTo>
                    <a:pt x="101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1" y="25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2" y="29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1"/>
                  </a:lnTo>
                  <a:lnTo>
                    <a:pt x="103" y="31"/>
                  </a:lnTo>
                  <a:lnTo>
                    <a:pt x="103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3"/>
                  </a:lnTo>
                  <a:lnTo>
                    <a:pt x="103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3" y="33"/>
                  </a:lnTo>
                  <a:lnTo>
                    <a:pt x="103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3" y="42"/>
                  </a:lnTo>
                  <a:lnTo>
                    <a:pt x="103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5" y="44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6"/>
                  </a:lnTo>
                  <a:lnTo>
                    <a:pt x="104" y="46"/>
                  </a:lnTo>
                  <a:close/>
                  <a:moveTo>
                    <a:pt x="50" y="93"/>
                  </a:move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1" name="Freeform 107"/>
            <p:cNvSpPr>
              <a:spLocks noEditPoints="1"/>
            </p:cNvSpPr>
            <p:nvPr/>
          </p:nvSpPr>
          <p:spPr bwMode="auto">
            <a:xfrm>
              <a:off x="5874036" y="3378680"/>
              <a:ext cx="138365" cy="181874"/>
            </a:xfrm>
            <a:custGeom>
              <a:avLst/>
              <a:gdLst>
                <a:gd name="T0" fmla="*/ 38 w 106"/>
                <a:gd name="T1" fmla="*/ 129 h 132"/>
                <a:gd name="T2" fmla="*/ 45 w 106"/>
                <a:gd name="T3" fmla="*/ 119 h 132"/>
                <a:gd name="T4" fmla="*/ 8 w 106"/>
                <a:gd name="T5" fmla="*/ 114 h 132"/>
                <a:gd name="T6" fmla="*/ 6 w 106"/>
                <a:gd name="T7" fmla="*/ 111 h 132"/>
                <a:gd name="T8" fmla="*/ 6 w 106"/>
                <a:gd name="T9" fmla="*/ 110 h 132"/>
                <a:gd name="T10" fmla="*/ 64 w 106"/>
                <a:gd name="T11" fmla="*/ 109 h 132"/>
                <a:gd name="T12" fmla="*/ 46 w 106"/>
                <a:gd name="T13" fmla="*/ 107 h 132"/>
                <a:gd name="T14" fmla="*/ 45 w 106"/>
                <a:gd name="T15" fmla="*/ 107 h 132"/>
                <a:gd name="T16" fmla="*/ 6 w 106"/>
                <a:gd name="T17" fmla="*/ 106 h 132"/>
                <a:gd name="T18" fmla="*/ 65 w 106"/>
                <a:gd name="T19" fmla="*/ 106 h 132"/>
                <a:gd name="T20" fmla="*/ 46 w 106"/>
                <a:gd name="T21" fmla="*/ 104 h 132"/>
                <a:gd name="T22" fmla="*/ 47 w 106"/>
                <a:gd name="T23" fmla="*/ 103 h 132"/>
                <a:gd name="T24" fmla="*/ 48 w 106"/>
                <a:gd name="T25" fmla="*/ 102 h 132"/>
                <a:gd name="T26" fmla="*/ 47 w 106"/>
                <a:gd name="T27" fmla="*/ 102 h 132"/>
                <a:gd name="T28" fmla="*/ 46 w 106"/>
                <a:gd name="T29" fmla="*/ 100 h 132"/>
                <a:gd name="T30" fmla="*/ 49 w 106"/>
                <a:gd name="T31" fmla="*/ 99 h 132"/>
                <a:gd name="T32" fmla="*/ 42 w 106"/>
                <a:gd name="T33" fmla="*/ 97 h 132"/>
                <a:gd name="T34" fmla="*/ 51 w 106"/>
                <a:gd name="T35" fmla="*/ 96 h 132"/>
                <a:gd name="T36" fmla="*/ 2 w 106"/>
                <a:gd name="T37" fmla="*/ 95 h 132"/>
                <a:gd name="T38" fmla="*/ 56 w 106"/>
                <a:gd name="T39" fmla="*/ 93 h 132"/>
                <a:gd name="T40" fmla="*/ 59 w 106"/>
                <a:gd name="T41" fmla="*/ 93 h 132"/>
                <a:gd name="T42" fmla="*/ 56 w 106"/>
                <a:gd name="T43" fmla="*/ 93 h 132"/>
                <a:gd name="T44" fmla="*/ 61 w 106"/>
                <a:gd name="T45" fmla="*/ 92 h 132"/>
                <a:gd name="T46" fmla="*/ 61 w 106"/>
                <a:gd name="T47" fmla="*/ 91 h 132"/>
                <a:gd name="T48" fmla="*/ 62 w 106"/>
                <a:gd name="T49" fmla="*/ 90 h 132"/>
                <a:gd name="T50" fmla="*/ 62 w 106"/>
                <a:gd name="T51" fmla="*/ 89 h 132"/>
                <a:gd name="T52" fmla="*/ 62 w 106"/>
                <a:gd name="T53" fmla="*/ 88 h 132"/>
                <a:gd name="T54" fmla="*/ 58 w 106"/>
                <a:gd name="T55" fmla="*/ 88 h 132"/>
                <a:gd name="T56" fmla="*/ 61 w 106"/>
                <a:gd name="T57" fmla="*/ 87 h 132"/>
                <a:gd name="T58" fmla="*/ 61 w 106"/>
                <a:gd name="T59" fmla="*/ 87 h 132"/>
                <a:gd name="T60" fmla="*/ 62 w 106"/>
                <a:gd name="T61" fmla="*/ 86 h 132"/>
                <a:gd name="T62" fmla="*/ 61 w 106"/>
                <a:gd name="T63" fmla="*/ 86 h 132"/>
                <a:gd name="T64" fmla="*/ 66 w 106"/>
                <a:gd name="T65" fmla="*/ 85 h 132"/>
                <a:gd name="T66" fmla="*/ 62 w 106"/>
                <a:gd name="T67" fmla="*/ 85 h 132"/>
                <a:gd name="T68" fmla="*/ 64 w 106"/>
                <a:gd name="T69" fmla="*/ 85 h 132"/>
                <a:gd name="T70" fmla="*/ 63 w 106"/>
                <a:gd name="T71" fmla="*/ 84 h 132"/>
                <a:gd name="T72" fmla="*/ 66 w 106"/>
                <a:gd name="T73" fmla="*/ 83 h 132"/>
                <a:gd name="T74" fmla="*/ 64 w 106"/>
                <a:gd name="T75" fmla="*/ 82 h 132"/>
                <a:gd name="T76" fmla="*/ 61 w 106"/>
                <a:gd name="T77" fmla="*/ 77 h 132"/>
                <a:gd name="T78" fmla="*/ 62 w 106"/>
                <a:gd name="T79" fmla="*/ 77 h 132"/>
                <a:gd name="T80" fmla="*/ 61 w 106"/>
                <a:gd name="T81" fmla="*/ 75 h 132"/>
                <a:gd name="T82" fmla="*/ 61 w 106"/>
                <a:gd name="T83" fmla="*/ 75 h 132"/>
                <a:gd name="T84" fmla="*/ 53 w 106"/>
                <a:gd name="T85" fmla="*/ 70 h 132"/>
                <a:gd name="T86" fmla="*/ 51 w 106"/>
                <a:gd name="T87" fmla="*/ 59 h 132"/>
                <a:gd name="T88" fmla="*/ 53 w 106"/>
                <a:gd name="T89" fmla="*/ 48 h 132"/>
                <a:gd name="T90" fmla="*/ 56 w 106"/>
                <a:gd name="T91" fmla="*/ 43 h 132"/>
                <a:gd name="T92" fmla="*/ 62 w 106"/>
                <a:gd name="T93" fmla="*/ 40 h 132"/>
                <a:gd name="T94" fmla="*/ 63 w 106"/>
                <a:gd name="T95" fmla="*/ 38 h 132"/>
                <a:gd name="T96" fmla="*/ 72 w 106"/>
                <a:gd name="T97" fmla="*/ 33 h 132"/>
                <a:gd name="T98" fmla="*/ 80 w 106"/>
                <a:gd name="T99" fmla="*/ 30 h 132"/>
                <a:gd name="T100" fmla="*/ 85 w 106"/>
                <a:gd name="T101" fmla="*/ 13 h 132"/>
                <a:gd name="T102" fmla="*/ 84 w 106"/>
                <a:gd name="T103" fmla="*/ 9 h 132"/>
                <a:gd name="T104" fmla="*/ 92 w 106"/>
                <a:gd name="T105" fmla="*/ 8 h 132"/>
                <a:gd name="T106" fmla="*/ 91 w 106"/>
                <a:gd name="T107" fmla="*/ 7 h 132"/>
                <a:gd name="T108" fmla="*/ 89 w 106"/>
                <a:gd name="T109" fmla="*/ 6 h 132"/>
                <a:gd name="T110" fmla="*/ 95 w 106"/>
                <a:gd name="T111" fmla="*/ 5 h 132"/>
                <a:gd name="T112" fmla="*/ 92 w 106"/>
                <a:gd name="T113" fmla="*/ 5 h 132"/>
                <a:gd name="T114" fmla="*/ 97 w 106"/>
                <a:gd name="T115" fmla="*/ 4 h 132"/>
                <a:gd name="T116" fmla="*/ 105 w 106"/>
                <a:gd name="T117" fmla="*/ 4 h 132"/>
                <a:gd name="T118" fmla="*/ 87 w 106"/>
                <a:gd name="T119" fmla="*/ 3 h 132"/>
                <a:gd name="T120" fmla="*/ 104 w 106"/>
                <a:gd name="T121" fmla="*/ 3 h 132"/>
                <a:gd name="T122" fmla="*/ 98 w 106"/>
                <a:gd name="T123" fmla="*/ 2 h 132"/>
                <a:gd name="T124" fmla="*/ 105 w 106"/>
                <a:gd name="T1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" h="132">
                  <a:moveTo>
                    <a:pt x="14" y="132"/>
                  </a:moveTo>
                  <a:lnTo>
                    <a:pt x="13" y="132"/>
                  </a:lnTo>
                  <a:lnTo>
                    <a:pt x="14" y="132"/>
                  </a:lnTo>
                  <a:close/>
                  <a:moveTo>
                    <a:pt x="39" y="130"/>
                  </a:moveTo>
                  <a:lnTo>
                    <a:pt x="39" y="130"/>
                  </a:lnTo>
                  <a:lnTo>
                    <a:pt x="39" y="130"/>
                  </a:lnTo>
                  <a:close/>
                  <a:moveTo>
                    <a:pt x="39" y="130"/>
                  </a:move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close/>
                  <a:moveTo>
                    <a:pt x="38" y="130"/>
                  </a:moveTo>
                  <a:lnTo>
                    <a:pt x="38" y="129"/>
                  </a:lnTo>
                  <a:lnTo>
                    <a:pt x="38" y="130"/>
                  </a:lnTo>
                  <a:close/>
                  <a:moveTo>
                    <a:pt x="38" y="129"/>
                  </a:moveTo>
                  <a:lnTo>
                    <a:pt x="38" y="130"/>
                  </a:lnTo>
                  <a:lnTo>
                    <a:pt x="38" y="129"/>
                  </a:lnTo>
                  <a:close/>
                  <a:moveTo>
                    <a:pt x="39" y="129"/>
                  </a:moveTo>
                  <a:lnTo>
                    <a:pt x="38" y="129"/>
                  </a:lnTo>
                  <a:lnTo>
                    <a:pt x="39" y="129"/>
                  </a:lnTo>
                  <a:close/>
                  <a:moveTo>
                    <a:pt x="32" y="129"/>
                  </a:moveTo>
                  <a:lnTo>
                    <a:pt x="32" y="129"/>
                  </a:lnTo>
                  <a:lnTo>
                    <a:pt x="32" y="129"/>
                  </a:lnTo>
                  <a:lnTo>
                    <a:pt x="32" y="129"/>
                  </a:lnTo>
                  <a:close/>
                  <a:moveTo>
                    <a:pt x="36" y="129"/>
                  </a:move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close/>
                  <a:moveTo>
                    <a:pt x="36" y="129"/>
                  </a:moveTo>
                  <a:lnTo>
                    <a:pt x="37" y="129"/>
                  </a:lnTo>
                  <a:lnTo>
                    <a:pt x="37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38" y="129"/>
                  </a:lnTo>
                  <a:close/>
                  <a:moveTo>
                    <a:pt x="36" y="128"/>
                  </a:moveTo>
                  <a:lnTo>
                    <a:pt x="36" y="129"/>
                  </a:lnTo>
                  <a:lnTo>
                    <a:pt x="36" y="128"/>
                  </a:lnTo>
                  <a:lnTo>
                    <a:pt x="36" y="129"/>
                  </a:lnTo>
                  <a:lnTo>
                    <a:pt x="36" y="128"/>
                  </a:lnTo>
                  <a:close/>
                  <a:moveTo>
                    <a:pt x="33" y="128"/>
                  </a:moveTo>
                  <a:lnTo>
                    <a:pt x="32" y="128"/>
                  </a:lnTo>
                  <a:lnTo>
                    <a:pt x="33" y="128"/>
                  </a:lnTo>
                  <a:close/>
                  <a:moveTo>
                    <a:pt x="38" y="128"/>
                  </a:moveTo>
                  <a:lnTo>
                    <a:pt x="38" y="129"/>
                  </a:lnTo>
                  <a:lnTo>
                    <a:pt x="38" y="128"/>
                  </a:lnTo>
                  <a:close/>
                  <a:moveTo>
                    <a:pt x="13" y="125"/>
                  </a:moveTo>
                  <a:lnTo>
                    <a:pt x="13" y="125"/>
                  </a:lnTo>
                  <a:lnTo>
                    <a:pt x="13" y="125"/>
                  </a:lnTo>
                  <a:close/>
                  <a:moveTo>
                    <a:pt x="44" y="119"/>
                  </a:moveTo>
                  <a:lnTo>
                    <a:pt x="44" y="119"/>
                  </a:lnTo>
                  <a:lnTo>
                    <a:pt x="44" y="119"/>
                  </a:lnTo>
                  <a:close/>
                  <a:moveTo>
                    <a:pt x="45" y="119"/>
                  </a:moveTo>
                  <a:lnTo>
                    <a:pt x="44" y="119"/>
                  </a:lnTo>
                  <a:lnTo>
                    <a:pt x="45" y="119"/>
                  </a:lnTo>
                  <a:lnTo>
                    <a:pt x="45" y="118"/>
                  </a:lnTo>
                  <a:lnTo>
                    <a:pt x="45" y="119"/>
                  </a:lnTo>
                  <a:close/>
                  <a:moveTo>
                    <a:pt x="45" y="117"/>
                  </a:moveTo>
                  <a:lnTo>
                    <a:pt x="46" y="117"/>
                  </a:lnTo>
                  <a:lnTo>
                    <a:pt x="45" y="117"/>
                  </a:lnTo>
                  <a:close/>
                  <a:moveTo>
                    <a:pt x="60" y="117"/>
                  </a:moveTo>
                  <a:lnTo>
                    <a:pt x="60" y="116"/>
                  </a:lnTo>
                  <a:lnTo>
                    <a:pt x="60" y="117"/>
                  </a:lnTo>
                  <a:close/>
                  <a:moveTo>
                    <a:pt x="61" y="117"/>
                  </a:moveTo>
                  <a:lnTo>
                    <a:pt x="61" y="116"/>
                  </a:lnTo>
                  <a:lnTo>
                    <a:pt x="61" y="117"/>
                  </a:lnTo>
                  <a:close/>
                  <a:moveTo>
                    <a:pt x="10" y="116"/>
                  </a:moveTo>
                  <a:lnTo>
                    <a:pt x="9" y="116"/>
                  </a:lnTo>
                  <a:lnTo>
                    <a:pt x="10" y="116"/>
                  </a:lnTo>
                  <a:close/>
                  <a:moveTo>
                    <a:pt x="45" y="116"/>
                  </a:move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close/>
                  <a:moveTo>
                    <a:pt x="45" y="115"/>
                  </a:moveTo>
                  <a:lnTo>
                    <a:pt x="44" y="115"/>
                  </a:lnTo>
                  <a:lnTo>
                    <a:pt x="45" y="115"/>
                  </a:lnTo>
                  <a:lnTo>
                    <a:pt x="44" y="115"/>
                  </a:lnTo>
                  <a:lnTo>
                    <a:pt x="45" y="115"/>
                  </a:lnTo>
                  <a:close/>
                  <a:moveTo>
                    <a:pt x="57" y="114"/>
                  </a:move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close/>
                  <a:moveTo>
                    <a:pt x="45" y="114"/>
                  </a:move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close/>
                  <a:moveTo>
                    <a:pt x="8" y="114"/>
                  </a:moveTo>
                  <a:lnTo>
                    <a:pt x="8" y="114"/>
                  </a:lnTo>
                  <a:lnTo>
                    <a:pt x="8" y="114"/>
                  </a:lnTo>
                  <a:close/>
                  <a:moveTo>
                    <a:pt x="45" y="113"/>
                  </a:moveTo>
                  <a:lnTo>
                    <a:pt x="45" y="114"/>
                  </a:lnTo>
                  <a:lnTo>
                    <a:pt x="45" y="113"/>
                  </a:lnTo>
                  <a:close/>
                  <a:moveTo>
                    <a:pt x="8" y="113"/>
                  </a:moveTo>
                  <a:lnTo>
                    <a:pt x="8" y="113"/>
                  </a:lnTo>
                  <a:lnTo>
                    <a:pt x="8" y="113"/>
                  </a:lnTo>
                  <a:close/>
                  <a:moveTo>
                    <a:pt x="46" y="112"/>
                  </a:moveTo>
                  <a:lnTo>
                    <a:pt x="46" y="112"/>
                  </a:lnTo>
                  <a:lnTo>
                    <a:pt x="46" y="112"/>
                  </a:lnTo>
                  <a:close/>
                  <a:moveTo>
                    <a:pt x="6" y="111"/>
                  </a:moveTo>
                  <a:lnTo>
                    <a:pt x="6" y="111"/>
                  </a:lnTo>
                  <a:lnTo>
                    <a:pt x="6" y="111"/>
                  </a:lnTo>
                  <a:close/>
                  <a:moveTo>
                    <a:pt x="8" y="111"/>
                  </a:moveTo>
                  <a:lnTo>
                    <a:pt x="7" y="111"/>
                  </a:lnTo>
                  <a:lnTo>
                    <a:pt x="8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5" y="111"/>
                  </a:moveTo>
                  <a:lnTo>
                    <a:pt x="46" y="111"/>
                  </a:lnTo>
                  <a:lnTo>
                    <a:pt x="45" y="111"/>
                  </a:lnTo>
                  <a:close/>
                  <a:moveTo>
                    <a:pt x="46" y="111"/>
                  </a:moveTo>
                  <a:lnTo>
                    <a:pt x="47" y="111"/>
                  </a:lnTo>
                  <a:lnTo>
                    <a:pt x="46" y="111"/>
                  </a:lnTo>
                  <a:close/>
                  <a:moveTo>
                    <a:pt x="6" y="111"/>
                  </a:moveTo>
                  <a:lnTo>
                    <a:pt x="6" y="110"/>
                  </a:lnTo>
                  <a:lnTo>
                    <a:pt x="6" y="111"/>
                  </a:lnTo>
                  <a:close/>
                  <a:moveTo>
                    <a:pt x="45" y="110"/>
                  </a:moveTo>
                  <a:lnTo>
                    <a:pt x="45" y="110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0"/>
                  </a:lnTo>
                  <a:close/>
                  <a:moveTo>
                    <a:pt x="46" y="110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7" y="110"/>
                  </a:lnTo>
                  <a:close/>
                  <a:moveTo>
                    <a:pt x="6" y="110"/>
                  </a:move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10"/>
                  </a:move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6" y="110"/>
                  </a:moveTo>
                  <a:lnTo>
                    <a:pt x="5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09"/>
                  </a:moveTo>
                  <a:lnTo>
                    <a:pt x="6" y="109"/>
                  </a:lnTo>
                  <a:lnTo>
                    <a:pt x="6" y="109"/>
                  </a:lnTo>
                  <a:close/>
                  <a:moveTo>
                    <a:pt x="5" y="109"/>
                  </a:moveTo>
                  <a:lnTo>
                    <a:pt x="6" y="109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10"/>
                  </a:lnTo>
                  <a:lnTo>
                    <a:pt x="5" y="109"/>
                  </a:lnTo>
                  <a:close/>
                  <a:moveTo>
                    <a:pt x="47" y="109"/>
                  </a:moveTo>
                  <a:lnTo>
                    <a:pt x="46" y="109"/>
                  </a:lnTo>
                  <a:lnTo>
                    <a:pt x="47" y="109"/>
                  </a:lnTo>
                  <a:close/>
                  <a:moveTo>
                    <a:pt x="63" y="109"/>
                  </a:moveTo>
                  <a:lnTo>
                    <a:pt x="64" y="109"/>
                  </a:lnTo>
                  <a:lnTo>
                    <a:pt x="63" y="109"/>
                  </a:lnTo>
                  <a:close/>
                  <a:moveTo>
                    <a:pt x="5" y="108"/>
                  </a:moveTo>
                  <a:lnTo>
                    <a:pt x="6" y="108"/>
                  </a:lnTo>
                  <a:lnTo>
                    <a:pt x="5" y="108"/>
                  </a:lnTo>
                  <a:lnTo>
                    <a:pt x="5" y="109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9"/>
                  </a:lnTo>
                  <a:lnTo>
                    <a:pt x="6" y="108"/>
                  </a:lnTo>
                  <a:close/>
                  <a:moveTo>
                    <a:pt x="46" y="108"/>
                  </a:move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7"/>
                  </a:lnTo>
                  <a:lnTo>
                    <a:pt x="6" y="108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6" y="107"/>
                  </a:moveTo>
                  <a:lnTo>
                    <a:pt x="6" y="108"/>
                  </a:lnTo>
                  <a:lnTo>
                    <a:pt x="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46" y="107"/>
                  </a:moveTo>
                  <a:lnTo>
                    <a:pt x="47" y="107"/>
                  </a:lnTo>
                  <a:lnTo>
                    <a:pt x="46" y="107"/>
                  </a:lnTo>
                  <a:lnTo>
                    <a:pt x="47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5" y="107"/>
                  </a:move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5" y="106"/>
                  </a:moveTo>
                  <a:lnTo>
                    <a:pt x="6" y="106"/>
                  </a:lnTo>
                  <a:lnTo>
                    <a:pt x="5" y="106"/>
                  </a:lnTo>
                  <a:close/>
                  <a:moveTo>
                    <a:pt x="6" y="106"/>
                  </a:move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47" y="106"/>
                  </a:moveTo>
                  <a:lnTo>
                    <a:pt x="47" y="106"/>
                  </a:lnTo>
                  <a:lnTo>
                    <a:pt x="47" y="106"/>
                  </a:lnTo>
                  <a:close/>
                  <a:moveTo>
                    <a:pt x="5" y="106"/>
                  </a:moveTo>
                  <a:lnTo>
                    <a:pt x="4" y="106"/>
                  </a:lnTo>
                  <a:lnTo>
                    <a:pt x="5" y="106"/>
                  </a:lnTo>
                  <a:close/>
                  <a:moveTo>
                    <a:pt x="46" y="106"/>
                  </a:moveTo>
                  <a:lnTo>
                    <a:pt x="46" y="106"/>
                  </a:lnTo>
                  <a:lnTo>
                    <a:pt x="46" y="106"/>
                  </a:lnTo>
                  <a:close/>
                  <a:moveTo>
                    <a:pt x="66" y="106"/>
                  </a:move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5" y="106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6" y="106"/>
                  </a:lnTo>
                  <a:lnTo>
                    <a:pt x="66" y="105"/>
                  </a:lnTo>
                  <a:lnTo>
                    <a:pt x="66" y="106"/>
                  </a:lnTo>
                  <a:close/>
                  <a:moveTo>
                    <a:pt x="5" y="106"/>
                  </a:moveTo>
                  <a:lnTo>
                    <a:pt x="5" y="105"/>
                  </a:lnTo>
                  <a:lnTo>
                    <a:pt x="5" y="106"/>
                  </a:lnTo>
                  <a:close/>
                  <a:moveTo>
                    <a:pt x="6" y="104"/>
                  </a:moveTo>
                  <a:lnTo>
                    <a:pt x="6" y="105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6" y="104"/>
                  </a:moveTo>
                  <a:lnTo>
                    <a:pt x="7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3" y="104"/>
                  </a:moveTo>
                  <a:lnTo>
                    <a:pt x="3" y="104"/>
                  </a:lnTo>
                  <a:lnTo>
                    <a:pt x="3" y="104"/>
                  </a:lnTo>
                  <a:close/>
                  <a:moveTo>
                    <a:pt x="5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6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3" y="104"/>
                  </a:moveTo>
                  <a:lnTo>
                    <a:pt x="4" y="104"/>
                  </a:lnTo>
                  <a:lnTo>
                    <a:pt x="3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3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4" y="103"/>
                  </a:moveTo>
                  <a:lnTo>
                    <a:pt x="3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close/>
                  <a:moveTo>
                    <a:pt x="47" y="103"/>
                  </a:move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close/>
                  <a:moveTo>
                    <a:pt x="49" y="102"/>
                  </a:move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close/>
                  <a:moveTo>
                    <a:pt x="48" y="103"/>
                  </a:moveTo>
                  <a:lnTo>
                    <a:pt x="48" y="102"/>
                  </a:ln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close/>
                  <a:moveTo>
                    <a:pt x="48" y="102"/>
                  </a:move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5" y="102"/>
                  </a:moveTo>
                  <a:lnTo>
                    <a:pt x="5" y="103"/>
                  </a:lnTo>
                  <a:lnTo>
                    <a:pt x="4" y="103"/>
                  </a:lnTo>
                  <a:lnTo>
                    <a:pt x="5" y="103"/>
                  </a:lnTo>
                  <a:lnTo>
                    <a:pt x="4" y="103"/>
                  </a:lnTo>
                  <a:lnTo>
                    <a:pt x="4" y="102"/>
                  </a:lnTo>
                  <a:lnTo>
                    <a:pt x="5" y="102"/>
                  </a:lnTo>
                  <a:close/>
                  <a:moveTo>
                    <a:pt x="4" y="102"/>
                  </a:moveTo>
                  <a:lnTo>
                    <a:pt x="4" y="103"/>
                  </a:lnTo>
                  <a:lnTo>
                    <a:pt x="4" y="102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49" y="102"/>
                  </a:moveTo>
                  <a:lnTo>
                    <a:pt x="48" y="102"/>
                  </a:lnTo>
                  <a:lnTo>
                    <a:pt x="49" y="102"/>
                  </a:lnTo>
                  <a:close/>
                  <a:moveTo>
                    <a:pt x="47" y="102"/>
                  </a:moveTo>
                  <a:lnTo>
                    <a:pt x="47" y="101"/>
                  </a:lnTo>
                  <a:lnTo>
                    <a:pt x="47" y="102"/>
                  </a:lnTo>
                  <a:close/>
                  <a:moveTo>
                    <a:pt x="6" y="102"/>
                  </a:moveTo>
                  <a:lnTo>
                    <a:pt x="6" y="101"/>
                  </a:lnTo>
                  <a:lnTo>
                    <a:pt x="6" y="102"/>
                  </a:lnTo>
                  <a:close/>
                  <a:moveTo>
                    <a:pt x="48" y="101"/>
                  </a:moveTo>
                  <a:lnTo>
                    <a:pt x="48" y="102"/>
                  </a:lnTo>
                  <a:lnTo>
                    <a:pt x="48" y="101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7" y="101"/>
                  </a:lnTo>
                  <a:lnTo>
                    <a:pt x="47" y="102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8" y="102"/>
                  </a:lnTo>
                  <a:close/>
                  <a:moveTo>
                    <a:pt x="4" y="101"/>
                  </a:moveTo>
                  <a:lnTo>
                    <a:pt x="3" y="101"/>
                  </a:lnTo>
                  <a:lnTo>
                    <a:pt x="4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" y="100"/>
                  </a:moveTo>
                  <a:lnTo>
                    <a:pt x="4" y="101"/>
                  </a:lnTo>
                  <a:lnTo>
                    <a:pt x="4" y="100"/>
                  </a:lnTo>
                  <a:close/>
                  <a:moveTo>
                    <a:pt x="47" y="100"/>
                  </a:moveTo>
                  <a:lnTo>
                    <a:pt x="47" y="101"/>
                  </a:lnTo>
                  <a:lnTo>
                    <a:pt x="47" y="100"/>
                  </a:lnTo>
                  <a:close/>
                  <a:moveTo>
                    <a:pt x="5" y="100"/>
                  </a:moveTo>
                  <a:lnTo>
                    <a:pt x="5" y="101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close/>
                  <a:moveTo>
                    <a:pt x="66" y="100"/>
                  </a:moveTo>
                  <a:lnTo>
                    <a:pt x="67" y="100"/>
                  </a:lnTo>
                  <a:lnTo>
                    <a:pt x="67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0"/>
                  </a:lnTo>
                  <a:lnTo>
                    <a:pt x="66" y="100"/>
                  </a:lnTo>
                  <a:close/>
                  <a:moveTo>
                    <a:pt x="46" y="100"/>
                  </a:moveTo>
                  <a:lnTo>
                    <a:pt x="46" y="100"/>
                  </a:lnTo>
                  <a:lnTo>
                    <a:pt x="46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8" y="100"/>
                  </a:moveTo>
                  <a:lnTo>
                    <a:pt x="49" y="100"/>
                  </a:lnTo>
                  <a:lnTo>
                    <a:pt x="48" y="100"/>
                  </a:lnTo>
                  <a:close/>
                  <a:moveTo>
                    <a:pt x="49" y="99"/>
                  </a:moveTo>
                  <a:lnTo>
                    <a:pt x="49" y="99"/>
                  </a:lnTo>
                  <a:lnTo>
                    <a:pt x="49" y="99"/>
                  </a:lnTo>
                  <a:close/>
                  <a:moveTo>
                    <a:pt x="48" y="99"/>
                  </a:moveTo>
                  <a:lnTo>
                    <a:pt x="48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8" y="99"/>
                  </a:lnTo>
                  <a:close/>
                  <a:moveTo>
                    <a:pt x="2" y="99"/>
                  </a:moveTo>
                  <a:lnTo>
                    <a:pt x="2" y="99"/>
                  </a:lnTo>
                  <a:lnTo>
                    <a:pt x="2" y="99"/>
                  </a:lnTo>
                  <a:close/>
                  <a:moveTo>
                    <a:pt x="2" y="98"/>
                  </a:moveTo>
                  <a:lnTo>
                    <a:pt x="2" y="98"/>
                  </a:lnTo>
                  <a:lnTo>
                    <a:pt x="2" y="98"/>
                  </a:lnTo>
                  <a:close/>
                  <a:moveTo>
                    <a:pt x="2" y="98"/>
                  </a:moveTo>
                  <a:lnTo>
                    <a:pt x="2" y="97"/>
                  </a:lnTo>
                  <a:lnTo>
                    <a:pt x="2" y="98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4" y="97"/>
                  </a:moveTo>
                  <a:lnTo>
                    <a:pt x="43" y="97"/>
                  </a:lnTo>
                  <a:lnTo>
                    <a:pt x="44" y="97"/>
                  </a:lnTo>
                  <a:close/>
                  <a:moveTo>
                    <a:pt x="42" y="97"/>
                  </a:move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3" y="97"/>
                  </a:moveTo>
                  <a:lnTo>
                    <a:pt x="43" y="97"/>
                  </a:lnTo>
                  <a:lnTo>
                    <a:pt x="43" y="97"/>
                  </a:lnTo>
                  <a:close/>
                  <a:moveTo>
                    <a:pt x="50" y="97"/>
                  </a:moveTo>
                  <a:lnTo>
                    <a:pt x="49" y="97"/>
                  </a:lnTo>
                  <a:lnTo>
                    <a:pt x="50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6"/>
                  </a:lnTo>
                  <a:lnTo>
                    <a:pt x="2" y="97"/>
                  </a:lnTo>
                  <a:close/>
                  <a:moveTo>
                    <a:pt x="52" y="96"/>
                  </a:moveTo>
                  <a:lnTo>
                    <a:pt x="52" y="97"/>
                  </a:lnTo>
                  <a:lnTo>
                    <a:pt x="52" y="96"/>
                  </a:lnTo>
                  <a:close/>
                  <a:moveTo>
                    <a:pt x="51" y="96"/>
                  </a:moveTo>
                  <a:lnTo>
                    <a:pt x="50" y="96"/>
                  </a:lnTo>
                  <a:lnTo>
                    <a:pt x="51" y="96"/>
                  </a:lnTo>
                  <a:close/>
                  <a:moveTo>
                    <a:pt x="50" y="96"/>
                  </a:moveTo>
                  <a:lnTo>
                    <a:pt x="50" y="96"/>
                  </a:lnTo>
                  <a:lnTo>
                    <a:pt x="50" y="96"/>
                  </a:lnTo>
                  <a:close/>
                  <a:moveTo>
                    <a:pt x="1" y="96"/>
                  </a:moveTo>
                  <a:lnTo>
                    <a:pt x="1" y="96"/>
                  </a:lnTo>
                  <a:lnTo>
                    <a:pt x="1" y="96"/>
                  </a:lnTo>
                  <a:close/>
                  <a:moveTo>
                    <a:pt x="51" y="96"/>
                  </a:move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1" y="96"/>
                  </a:move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6" y="96"/>
                  </a:moveTo>
                  <a:lnTo>
                    <a:pt x="56" y="95"/>
                  </a:lnTo>
                  <a:lnTo>
                    <a:pt x="56" y="96"/>
                  </a:lnTo>
                  <a:close/>
                  <a:moveTo>
                    <a:pt x="52" y="96"/>
                  </a:move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close/>
                  <a:moveTo>
                    <a:pt x="1" y="95"/>
                  </a:moveTo>
                  <a:lnTo>
                    <a:pt x="2" y="95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2" y="95"/>
                  </a:lnTo>
                  <a:lnTo>
                    <a:pt x="2" y="96"/>
                  </a:lnTo>
                  <a:lnTo>
                    <a:pt x="1" y="96"/>
                  </a:lnTo>
                  <a:lnTo>
                    <a:pt x="1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4" y="95"/>
                  </a:moveTo>
                  <a:lnTo>
                    <a:pt x="54" y="95"/>
                  </a:lnTo>
                  <a:lnTo>
                    <a:pt x="54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3" y="95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3" y="95"/>
                  </a:lnTo>
                  <a:close/>
                  <a:moveTo>
                    <a:pt x="54" y="94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4"/>
                  </a:lnTo>
                  <a:close/>
                  <a:moveTo>
                    <a:pt x="0" y="95"/>
                  </a:moveTo>
                  <a:lnTo>
                    <a:pt x="0" y="94"/>
                  </a:lnTo>
                  <a:lnTo>
                    <a:pt x="0" y="95"/>
                  </a:lnTo>
                  <a:close/>
                  <a:moveTo>
                    <a:pt x="54" y="95"/>
                  </a:moveTo>
                  <a:lnTo>
                    <a:pt x="54" y="94"/>
                  </a:lnTo>
                  <a:lnTo>
                    <a:pt x="54" y="95"/>
                  </a:lnTo>
                  <a:close/>
                  <a:moveTo>
                    <a:pt x="53" y="94"/>
                  </a:moveTo>
                  <a:lnTo>
                    <a:pt x="53" y="94"/>
                  </a:lnTo>
                  <a:lnTo>
                    <a:pt x="53" y="94"/>
                  </a:lnTo>
                  <a:close/>
                  <a:moveTo>
                    <a:pt x="58" y="94"/>
                  </a:moveTo>
                  <a:lnTo>
                    <a:pt x="57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7" y="95"/>
                  </a:lnTo>
                  <a:lnTo>
                    <a:pt x="57" y="94"/>
                  </a:lnTo>
                  <a:lnTo>
                    <a:pt x="58" y="94"/>
                  </a:lnTo>
                  <a:close/>
                  <a:moveTo>
                    <a:pt x="56" y="93"/>
                  </a:moveTo>
                  <a:lnTo>
                    <a:pt x="56" y="94"/>
                  </a:lnTo>
                  <a:lnTo>
                    <a:pt x="56" y="93"/>
                  </a:lnTo>
                  <a:lnTo>
                    <a:pt x="56" y="94"/>
                  </a:lnTo>
                  <a:lnTo>
                    <a:pt x="56" y="95"/>
                  </a:lnTo>
                  <a:lnTo>
                    <a:pt x="56" y="94"/>
                  </a:lnTo>
                  <a:lnTo>
                    <a:pt x="56" y="93"/>
                  </a:lnTo>
                  <a:close/>
                  <a:moveTo>
                    <a:pt x="54" y="94"/>
                  </a:moveTo>
                  <a:lnTo>
                    <a:pt x="54" y="93"/>
                  </a:lnTo>
                  <a:lnTo>
                    <a:pt x="54" y="94"/>
                  </a:lnTo>
                  <a:close/>
                  <a:moveTo>
                    <a:pt x="0" y="93"/>
                  </a:moveTo>
                  <a:lnTo>
                    <a:pt x="1" y="93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1" y="94"/>
                  </a:lnTo>
                  <a:lnTo>
                    <a:pt x="1" y="95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0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8" y="92"/>
                  </a:lnTo>
                  <a:lnTo>
                    <a:pt x="58" y="93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9" y="92"/>
                  </a:moveTo>
                  <a:lnTo>
                    <a:pt x="59" y="92"/>
                  </a:lnTo>
                  <a:lnTo>
                    <a:pt x="59" y="92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1"/>
                  </a:lnTo>
                  <a:close/>
                  <a:moveTo>
                    <a:pt x="61" y="92"/>
                  </a:moveTo>
                  <a:lnTo>
                    <a:pt x="61" y="91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1" y="92"/>
                  </a:ln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1" y="91"/>
                  </a:moveTo>
                  <a:lnTo>
                    <a:pt x="60" y="91"/>
                  </a:lnTo>
                  <a:lnTo>
                    <a:pt x="61" y="91"/>
                  </a:lnTo>
                  <a:close/>
                  <a:moveTo>
                    <a:pt x="60" y="91"/>
                  </a:move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1"/>
                  </a:lnTo>
                  <a:lnTo>
                    <a:pt x="60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3" y="91"/>
                  </a:moveTo>
                  <a:lnTo>
                    <a:pt x="62" y="91"/>
                  </a:lnTo>
                  <a:lnTo>
                    <a:pt x="63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2" y="90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0"/>
                  </a:lnTo>
                  <a:close/>
                  <a:moveTo>
                    <a:pt x="60" y="91"/>
                  </a:moveTo>
                  <a:lnTo>
                    <a:pt x="60" y="90"/>
                  </a:lnTo>
                  <a:lnTo>
                    <a:pt x="60" y="91"/>
                  </a:lnTo>
                  <a:close/>
                  <a:moveTo>
                    <a:pt x="62" y="90"/>
                  </a:moveTo>
                  <a:lnTo>
                    <a:pt x="61" y="91"/>
                  </a:lnTo>
                  <a:lnTo>
                    <a:pt x="62" y="91"/>
                  </a:lnTo>
                  <a:lnTo>
                    <a:pt x="61" y="91"/>
                  </a:lnTo>
                  <a:lnTo>
                    <a:pt x="62" y="90"/>
                  </a:lnTo>
                  <a:close/>
                  <a:moveTo>
                    <a:pt x="61" y="90"/>
                  </a:moveTo>
                  <a:lnTo>
                    <a:pt x="60" y="90"/>
                  </a:lnTo>
                  <a:lnTo>
                    <a:pt x="61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1"/>
                  </a:ln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0" y="90"/>
                  </a:moveTo>
                  <a:lnTo>
                    <a:pt x="60" y="90"/>
                  </a:lnTo>
                  <a:lnTo>
                    <a:pt x="60" y="90"/>
                  </a:lnTo>
                  <a:close/>
                  <a:moveTo>
                    <a:pt x="62" y="89"/>
                  </a:moveTo>
                  <a:lnTo>
                    <a:pt x="62" y="90"/>
                  </a:lnTo>
                  <a:lnTo>
                    <a:pt x="62" y="89"/>
                  </a:lnTo>
                  <a:lnTo>
                    <a:pt x="62" y="90"/>
                  </a:lnTo>
                  <a:lnTo>
                    <a:pt x="62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0" y="89"/>
                  </a:moveTo>
                  <a:lnTo>
                    <a:pt x="59" y="89"/>
                  </a:lnTo>
                  <a:lnTo>
                    <a:pt x="60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3" y="89"/>
                  </a:moveTo>
                  <a:lnTo>
                    <a:pt x="64" y="89"/>
                  </a:lnTo>
                  <a:lnTo>
                    <a:pt x="63" y="89"/>
                  </a:lnTo>
                  <a:close/>
                  <a:moveTo>
                    <a:pt x="65" y="89"/>
                  </a:moveTo>
                  <a:lnTo>
                    <a:pt x="66" y="89"/>
                  </a:lnTo>
                  <a:lnTo>
                    <a:pt x="65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lnTo>
                    <a:pt x="64" y="88"/>
                  </a:lnTo>
                  <a:lnTo>
                    <a:pt x="64" y="89"/>
                  </a:lnTo>
                  <a:close/>
                  <a:moveTo>
                    <a:pt x="64" y="88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close/>
                  <a:moveTo>
                    <a:pt x="59" y="88"/>
                  </a:moveTo>
                  <a:lnTo>
                    <a:pt x="59" y="88"/>
                  </a:lnTo>
                  <a:lnTo>
                    <a:pt x="59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7" y="88"/>
                  </a:move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7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59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8" y="88"/>
                  </a:moveTo>
                  <a:lnTo>
                    <a:pt x="57" y="88"/>
                  </a:lnTo>
                  <a:lnTo>
                    <a:pt x="58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1" y="87"/>
                  </a:moveTo>
                  <a:lnTo>
                    <a:pt x="61" y="88"/>
                  </a:lnTo>
                  <a:lnTo>
                    <a:pt x="61" y="87"/>
                  </a:lnTo>
                  <a:lnTo>
                    <a:pt x="61" y="88"/>
                  </a:lnTo>
                  <a:lnTo>
                    <a:pt x="61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8"/>
                  </a:lnTo>
                  <a:lnTo>
                    <a:pt x="62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1" y="87"/>
                  </a:moveTo>
                  <a:lnTo>
                    <a:pt x="61" y="87"/>
                  </a:lnTo>
                  <a:lnTo>
                    <a:pt x="61" y="87"/>
                  </a:lnTo>
                  <a:close/>
                  <a:moveTo>
                    <a:pt x="63" y="87"/>
                  </a:moveTo>
                  <a:lnTo>
                    <a:pt x="62" y="87"/>
                  </a:lnTo>
                  <a:lnTo>
                    <a:pt x="63" y="87"/>
                  </a:lnTo>
                  <a:close/>
                  <a:moveTo>
                    <a:pt x="60" y="87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7"/>
                  </a:lnTo>
                  <a:close/>
                  <a:moveTo>
                    <a:pt x="61" y="87"/>
                  </a:move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close/>
                  <a:moveTo>
                    <a:pt x="60" y="87"/>
                  </a:moveTo>
                  <a:lnTo>
                    <a:pt x="61" y="87"/>
                  </a:lnTo>
                  <a:lnTo>
                    <a:pt x="60" y="87"/>
                  </a:lnTo>
                  <a:close/>
                  <a:moveTo>
                    <a:pt x="62" y="87"/>
                  </a:moveTo>
                  <a:lnTo>
                    <a:pt x="61" y="87"/>
                  </a:lnTo>
                  <a:lnTo>
                    <a:pt x="62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0" y="87"/>
                  </a:moveTo>
                  <a:lnTo>
                    <a:pt x="60" y="87"/>
                  </a:lnTo>
                  <a:lnTo>
                    <a:pt x="60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4" y="87"/>
                  </a:moveTo>
                  <a:lnTo>
                    <a:pt x="64" y="87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close/>
                  <a:moveTo>
                    <a:pt x="69" y="87"/>
                  </a:moveTo>
                  <a:lnTo>
                    <a:pt x="68" y="87"/>
                  </a:lnTo>
                  <a:lnTo>
                    <a:pt x="68" y="86"/>
                  </a:lnTo>
                  <a:lnTo>
                    <a:pt x="69" y="86"/>
                  </a:lnTo>
                  <a:lnTo>
                    <a:pt x="69" y="87"/>
                  </a:lnTo>
                  <a:close/>
                  <a:moveTo>
                    <a:pt x="62" y="86"/>
                  </a:moveTo>
                  <a:lnTo>
                    <a:pt x="62" y="87"/>
                  </a:lnTo>
                  <a:lnTo>
                    <a:pt x="62" y="86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6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7"/>
                  </a:lnTo>
                  <a:close/>
                  <a:moveTo>
                    <a:pt x="63" y="86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6"/>
                  </a:lnTo>
                  <a:close/>
                  <a:moveTo>
                    <a:pt x="60" y="87"/>
                  </a:moveTo>
                  <a:lnTo>
                    <a:pt x="60" y="86"/>
                  </a:lnTo>
                  <a:lnTo>
                    <a:pt x="60" y="87"/>
                  </a:lnTo>
                  <a:close/>
                  <a:moveTo>
                    <a:pt x="60" y="86"/>
                  </a:moveTo>
                  <a:lnTo>
                    <a:pt x="60" y="87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6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1" y="86"/>
                  </a:lnTo>
                  <a:lnTo>
                    <a:pt x="62" y="86"/>
                  </a:lnTo>
                  <a:close/>
                  <a:moveTo>
                    <a:pt x="63" y="86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3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4" y="86"/>
                  </a:moveTo>
                  <a:lnTo>
                    <a:pt x="64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1" y="86"/>
                  </a:moveTo>
                  <a:lnTo>
                    <a:pt x="60" y="86"/>
                  </a:lnTo>
                  <a:lnTo>
                    <a:pt x="61" y="86"/>
                  </a:lnTo>
                  <a:close/>
                  <a:moveTo>
                    <a:pt x="67" y="86"/>
                  </a:moveTo>
                  <a:lnTo>
                    <a:pt x="68" y="86"/>
                  </a:lnTo>
                  <a:lnTo>
                    <a:pt x="67" y="86"/>
                  </a:lnTo>
                  <a:close/>
                  <a:moveTo>
                    <a:pt x="64" y="86"/>
                  </a:moveTo>
                  <a:lnTo>
                    <a:pt x="63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8" y="86"/>
                  </a:moveTo>
                  <a:lnTo>
                    <a:pt x="67" y="86"/>
                  </a:lnTo>
                  <a:lnTo>
                    <a:pt x="68" y="86"/>
                  </a:lnTo>
                  <a:lnTo>
                    <a:pt x="67" y="86"/>
                  </a:lnTo>
                  <a:lnTo>
                    <a:pt x="68" y="86"/>
                  </a:lnTo>
                  <a:close/>
                  <a:moveTo>
                    <a:pt x="66" y="86"/>
                  </a:moveTo>
                  <a:lnTo>
                    <a:pt x="66" y="85"/>
                  </a:lnTo>
                  <a:lnTo>
                    <a:pt x="67" y="85"/>
                  </a:lnTo>
                  <a:lnTo>
                    <a:pt x="66" y="85"/>
                  </a:lnTo>
                  <a:lnTo>
                    <a:pt x="66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3" y="86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5"/>
                  </a:lnTo>
                  <a:lnTo>
                    <a:pt x="62" y="85"/>
                  </a:lnTo>
                  <a:lnTo>
                    <a:pt x="61" y="85"/>
                  </a:lnTo>
                  <a:lnTo>
                    <a:pt x="62" y="85"/>
                  </a:lnTo>
                  <a:close/>
                  <a:moveTo>
                    <a:pt x="63" y="85"/>
                  </a:moveTo>
                  <a:lnTo>
                    <a:pt x="62" y="85"/>
                  </a:lnTo>
                  <a:lnTo>
                    <a:pt x="63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5" y="85"/>
                  </a:move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close/>
                  <a:moveTo>
                    <a:pt x="68" y="85"/>
                  </a:moveTo>
                  <a:lnTo>
                    <a:pt x="68" y="85"/>
                  </a:lnTo>
                  <a:lnTo>
                    <a:pt x="68" y="85"/>
                  </a:lnTo>
                  <a:close/>
                  <a:moveTo>
                    <a:pt x="66" y="85"/>
                  </a:moveTo>
                  <a:lnTo>
                    <a:pt x="65" y="85"/>
                  </a:lnTo>
                  <a:lnTo>
                    <a:pt x="66" y="85"/>
                  </a:lnTo>
                  <a:lnTo>
                    <a:pt x="65" y="85"/>
                  </a:lnTo>
                  <a:lnTo>
                    <a:pt x="66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2" y="84"/>
                  </a:moveTo>
                  <a:lnTo>
                    <a:pt x="62" y="85"/>
                  </a:lnTo>
                  <a:lnTo>
                    <a:pt x="62" y="84"/>
                  </a:lnTo>
                  <a:close/>
                  <a:moveTo>
                    <a:pt x="66" y="84"/>
                  </a:move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5" y="85"/>
                  </a:lnTo>
                  <a:lnTo>
                    <a:pt x="65" y="84"/>
                  </a:lnTo>
                  <a:lnTo>
                    <a:pt x="65" y="85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3" y="84"/>
                  </a:moveTo>
                  <a:lnTo>
                    <a:pt x="64" y="84"/>
                  </a:lnTo>
                  <a:lnTo>
                    <a:pt x="63" y="84"/>
                  </a:lnTo>
                  <a:lnTo>
                    <a:pt x="64" y="84"/>
                  </a:lnTo>
                  <a:lnTo>
                    <a:pt x="63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5" y="84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7" y="84"/>
                  </a:lnTo>
                  <a:lnTo>
                    <a:pt x="66" y="84"/>
                  </a:lnTo>
                  <a:lnTo>
                    <a:pt x="67" y="84"/>
                  </a:lnTo>
                  <a:lnTo>
                    <a:pt x="66" y="84"/>
                  </a:lnTo>
                  <a:close/>
                  <a:moveTo>
                    <a:pt x="67" y="83"/>
                  </a:moveTo>
                  <a:lnTo>
                    <a:pt x="68" y="83"/>
                  </a:lnTo>
                  <a:lnTo>
                    <a:pt x="67" y="83"/>
                  </a:lnTo>
                  <a:close/>
                  <a:moveTo>
                    <a:pt x="65" y="83"/>
                  </a:moveTo>
                  <a:lnTo>
                    <a:pt x="66" y="83"/>
                  </a:lnTo>
                  <a:lnTo>
                    <a:pt x="65" y="83"/>
                  </a:lnTo>
                  <a:lnTo>
                    <a:pt x="66" y="83"/>
                  </a:lnTo>
                  <a:lnTo>
                    <a:pt x="65" y="83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6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66" y="81"/>
                  </a:moveTo>
                  <a:lnTo>
                    <a:pt x="65" y="82"/>
                  </a:ln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63" y="78"/>
                  </a:moveTo>
                  <a:lnTo>
                    <a:pt x="62" y="78"/>
                  </a:lnTo>
                  <a:lnTo>
                    <a:pt x="63" y="78"/>
                  </a:lnTo>
                  <a:close/>
                  <a:moveTo>
                    <a:pt x="62" y="78"/>
                  </a:moveTo>
                  <a:lnTo>
                    <a:pt x="61" y="78"/>
                  </a:lnTo>
                  <a:lnTo>
                    <a:pt x="62" y="78"/>
                  </a:lnTo>
                  <a:close/>
                  <a:moveTo>
                    <a:pt x="61" y="78"/>
                  </a:move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close/>
                  <a:moveTo>
                    <a:pt x="61" y="77"/>
                  </a:moveTo>
                  <a:lnTo>
                    <a:pt x="61" y="78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1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0" y="77"/>
                  </a:lnTo>
                  <a:lnTo>
                    <a:pt x="61" y="77"/>
                  </a:lnTo>
                  <a:close/>
                  <a:moveTo>
                    <a:pt x="63" y="77"/>
                  </a:moveTo>
                  <a:lnTo>
                    <a:pt x="62" y="77"/>
                  </a:lnTo>
                  <a:lnTo>
                    <a:pt x="63" y="77"/>
                  </a:lnTo>
                  <a:close/>
                  <a:moveTo>
                    <a:pt x="61" y="77"/>
                  </a:move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close/>
                  <a:moveTo>
                    <a:pt x="63" y="76"/>
                  </a:moveTo>
                  <a:lnTo>
                    <a:pt x="63" y="77"/>
                  </a:lnTo>
                  <a:lnTo>
                    <a:pt x="63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2" y="76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close/>
                  <a:moveTo>
                    <a:pt x="61" y="75"/>
                  </a:move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61" y="75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0" y="74"/>
                  </a:move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close/>
                  <a:moveTo>
                    <a:pt x="61" y="74"/>
                  </a:moveTo>
                  <a:lnTo>
                    <a:pt x="61" y="73"/>
                  </a:lnTo>
                  <a:lnTo>
                    <a:pt x="61" y="74"/>
                  </a:lnTo>
                  <a:lnTo>
                    <a:pt x="61" y="73"/>
                  </a:lnTo>
                  <a:lnTo>
                    <a:pt x="61" y="74"/>
                  </a:lnTo>
                  <a:close/>
                  <a:moveTo>
                    <a:pt x="60" y="73"/>
                  </a:moveTo>
                  <a:lnTo>
                    <a:pt x="60" y="74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close/>
                  <a:moveTo>
                    <a:pt x="56" y="72"/>
                  </a:moveTo>
                  <a:lnTo>
                    <a:pt x="56" y="71"/>
                  </a:lnTo>
                  <a:lnTo>
                    <a:pt x="56" y="72"/>
                  </a:lnTo>
                  <a:lnTo>
                    <a:pt x="56" y="71"/>
                  </a:lnTo>
                  <a:lnTo>
                    <a:pt x="56" y="72"/>
                  </a:lnTo>
                  <a:close/>
                  <a:moveTo>
                    <a:pt x="51" y="70"/>
                  </a:moveTo>
                  <a:lnTo>
                    <a:pt x="51" y="70"/>
                  </a:lnTo>
                  <a:lnTo>
                    <a:pt x="51" y="70"/>
                  </a:lnTo>
                  <a:close/>
                  <a:moveTo>
                    <a:pt x="53" y="70"/>
                  </a:moveTo>
                  <a:lnTo>
                    <a:pt x="53" y="70"/>
                  </a:lnTo>
                  <a:lnTo>
                    <a:pt x="53" y="70"/>
                  </a:lnTo>
                  <a:close/>
                  <a:moveTo>
                    <a:pt x="52" y="70"/>
                  </a:moveTo>
                  <a:lnTo>
                    <a:pt x="52" y="70"/>
                  </a:lnTo>
                  <a:lnTo>
                    <a:pt x="52" y="70"/>
                  </a:lnTo>
                  <a:close/>
                  <a:moveTo>
                    <a:pt x="50" y="69"/>
                  </a:moveTo>
                  <a:lnTo>
                    <a:pt x="51" y="69"/>
                  </a:lnTo>
                  <a:lnTo>
                    <a:pt x="50" y="69"/>
                  </a:lnTo>
                  <a:close/>
                  <a:moveTo>
                    <a:pt x="50" y="66"/>
                  </a:moveTo>
                  <a:lnTo>
                    <a:pt x="50" y="67"/>
                  </a:lnTo>
                  <a:lnTo>
                    <a:pt x="50" y="66"/>
                  </a:lnTo>
                  <a:close/>
                  <a:moveTo>
                    <a:pt x="51" y="66"/>
                  </a:moveTo>
                  <a:lnTo>
                    <a:pt x="50" y="66"/>
                  </a:lnTo>
                  <a:lnTo>
                    <a:pt x="51" y="66"/>
                  </a:lnTo>
                  <a:lnTo>
                    <a:pt x="50" y="66"/>
                  </a:lnTo>
                  <a:lnTo>
                    <a:pt x="51" y="66"/>
                  </a:lnTo>
                  <a:close/>
                  <a:moveTo>
                    <a:pt x="50" y="63"/>
                  </a:moveTo>
                  <a:lnTo>
                    <a:pt x="50" y="64"/>
                  </a:lnTo>
                  <a:lnTo>
                    <a:pt x="50" y="63"/>
                  </a:lnTo>
                  <a:close/>
                  <a:moveTo>
                    <a:pt x="51" y="63"/>
                  </a:moveTo>
                  <a:lnTo>
                    <a:pt x="50" y="63"/>
                  </a:lnTo>
                  <a:lnTo>
                    <a:pt x="51" y="63"/>
                  </a:lnTo>
                  <a:lnTo>
                    <a:pt x="50" y="63"/>
                  </a:lnTo>
                  <a:lnTo>
                    <a:pt x="51" y="63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0" y="62"/>
                  </a:moveTo>
                  <a:lnTo>
                    <a:pt x="50" y="62"/>
                  </a:lnTo>
                  <a:lnTo>
                    <a:pt x="50" y="62"/>
                  </a:lnTo>
                  <a:close/>
                  <a:moveTo>
                    <a:pt x="51" y="59"/>
                  </a:moveTo>
                  <a:lnTo>
                    <a:pt x="52" y="59"/>
                  </a:lnTo>
                  <a:lnTo>
                    <a:pt x="52" y="60"/>
                  </a:lnTo>
                  <a:lnTo>
                    <a:pt x="52" y="59"/>
                  </a:lnTo>
                  <a:lnTo>
                    <a:pt x="52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1" y="59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0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51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1" y="58"/>
                  </a:moveTo>
                  <a:lnTo>
                    <a:pt x="51" y="59"/>
                  </a:lnTo>
                  <a:lnTo>
                    <a:pt x="51" y="58"/>
                  </a:lnTo>
                  <a:close/>
                  <a:moveTo>
                    <a:pt x="53" y="57"/>
                  </a:moveTo>
                  <a:lnTo>
                    <a:pt x="53" y="58"/>
                  </a:lnTo>
                  <a:lnTo>
                    <a:pt x="53" y="57"/>
                  </a:lnTo>
                  <a:close/>
                  <a:moveTo>
                    <a:pt x="53" y="54"/>
                  </a:moveTo>
                  <a:lnTo>
                    <a:pt x="52" y="54"/>
                  </a:lnTo>
                  <a:lnTo>
                    <a:pt x="53" y="54"/>
                  </a:lnTo>
                  <a:close/>
                  <a:moveTo>
                    <a:pt x="54" y="53"/>
                  </a:moveTo>
                  <a:lnTo>
                    <a:pt x="53" y="53"/>
                  </a:lnTo>
                  <a:lnTo>
                    <a:pt x="54" y="53"/>
                  </a:lnTo>
                  <a:close/>
                  <a:moveTo>
                    <a:pt x="54" y="51"/>
                  </a:move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1" y="47"/>
                  </a:moveTo>
                  <a:lnTo>
                    <a:pt x="52" y="47"/>
                  </a:lnTo>
                  <a:lnTo>
                    <a:pt x="53" y="47"/>
                  </a:lnTo>
                  <a:lnTo>
                    <a:pt x="53" y="48"/>
                  </a:lnTo>
                  <a:lnTo>
                    <a:pt x="52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9"/>
                  </a:lnTo>
                  <a:lnTo>
                    <a:pt x="52" y="49"/>
                  </a:lnTo>
                  <a:lnTo>
                    <a:pt x="51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7"/>
                  </a:lnTo>
                  <a:close/>
                  <a:moveTo>
                    <a:pt x="57" y="45"/>
                  </a:moveTo>
                  <a:lnTo>
                    <a:pt x="57" y="45"/>
                  </a:lnTo>
                  <a:lnTo>
                    <a:pt x="57" y="45"/>
                  </a:lnTo>
                  <a:close/>
                  <a:moveTo>
                    <a:pt x="58" y="43"/>
                  </a:moveTo>
                  <a:lnTo>
                    <a:pt x="58" y="44"/>
                  </a:lnTo>
                  <a:lnTo>
                    <a:pt x="57" y="44"/>
                  </a:lnTo>
                  <a:lnTo>
                    <a:pt x="57" y="43"/>
                  </a:lnTo>
                  <a:lnTo>
                    <a:pt x="58" y="43"/>
                  </a:lnTo>
                  <a:close/>
                  <a:moveTo>
                    <a:pt x="58" y="44"/>
                  </a:move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close/>
                  <a:moveTo>
                    <a:pt x="56" y="43"/>
                  </a:moveTo>
                  <a:lnTo>
                    <a:pt x="57" y="43"/>
                  </a:lnTo>
                  <a:lnTo>
                    <a:pt x="57" y="44"/>
                  </a:lnTo>
                  <a:lnTo>
                    <a:pt x="56" y="44"/>
                  </a:lnTo>
                  <a:lnTo>
                    <a:pt x="57" y="43"/>
                  </a:lnTo>
                  <a:lnTo>
                    <a:pt x="56" y="43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8" y="42"/>
                  </a:moveTo>
                  <a:lnTo>
                    <a:pt x="58" y="41"/>
                  </a:lnTo>
                  <a:lnTo>
                    <a:pt x="58" y="42"/>
                  </a:lnTo>
                  <a:close/>
                  <a:moveTo>
                    <a:pt x="56" y="41"/>
                  </a:moveTo>
                  <a:lnTo>
                    <a:pt x="56" y="42"/>
                  </a:lnTo>
                  <a:lnTo>
                    <a:pt x="56" y="41"/>
                  </a:lnTo>
                  <a:close/>
                  <a:moveTo>
                    <a:pt x="62" y="40"/>
                  </a:moveTo>
                  <a:lnTo>
                    <a:pt x="61" y="41"/>
                  </a:lnTo>
                  <a:lnTo>
                    <a:pt x="61" y="40"/>
                  </a:lnTo>
                  <a:lnTo>
                    <a:pt x="62" y="40"/>
                  </a:lnTo>
                  <a:close/>
                  <a:moveTo>
                    <a:pt x="61" y="40"/>
                  </a:move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1" y="39"/>
                  </a:lnTo>
                  <a:lnTo>
                    <a:pt x="61" y="40"/>
                  </a:lnTo>
                  <a:close/>
                  <a:moveTo>
                    <a:pt x="62" y="40"/>
                  </a:moveTo>
                  <a:lnTo>
                    <a:pt x="62" y="39"/>
                  </a:lnTo>
                  <a:lnTo>
                    <a:pt x="62" y="40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9"/>
                  </a:moveTo>
                  <a:lnTo>
                    <a:pt x="61" y="40"/>
                  </a:lnTo>
                  <a:lnTo>
                    <a:pt x="61" y="39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8"/>
                  </a:move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close/>
                  <a:moveTo>
                    <a:pt x="62" y="38"/>
                  </a:moveTo>
                  <a:lnTo>
                    <a:pt x="61" y="38"/>
                  </a:lnTo>
                  <a:lnTo>
                    <a:pt x="62" y="38"/>
                  </a:lnTo>
                  <a:close/>
                  <a:moveTo>
                    <a:pt x="54" y="38"/>
                  </a:moveTo>
                  <a:lnTo>
                    <a:pt x="54" y="38"/>
                  </a:lnTo>
                  <a:lnTo>
                    <a:pt x="54" y="38"/>
                  </a:lnTo>
                  <a:close/>
                  <a:moveTo>
                    <a:pt x="63" y="38"/>
                  </a:moveTo>
                  <a:lnTo>
                    <a:pt x="62" y="38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3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2" y="38"/>
                  </a:moveTo>
                  <a:lnTo>
                    <a:pt x="62" y="38"/>
                  </a:lnTo>
                  <a:lnTo>
                    <a:pt x="62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3" y="38"/>
                  </a:lnTo>
                  <a:lnTo>
                    <a:pt x="64" y="38"/>
                  </a:lnTo>
                  <a:lnTo>
                    <a:pt x="64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4" y="37"/>
                  </a:moveTo>
                  <a:lnTo>
                    <a:pt x="64" y="38"/>
                  </a:lnTo>
                  <a:lnTo>
                    <a:pt x="64" y="37"/>
                  </a:lnTo>
                  <a:close/>
                  <a:moveTo>
                    <a:pt x="64" y="37"/>
                  </a:moveTo>
                  <a:lnTo>
                    <a:pt x="64" y="37"/>
                  </a:lnTo>
                  <a:lnTo>
                    <a:pt x="64" y="37"/>
                  </a:lnTo>
                  <a:close/>
                  <a:moveTo>
                    <a:pt x="65" y="37"/>
                  </a:moveTo>
                  <a:lnTo>
                    <a:pt x="65" y="37"/>
                  </a:lnTo>
                  <a:lnTo>
                    <a:pt x="65" y="37"/>
                  </a:lnTo>
                  <a:close/>
                  <a:moveTo>
                    <a:pt x="64" y="37"/>
                  </a:moveTo>
                  <a:lnTo>
                    <a:pt x="63" y="37"/>
                  </a:lnTo>
                  <a:lnTo>
                    <a:pt x="64" y="37"/>
                  </a:lnTo>
                  <a:close/>
                  <a:moveTo>
                    <a:pt x="66" y="37"/>
                  </a:moveTo>
                  <a:lnTo>
                    <a:pt x="66" y="36"/>
                  </a:lnTo>
                  <a:lnTo>
                    <a:pt x="66" y="37"/>
                  </a:lnTo>
                  <a:close/>
                  <a:moveTo>
                    <a:pt x="68" y="34"/>
                  </a:move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68" y="34"/>
                  </a:moveTo>
                  <a:lnTo>
                    <a:pt x="69" y="34"/>
                  </a:lnTo>
                  <a:lnTo>
                    <a:pt x="69" y="34"/>
                  </a:ln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71" y="34"/>
                  </a:move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69" y="34"/>
                  </a:moveTo>
                  <a:lnTo>
                    <a:pt x="69" y="33"/>
                  </a:lnTo>
                  <a:lnTo>
                    <a:pt x="69" y="34"/>
                  </a:lnTo>
                  <a:close/>
                  <a:moveTo>
                    <a:pt x="72" y="34"/>
                  </a:moveTo>
                  <a:lnTo>
                    <a:pt x="72" y="33"/>
                  </a:lnTo>
                  <a:lnTo>
                    <a:pt x="72" y="34"/>
                  </a:lnTo>
                  <a:close/>
                  <a:moveTo>
                    <a:pt x="72" y="33"/>
                  </a:move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close/>
                  <a:moveTo>
                    <a:pt x="72" y="33"/>
                  </a:moveTo>
                  <a:lnTo>
                    <a:pt x="72" y="32"/>
                  </a:lnTo>
                  <a:lnTo>
                    <a:pt x="72" y="33"/>
                  </a:lnTo>
                  <a:close/>
                  <a:moveTo>
                    <a:pt x="79" y="31"/>
                  </a:moveTo>
                  <a:lnTo>
                    <a:pt x="80" y="31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79" y="31"/>
                  </a:lnTo>
                  <a:close/>
                  <a:moveTo>
                    <a:pt x="75" y="31"/>
                  </a:moveTo>
                  <a:lnTo>
                    <a:pt x="75" y="30"/>
                  </a:lnTo>
                  <a:lnTo>
                    <a:pt x="75" y="31"/>
                  </a:lnTo>
                  <a:close/>
                  <a:moveTo>
                    <a:pt x="80" y="29"/>
                  </a:moveTo>
                  <a:lnTo>
                    <a:pt x="81" y="29"/>
                  </a:lnTo>
                  <a:lnTo>
                    <a:pt x="80" y="29"/>
                  </a:lnTo>
                  <a:close/>
                  <a:moveTo>
                    <a:pt x="78" y="29"/>
                  </a:moveTo>
                  <a:lnTo>
                    <a:pt x="78" y="30"/>
                  </a:lnTo>
                  <a:lnTo>
                    <a:pt x="78" y="29"/>
                  </a:lnTo>
                  <a:close/>
                  <a:moveTo>
                    <a:pt x="80" y="29"/>
                  </a:moveTo>
                  <a:lnTo>
                    <a:pt x="80" y="30"/>
                  </a:lnTo>
                  <a:lnTo>
                    <a:pt x="80" y="29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80" y="29"/>
                  </a:lnTo>
                  <a:close/>
                  <a:moveTo>
                    <a:pt x="83" y="18"/>
                  </a:moveTo>
                  <a:lnTo>
                    <a:pt x="83" y="17"/>
                  </a:lnTo>
                  <a:lnTo>
                    <a:pt x="83" y="18"/>
                  </a:lnTo>
                  <a:close/>
                  <a:moveTo>
                    <a:pt x="83" y="15"/>
                  </a:moveTo>
                  <a:lnTo>
                    <a:pt x="82" y="15"/>
                  </a:lnTo>
                  <a:lnTo>
                    <a:pt x="83" y="15"/>
                  </a:lnTo>
                  <a:lnTo>
                    <a:pt x="83" y="14"/>
                  </a:lnTo>
                  <a:lnTo>
                    <a:pt x="83" y="15"/>
                  </a:lnTo>
                  <a:close/>
                  <a:moveTo>
                    <a:pt x="83" y="14"/>
                  </a:moveTo>
                  <a:lnTo>
                    <a:pt x="83" y="14"/>
                  </a:lnTo>
                  <a:lnTo>
                    <a:pt x="83" y="14"/>
                  </a:lnTo>
                  <a:close/>
                  <a:moveTo>
                    <a:pt x="84" y="12"/>
                  </a:move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4" y="13"/>
                  </a:lnTo>
                  <a:lnTo>
                    <a:pt x="84" y="12"/>
                  </a:lnTo>
                  <a:close/>
                  <a:moveTo>
                    <a:pt x="85" y="12"/>
                  </a:move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close/>
                  <a:moveTo>
                    <a:pt x="86" y="12"/>
                  </a:moveTo>
                  <a:lnTo>
                    <a:pt x="85" y="12"/>
                  </a:lnTo>
                  <a:lnTo>
                    <a:pt x="86" y="12"/>
                  </a:lnTo>
                  <a:close/>
                  <a:moveTo>
                    <a:pt x="87" y="11"/>
                  </a:moveTo>
                  <a:lnTo>
                    <a:pt x="86" y="11"/>
                  </a:lnTo>
                  <a:lnTo>
                    <a:pt x="87" y="11"/>
                  </a:lnTo>
                  <a:close/>
                  <a:moveTo>
                    <a:pt x="86" y="11"/>
                  </a:move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close/>
                  <a:moveTo>
                    <a:pt x="88" y="11"/>
                  </a:moveTo>
                  <a:lnTo>
                    <a:pt x="88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1"/>
                  </a:lnTo>
                  <a:lnTo>
                    <a:pt x="88" y="11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9"/>
                  </a:lnTo>
                  <a:lnTo>
                    <a:pt x="87" y="10"/>
                  </a:lnTo>
                  <a:close/>
                  <a:moveTo>
                    <a:pt x="84" y="9"/>
                  </a:moveTo>
                  <a:lnTo>
                    <a:pt x="84" y="10"/>
                  </a:lnTo>
                  <a:lnTo>
                    <a:pt x="84" y="9"/>
                  </a:lnTo>
                  <a:close/>
                  <a:moveTo>
                    <a:pt x="91" y="9"/>
                  </a:moveTo>
                  <a:lnTo>
                    <a:pt x="92" y="9"/>
                  </a:lnTo>
                  <a:lnTo>
                    <a:pt x="91" y="9"/>
                  </a:lnTo>
                  <a:close/>
                  <a:moveTo>
                    <a:pt x="87" y="9"/>
                  </a:moveTo>
                  <a:lnTo>
                    <a:pt x="87" y="9"/>
                  </a:lnTo>
                  <a:lnTo>
                    <a:pt x="87" y="8"/>
                  </a:lnTo>
                  <a:lnTo>
                    <a:pt x="87" y="9"/>
                  </a:lnTo>
                  <a:lnTo>
                    <a:pt x="87" y="9"/>
                  </a:lnTo>
                  <a:close/>
                  <a:moveTo>
                    <a:pt x="88" y="8"/>
                  </a:moveTo>
                  <a:lnTo>
                    <a:pt x="87" y="8"/>
                  </a:lnTo>
                  <a:lnTo>
                    <a:pt x="88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5" y="8"/>
                  </a:lnTo>
                  <a:lnTo>
                    <a:pt x="84" y="9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7" y="8"/>
                  </a:moveTo>
                  <a:lnTo>
                    <a:pt x="88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87" y="8"/>
                  </a:moveTo>
                  <a:lnTo>
                    <a:pt x="87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1" y="8"/>
                  </a:lnTo>
                  <a:lnTo>
                    <a:pt x="92" y="8"/>
                  </a:lnTo>
                  <a:close/>
                  <a:moveTo>
                    <a:pt x="88" y="8"/>
                  </a:moveTo>
                  <a:lnTo>
                    <a:pt x="89" y="8"/>
                  </a:lnTo>
                  <a:lnTo>
                    <a:pt x="89" y="8"/>
                  </a:lnTo>
                  <a:lnTo>
                    <a:pt x="88" y="8"/>
                  </a:lnTo>
                  <a:lnTo>
                    <a:pt x="88" y="8"/>
                  </a:lnTo>
                  <a:close/>
                  <a:moveTo>
                    <a:pt x="86" y="8"/>
                  </a:move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close/>
                  <a:moveTo>
                    <a:pt x="92" y="8"/>
                  </a:moveTo>
                  <a:lnTo>
                    <a:pt x="93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2" y="8"/>
                  </a:lnTo>
                  <a:close/>
                  <a:moveTo>
                    <a:pt x="90" y="7"/>
                  </a:moveTo>
                  <a:lnTo>
                    <a:pt x="90" y="8"/>
                  </a:lnTo>
                  <a:lnTo>
                    <a:pt x="90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2" y="7"/>
                  </a:lnTo>
                  <a:lnTo>
                    <a:pt x="92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close/>
                  <a:moveTo>
                    <a:pt x="95" y="7"/>
                  </a:move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close/>
                  <a:moveTo>
                    <a:pt x="88" y="6"/>
                  </a:moveTo>
                  <a:lnTo>
                    <a:pt x="89" y="6"/>
                  </a:lnTo>
                  <a:lnTo>
                    <a:pt x="89" y="7"/>
                  </a:lnTo>
                  <a:lnTo>
                    <a:pt x="88" y="7"/>
                  </a:lnTo>
                  <a:lnTo>
                    <a:pt x="88" y="6"/>
                  </a:lnTo>
                  <a:close/>
                  <a:moveTo>
                    <a:pt x="93" y="6"/>
                  </a:moveTo>
                  <a:lnTo>
                    <a:pt x="93" y="7"/>
                  </a:lnTo>
                  <a:lnTo>
                    <a:pt x="92" y="7"/>
                  </a:lnTo>
                  <a:lnTo>
                    <a:pt x="92" y="6"/>
                  </a:lnTo>
                  <a:lnTo>
                    <a:pt x="93" y="6"/>
                  </a:lnTo>
                  <a:close/>
                  <a:moveTo>
                    <a:pt x="94" y="7"/>
                  </a:move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7"/>
                  </a:lnTo>
                  <a:close/>
                  <a:moveTo>
                    <a:pt x="89" y="6"/>
                  </a:moveTo>
                  <a:lnTo>
                    <a:pt x="90" y="6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6"/>
                  </a:lnTo>
                  <a:close/>
                  <a:moveTo>
                    <a:pt x="88" y="6"/>
                  </a:moveTo>
                  <a:lnTo>
                    <a:pt x="88" y="6"/>
                  </a:lnTo>
                  <a:lnTo>
                    <a:pt x="88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close/>
                  <a:moveTo>
                    <a:pt x="91" y="6"/>
                  </a:moveTo>
                  <a:lnTo>
                    <a:pt x="92" y="6"/>
                  </a:lnTo>
                  <a:lnTo>
                    <a:pt x="91" y="6"/>
                  </a:lnTo>
                  <a:lnTo>
                    <a:pt x="91" y="5"/>
                  </a:lnTo>
                  <a:lnTo>
                    <a:pt x="91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6"/>
                  </a:lnTo>
                  <a:close/>
                  <a:moveTo>
                    <a:pt x="90" y="5"/>
                  </a:move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6"/>
                  </a:lnTo>
                  <a:lnTo>
                    <a:pt x="90" y="5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95" y="5"/>
                  </a:moveTo>
                  <a:lnTo>
                    <a:pt x="95" y="5"/>
                  </a:lnTo>
                  <a:lnTo>
                    <a:pt x="95" y="5"/>
                  </a:lnTo>
                  <a:close/>
                  <a:moveTo>
                    <a:pt x="93" y="5"/>
                  </a:moveTo>
                  <a:lnTo>
                    <a:pt x="92" y="5"/>
                  </a:lnTo>
                  <a:lnTo>
                    <a:pt x="93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3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03" y="5"/>
                  </a:moveTo>
                  <a:lnTo>
                    <a:pt x="102" y="5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3" y="5"/>
                  </a:move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5" y="5"/>
                  </a:moveTo>
                  <a:lnTo>
                    <a:pt x="105" y="5"/>
                  </a:lnTo>
                  <a:lnTo>
                    <a:pt x="105" y="5"/>
                  </a:lnTo>
                  <a:close/>
                  <a:moveTo>
                    <a:pt x="92" y="5"/>
                  </a:moveTo>
                  <a:lnTo>
                    <a:pt x="91" y="5"/>
                  </a:lnTo>
                  <a:lnTo>
                    <a:pt x="92" y="5"/>
                  </a:lnTo>
                  <a:lnTo>
                    <a:pt x="91" y="5"/>
                  </a:lnTo>
                  <a:lnTo>
                    <a:pt x="92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4" y="5"/>
                  </a:lnTo>
                  <a:close/>
                  <a:moveTo>
                    <a:pt x="92" y="5"/>
                  </a:moveTo>
                  <a:lnTo>
                    <a:pt x="92" y="5"/>
                  </a:lnTo>
                  <a:lnTo>
                    <a:pt x="92" y="5"/>
                  </a:lnTo>
                  <a:close/>
                  <a:moveTo>
                    <a:pt x="95" y="4"/>
                  </a:moveTo>
                  <a:lnTo>
                    <a:pt x="95" y="5"/>
                  </a:lnTo>
                  <a:lnTo>
                    <a:pt x="95" y="4"/>
                  </a:lnTo>
                  <a:lnTo>
                    <a:pt x="95" y="4"/>
                  </a:lnTo>
                  <a:close/>
                  <a:moveTo>
                    <a:pt x="92" y="4"/>
                  </a:moveTo>
                  <a:lnTo>
                    <a:pt x="92" y="5"/>
                  </a:lnTo>
                  <a:lnTo>
                    <a:pt x="92" y="4"/>
                  </a:lnTo>
                  <a:close/>
                  <a:moveTo>
                    <a:pt x="105" y="4"/>
                  </a:moveTo>
                  <a:lnTo>
                    <a:pt x="105" y="4"/>
                  </a:lnTo>
                  <a:lnTo>
                    <a:pt x="105" y="4"/>
                  </a:lnTo>
                  <a:close/>
                  <a:moveTo>
                    <a:pt x="103" y="4"/>
                  </a:moveTo>
                  <a:lnTo>
                    <a:pt x="103" y="4"/>
                  </a:lnTo>
                  <a:lnTo>
                    <a:pt x="103" y="4"/>
                  </a:lnTo>
                  <a:close/>
                  <a:moveTo>
                    <a:pt x="91" y="4"/>
                  </a:move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2" y="4"/>
                  </a:move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close/>
                  <a:moveTo>
                    <a:pt x="96" y="4"/>
                  </a:moveTo>
                  <a:lnTo>
                    <a:pt x="95" y="4"/>
                  </a:lnTo>
                  <a:lnTo>
                    <a:pt x="96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105" y="4"/>
                  </a:moveTo>
                  <a:lnTo>
                    <a:pt x="104" y="4"/>
                  </a:lnTo>
                  <a:lnTo>
                    <a:pt x="105" y="4"/>
                  </a:lnTo>
                  <a:close/>
                  <a:moveTo>
                    <a:pt x="106" y="4"/>
                  </a:moveTo>
                  <a:lnTo>
                    <a:pt x="105" y="4"/>
                  </a:lnTo>
                  <a:lnTo>
                    <a:pt x="106" y="4"/>
                  </a:lnTo>
                  <a:close/>
                  <a:moveTo>
                    <a:pt x="92" y="3"/>
                  </a:moveTo>
                  <a:lnTo>
                    <a:pt x="92" y="4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2" y="3"/>
                  </a:lnTo>
                  <a:close/>
                  <a:moveTo>
                    <a:pt x="95" y="4"/>
                  </a:moveTo>
                  <a:lnTo>
                    <a:pt x="95" y="3"/>
                  </a:lnTo>
                  <a:lnTo>
                    <a:pt x="95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96" y="3"/>
                  </a:moveTo>
                  <a:lnTo>
                    <a:pt x="97" y="3"/>
                  </a:lnTo>
                  <a:lnTo>
                    <a:pt x="96" y="3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5" y="3"/>
                  </a:lnTo>
                  <a:lnTo>
                    <a:pt x="96" y="3"/>
                  </a:lnTo>
                  <a:close/>
                  <a:moveTo>
                    <a:pt x="95" y="3"/>
                  </a:moveTo>
                  <a:lnTo>
                    <a:pt x="95" y="4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1" y="4"/>
                  </a:lnTo>
                  <a:lnTo>
                    <a:pt x="101" y="3"/>
                  </a:lnTo>
                  <a:close/>
                  <a:moveTo>
                    <a:pt x="87" y="4"/>
                  </a:moveTo>
                  <a:lnTo>
                    <a:pt x="87" y="4"/>
                  </a:lnTo>
                  <a:lnTo>
                    <a:pt x="87" y="3"/>
                  </a:lnTo>
                  <a:lnTo>
                    <a:pt x="87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3"/>
                  </a:lnTo>
                  <a:lnTo>
                    <a:pt x="101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4"/>
                  </a:lnTo>
                  <a:lnTo>
                    <a:pt x="102" y="4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0" y="3"/>
                  </a:moveTo>
                  <a:lnTo>
                    <a:pt x="100" y="3"/>
                  </a:lnTo>
                  <a:lnTo>
                    <a:pt x="100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4" y="3"/>
                  </a:moveTo>
                  <a:lnTo>
                    <a:pt x="103" y="3"/>
                  </a:lnTo>
                  <a:lnTo>
                    <a:pt x="104" y="3"/>
                  </a:lnTo>
                  <a:close/>
                  <a:moveTo>
                    <a:pt x="99" y="3"/>
                  </a:move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5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0" y="3"/>
                  </a:lnTo>
                  <a:lnTo>
                    <a:pt x="101" y="3"/>
                  </a:lnTo>
                  <a:close/>
                  <a:moveTo>
                    <a:pt x="105" y="3"/>
                  </a:moveTo>
                  <a:lnTo>
                    <a:pt x="104" y="3"/>
                  </a:lnTo>
                  <a:lnTo>
                    <a:pt x="105" y="3"/>
                  </a:lnTo>
                  <a:close/>
                  <a:moveTo>
                    <a:pt x="98" y="3"/>
                  </a:moveTo>
                  <a:lnTo>
                    <a:pt x="98" y="2"/>
                  </a:lnTo>
                  <a:lnTo>
                    <a:pt x="99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2"/>
                  </a:lnTo>
                  <a:lnTo>
                    <a:pt x="101" y="3"/>
                  </a:lnTo>
                  <a:close/>
                  <a:moveTo>
                    <a:pt x="92" y="3"/>
                  </a:moveTo>
                  <a:lnTo>
                    <a:pt x="92" y="2"/>
                  </a:lnTo>
                  <a:lnTo>
                    <a:pt x="92" y="3"/>
                  </a:lnTo>
                  <a:close/>
                  <a:moveTo>
                    <a:pt x="100" y="2"/>
                  </a:moveTo>
                  <a:lnTo>
                    <a:pt x="100" y="3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0" y="2"/>
                  </a:lnTo>
                  <a:close/>
                  <a:moveTo>
                    <a:pt x="106" y="2"/>
                  </a:moveTo>
                  <a:lnTo>
                    <a:pt x="106" y="3"/>
                  </a:lnTo>
                  <a:lnTo>
                    <a:pt x="105" y="3"/>
                  </a:lnTo>
                  <a:lnTo>
                    <a:pt x="105" y="2"/>
                  </a:lnTo>
                  <a:lnTo>
                    <a:pt x="106" y="2"/>
                  </a:lnTo>
                  <a:close/>
                  <a:moveTo>
                    <a:pt x="105" y="2"/>
                  </a:moveTo>
                  <a:lnTo>
                    <a:pt x="106" y="2"/>
                  </a:lnTo>
                  <a:lnTo>
                    <a:pt x="105" y="2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101" y="2"/>
                  </a:moveTo>
                  <a:lnTo>
                    <a:pt x="100" y="2"/>
                  </a:lnTo>
                  <a:lnTo>
                    <a:pt x="101" y="2"/>
                  </a:lnTo>
                  <a:close/>
                  <a:moveTo>
                    <a:pt x="92" y="2"/>
                  </a:moveTo>
                  <a:lnTo>
                    <a:pt x="92" y="3"/>
                  </a:lnTo>
                  <a:lnTo>
                    <a:pt x="92" y="2"/>
                  </a:lnTo>
                  <a:close/>
                  <a:moveTo>
                    <a:pt x="95" y="1"/>
                  </a:moveTo>
                  <a:lnTo>
                    <a:pt x="94" y="1"/>
                  </a:lnTo>
                  <a:lnTo>
                    <a:pt x="95" y="1"/>
                  </a:lnTo>
                  <a:close/>
                  <a:moveTo>
                    <a:pt x="105" y="0"/>
                  </a:move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2" name="Freeform 108"/>
            <p:cNvSpPr>
              <a:spLocks noEditPoints="1"/>
            </p:cNvSpPr>
            <p:nvPr/>
          </p:nvSpPr>
          <p:spPr bwMode="auto">
            <a:xfrm>
              <a:off x="5874036" y="3370413"/>
              <a:ext cx="137059" cy="197030"/>
            </a:xfrm>
            <a:custGeom>
              <a:avLst/>
              <a:gdLst>
                <a:gd name="T0" fmla="*/ 30 w 105"/>
                <a:gd name="T1" fmla="*/ 135 h 143"/>
                <a:gd name="T2" fmla="*/ 43 w 105"/>
                <a:gd name="T3" fmla="*/ 127 h 143"/>
                <a:gd name="T4" fmla="*/ 45 w 105"/>
                <a:gd name="T5" fmla="*/ 124 h 143"/>
                <a:gd name="T6" fmla="*/ 46 w 105"/>
                <a:gd name="T7" fmla="*/ 120 h 143"/>
                <a:gd name="T8" fmla="*/ 46 w 105"/>
                <a:gd name="T9" fmla="*/ 117 h 143"/>
                <a:gd name="T10" fmla="*/ 8 w 105"/>
                <a:gd name="T11" fmla="*/ 116 h 143"/>
                <a:gd name="T12" fmla="*/ 63 w 105"/>
                <a:gd name="T13" fmla="*/ 115 h 143"/>
                <a:gd name="T14" fmla="*/ 45 w 105"/>
                <a:gd name="T15" fmla="*/ 113 h 143"/>
                <a:gd name="T16" fmla="*/ 47 w 105"/>
                <a:gd name="T17" fmla="*/ 113 h 143"/>
                <a:gd name="T18" fmla="*/ 4 w 105"/>
                <a:gd name="T19" fmla="*/ 112 h 143"/>
                <a:gd name="T20" fmla="*/ 6 w 105"/>
                <a:gd name="T21" fmla="*/ 111 h 143"/>
                <a:gd name="T22" fmla="*/ 48 w 105"/>
                <a:gd name="T23" fmla="*/ 109 h 143"/>
                <a:gd name="T24" fmla="*/ 49 w 105"/>
                <a:gd name="T25" fmla="*/ 108 h 143"/>
                <a:gd name="T26" fmla="*/ 49 w 105"/>
                <a:gd name="T27" fmla="*/ 108 h 143"/>
                <a:gd name="T28" fmla="*/ 4 w 105"/>
                <a:gd name="T29" fmla="*/ 107 h 143"/>
                <a:gd name="T30" fmla="*/ 48 w 105"/>
                <a:gd name="T31" fmla="*/ 106 h 143"/>
                <a:gd name="T32" fmla="*/ 2 w 105"/>
                <a:gd name="T33" fmla="*/ 105 h 143"/>
                <a:gd name="T34" fmla="*/ 48 w 105"/>
                <a:gd name="T35" fmla="*/ 105 h 143"/>
                <a:gd name="T36" fmla="*/ 2 w 105"/>
                <a:gd name="T37" fmla="*/ 104 h 143"/>
                <a:gd name="T38" fmla="*/ 50 w 105"/>
                <a:gd name="T39" fmla="*/ 102 h 143"/>
                <a:gd name="T40" fmla="*/ 53 w 105"/>
                <a:gd name="T41" fmla="*/ 102 h 143"/>
                <a:gd name="T42" fmla="*/ 2 w 105"/>
                <a:gd name="T43" fmla="*/ 101 h 143"/>
                <a:gd name="T44" fmla="*/ 58 w 105"/>
                <a:gd name="T45" fmla="*/ 100 h 143"/>
                <a:gd name="T46" fmla="*/ 54 w 105"/>
                <a:gd name="T47" fmla="*/ 99 h 143"/>
                <a:gd name="T48" fmla="*/ 57 w 105"/>
                <a:gd name="T49" fmla="*/ 98 h 143"/>
                <a:gd name="T50" fmla="*/ 63 w 105"/>
                <a:gd name="T51" fmla="*/ 97 h 143"/>
                <a:gd name="T52" fmla="*/ 63 w 105"/>
                <a:gd name="T53" fmla="*/ 96 h 143"/>
                <a:gd name="T54" fmla="*/ 64 w 105"/>
                <a:gd name="T55" fmla="*/ 94 h 143"/>
                <a:gd name="T56" fmla="*/ 60 w 105"/>
                <a:gd name="T57" fmla="*/ 94 h 143"/>
                <a:gd name="T58" fmla="*/ 61 w 105"/>
                <a:gd name="T59" fmla="*/ 93 h 143"/>
                <a:gd name="T60" fmla="*/ 66 w 105"/>
                <a:gd name="T61" fmla="*/ 92 h 143"/>
                <a:gd name="T62" fmla="*/ 67 w 105"/>
                <a:gd name="T63" fmla="*/ 92 h 143"/>
                <a:gd name="T64" fmla="*/ 69 w 105"/>
                <a:gd name="T65" fmla="*/ 92 h 143"/>
                <a:gd name="T66" fmla="*/ 62 w 105"/>
                <a:gd name="T67" fmla="*/ 90 h 143"/>
                <a:gd name="T68" fmla="*/ 68 w 105"/>
                <a:gd name="T69" fmla="*/ 90 h 143"/>
                <a:gd name="T70" fmla="*/ 65 w 105"/>
                <a:gd name="T71" fmla="*/ 88 h 143"/>
                <a:gd name="T72" fmla="*/ 61 w 105"/>
                <a:gd name="T73" fmla="*/ 83 h 143"/>
                <a:gd name="T74" fmla="*/ 61 w 105"/>
                <a:gd name="T75" fmla="*/ 83 h 143"/>
                <a:gd name="T76" fmla="*/ 61 w 105"/>
                <a:gd name="T77" fmla="*/ 80 h 143"/>
                <a:gd name="T78" fmla="*/ 57 w 105"/>
                <a:gd name="T79" fmla="*/ 80 h 143"/>
                <a:gd name="T80" fmla="*/ 57 w 105"/>
                <a:gd name="T81" fmla="*/ 79 h 143"/>
                <a:gd name="T82" fmla="*/ 53 w 105"/>
                <a:gd name="T83" fmla="*/ 77 h 143"/>
                <a:gd name="T84" fmla="*/ 50 w 105"/>
                <a:gd name="T85" fmla="*/ 73 h 143"/>
                <a:gd name="T86" fmla="*/ 50 w 105"/>
                <a:gd name="T87" fmla="*/ 69 h 143"/>
                <a:gd name="T88" fmla="*/ 50 w 105"/>
                <a:gd name="T89" fmla="*/ 65 h 143"/>
                <a:gd name="T90" fmla="*/ 55 w 105"/>
                <a:gd name="T91" fmla="*/ 53 h 143"/>
                <a:gd name="T92" fmla="*/ 54 w 105"/>
                <a:gd name="T93" fmla="*/ 45 h 143"/>
                <a:gd name="T94" fmla="*/ 64 w 105"/>
                <a:gd name="T95" fmla="*/ 43 h 143"/>
                <a:gd name="T96" fmla="*/ 68 w 105"/>
                <a:gd name="T97" fmla="*/ 40 h 143"/>
                <a:gd name="T98" fmla="*/ 71 w 105"/>
                <a:gd name="T99" fmla="*/ 39 h 143"/>
                <a:gd name="T100" fmla="*/ 79 w 105"/>
                <a:gd name="T101" fmla="*/ 37 h 143"/>
                <a:gd name="T102" fmla="*/ 77 w 105"/>
                <a:gd name="T103" fmla="*/ 36 h 143"/>
                <a:gd name="T104" fmla="*/ 80 w 105"/>
                <a:gd name="T105" fmla="*/ 32 h 143"/>
                <a:gd name="T106" fmla="*/ 83 w 105"/>
                <a:gd name="T107" fmla="*/ 22 h 143"/>
                <a:gd name="T108" fmla="*/ 86 w 105"/>
                <a:gd name="T109" fmla="*/ 16 h 143"/>
                <a:gd name="T110" fmla="*/ 88 w 105"/>
                <a:gd name="T111" fmla="*/ 14 h 143"/>
                <a:gd name="T112" fmla="*/ 91 w 105"/>
                <a:gd name="T113" fmla="*/ 13 h 143"/>
                <a:gd name="T114" fmla="*/ 97 w 105"/>
                <a:gd name="T115" fmla="*/ 10 h 143"/>
                <a:gd name="T116" fmla="*/ 96 w 105"/>
                <a:gd name="T117" fmla="*/ 10 h 143"/>
                <a:gd name="T118" fmla="*/ 101 w 105"/>
                <a:gd name="T119" fmla="*/ 9 h 143"/>
                <a:gd name="T120" fmla="*/ 94 w 105"/>
                <a:gd name="T121" fmla="*/ 9 h 143"/>
                <a:gd name="T122" fmla="*/ 105 w 105"/>
                <a:gd name="T123" fmla="*/ 8 h 143"/>
                <a:gd name="T124" fmla="*/ 92 w 105"/>
                <a:gd name="T125" fmla="*/ 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43"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29" y="136"/>
                  </a:moveTo>
                  <a:lnTo>
                    <a:pt x="29" y="136"/>
                  </a:lnTo>
                  <a:lnTo>
                    <a:pt x="29" y="136"/>
                  </a:lnTo>
                  <a:close/>
                  <a:moveTo>
                    <a:pt x="28" y="136"/>
                  </a:moveTo>
                  <a:lnTo>
                    <a:pt x="29" y="136"/>
                  </a:lnTo>
                  <a:lnTo>
                    <a:pt x="28" y="136"/>
                  </a:lnTo>
                  <a:close/>
                  <a:moveTo>
                    <a:pt x="39" y="135"/>
                  </a:moveTo>
                  <a:lnTo>
                    <a:pt x="38" y="136"/>
                  </a:lnTo>
                  <a:lnTo>
                    <a:pt x="38" y="135"/>
                  </a:lnTo>
                  <a:lnTo>
                    <a:pt x="39" y="135"/>
                  </a:lnTo>
                  <a:close/>
                  <a:moveTo>
                    <a:pt x="36" y="135"/>
                  </a:moveTo>
                  <a:lnTo>
                    <a:pt x="36" y="135"/>
                  </a:lnTo>
                  <a:lnTo>
                    <a:pt x="36" y="135"/>
                  </a:lnTo>
                  <a:close/>
                  <a:moveTo>
                    <a:pt x="36" y="135"/>
                  </a:moveTo>
                  <a:lnTo>
                    <a:pt x="35" y="135"/>
                  </a:lnTo>
                  <a:lnTo>
                    <a:pt x="36" y="135"/>
                  </a:lnTo>
                  <a:close/>
                  <a:moveTo>
                    <a:pt x="34" y="135"/>
                  </a:moveTo>
                  <a:lnTo>
                    <a:pt x="33" y="135"/>
                  </a:lnTo>
                  <a:lnTo>
                    <a:pt x="34" y="135"/>
                  </a:lnTo>
                  <a:close/>
                  <a:moveTo>
                    <a:pt x="36" y="135"/>
                  </a:moveTo>
                  <a:lnTo>
                    <a:pt x="36" y="134"/>
                  </a:lnTo>
                  <a:lnTo>
                    <a:pt x="36" y="135"/>
                  </a:lnTo>
                  <a:close/>
                  <a:moveTo>
                    <a:pt x="30" y="135"/>
                  </a:moveTo>
                  <a:lnTo>
                    <a:pt x="30" y="134"/>
                  </a:lnTo>
                  <a:lnTo>
                    <a:pt x="30" y="135"/>
                  </a:lnTo>
                  <a:close/>
                  <a:moveTo>
                    <a:pt x="32" y="134"/>
                  </a:moveTo>
                  <a:lnTo>
                    <a:pt x="32" y="135"/>
                  </a:lnTo>
                  <a:lnTo>
                    <a:pt x="32" y="134"/>
                  </a:lnTo>
                  <a:close/>
                  <a:moveTo>
                    <a:pt x="34" y="135"/>
                  </a:moveTo>
                  <a:lnTo>
                    <a:pt x="34" y="134"/>
                  </a:lnTo>
                  <a:lnTo>
                    <a:pt x="34" y="135"/>
                  </a:lnTo>
                  <a:close/>
                  <a:moveTo>
                    <a:pt x="35" y="134"/>
                  </a:moveTo>
                  <a:lnTo>
                    <a:pt x="35" y="135"/>
                  </a:lnTo>
                  <a:lnTo>
                    <a:pt x="35" y="134"/>
                  </a:lnTo>
                  <a:lnTo>
                    <a:pt x="35" y="135"/>
                  </a:lnTo>
                  <a:lnTo>
                    <a:pt x="35" y="134"/>
                  </a:lnTo>
                  <a:close/>
                  <a:moveTo>
                    <a:pt x="38" y="134"/>
                  </a:moveTo>
                  <a:lnTo>
                    <a:pt x="37" y="134"/>
                  </a:lnTo>
                  <a:lnTo>
                    <a:pt x="38" y="134"/>
                  </a:lnTo>
                  <a:close/>
                  <a:moveTo>
                    <a:pt x="36" y="134"/>
                  </a:moveTo>
                  <a:lnTo>
                    <a:pt x="35" y="134"/>
                  </a:lnTo>
                  <a:lnTo>
                    <a:pt x="36" y="134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2" y="131"/>
                  </a:moveTo>
                  <a:lnTo>
                    <a:pt x="42" y="130"/>
                  </a:lnTo>
                  <a:lnTo>
                    <a:pt x="42" y="131"/>
                  </a:lnTo>
                  <a:close/>
                  <a:moveTo>
                    <a:pt x="42" y="130"/>
                  </a:moveTo>
                  <a:lnTo>
                    <a:pt x="42" y="131"/>
                  </a:lnTo>
                  <a:lnTo>
                    <a:pt x="42" y="130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5" y="126"/>
                  </a:moveTo>
                  <a:lnTo>
                    <a:pt x="44" y="126"/>
                  </a:lnTo>
                  <a:lnTo>
                    <a:pt x="45" y="126"/>
                  </a:lnTo>
                  <a:close/>
                  <a:moveTo>
                    <a:pt x="45" y="125"/>
                  </a:moveTo>
                  <a:lnTo>
                    <a:pt x="44" y="125"/>
                  </a:lnTo>
                  <a:lnTo>
                    <a:pt x="45" y="125"/>
                  </a:lnTo>
                  <a:close/>
                  <a:moveTo>
                    <a:pt x="48" y="124"/>
                  </a:moveTo>
                  <a:lnTo>
                    <a:pt x="47" y="124"/>
                  </a:lnTo>
                  <a:lnTo>
                    <a:pt x="48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6" y="123"/>
                  </a:moveTo>
                  <a:lnTo>
                    <a:pt x="45" y="123"/>
                  </a:lnTo>
                  <a:lnTo>
                    <a:pt x="46" y="123"/>
                  </a:lnTo>
                  <a:close/>
                  <a:moveTo>
                    <a:pt x="45" y="121"/>
                  </a:moveTo>
                  <a:lnTo>
                    <a:pt x="44" y="121"/>
                  </a:lnTo>
                  <a:lnTo>
                    <a:pt x="45" y="121"/>
                  </a:lnTo>
                  <a:close/>
                  <a:moveTo>
                    <a:pt x="9" y="121"/>
                  </a:move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close/>
                  <a:moveTo>
                    <a:pt x="45" y="121"/>
                  </a:moveTo>
                  <a:lnTo>
                    <a:pt x="45" y="121"/>
                  </a:lnTo>
                  <a:lnTo>
                    <a:pt x="45" y="121"/>
                  </a:lnTo>
                  <a:close/>
                  <a:moveTo>
                    <a:pt x="46" y="120"/>
                  </a:moveTo>
                  <a:lnTo>
                    <a:pt x="45" y="120"/>
                  </a:lnTo>
                  <a:lnTo>
                    <a:pt x="46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19"/>
                  </a:lnTo>
                  <a:lnTo>
                    <a:pt x="9" y="120"/>
                  </a:lnTo>
                  <a:close/>
                  <a:moveTo>
                    <a:pt x="58" y="118"/>
                  </a:moveTo>
                  <a:lnTo>
                    <a:pt x="58" y="119"/>
                  </a:lnTo>
                  <a:lnTo>
                    <a:pt x="58" y="118"/>
                  </a:lnTo>
                  <a:close/>
                  <a:moveTo>
                    <a:pt x="8" y="118"/>
                  </a:moveTo>
                  <a:lnTo>
                    <a:pt x="8" y="117"/>
                  </a:lnTo>
                  <a:lnTo>
                    <a:pt x="8" y="118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8" y="117"/>
                  </a:moveTo>
                  <a:lnTo>
                    <a:pt x="8" y="117"/>
                  </a:lnTo>
                  <a:lnTo>
                    <a:pt x="8" y="117"/>
                  </a:lnTo>
                  <a:close/>
                  <a:moveTo>
                    <a:pt x="6" y="117"/>
                  </a:moveTo>
                  <a:lnTo>
                    <a:pt x="6" y="117"/>
                  </a:lnTo>
                  <a:lnTo>
                    <a:pt x="6" y="117"/>
                  </a:lnTo>
                  <a:close/>
                  <a:moveTo>
                    <a:pt x="45" y="117"/>
                  </a:moveTo>
                  <a:lnTo>
                    <a:pt x="45" y="117"/>
                  </a:lnTo>
                  <a:lnTo>
                    <a:pt x="45" y="117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6" y="116"/>
                  </a:moveTo>
                  <a:lnTo>
                    <a:pt x="46" y="117"/>
                  </a:lnTo>
                  <a:lnTo>
                    <a:pt x="46" y="116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8" y="116"/>
                  </a:moveTo>
                  <a:lnTo>
                    <a:pt x="7" y="116"/>
                  </a:lnTo>
                  <a:lnTo>
                    <a:pt x="8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5"/>
                  </a:moveTo>
                  <a:lnTo>
                    <a:pt x="46" y="115"/>
                  </a:lnTo>
                  <a:lnTo>
                    <a:pt x="46" y="115"/>
                  </a:lnTo>
                  <a:close/>
                  <a:moveTo>
                    <a:pt x="64" y="116"/>
                  </a:moveTo>
                  <a:lnTo>
                    <a:pt x="63" y="116"/>
                  </a:lnTo>
                  <a:lnTo>
                    <a:pt x="63" y="115"/>
                  </a:lnTo>
                  <a:lnTo>
                    <a:pt x="64" y="115"/>
                  </a:lnTo>
                  <a:lnTo>
                    <a:pt x="64" y="116"/>
                  </a:lnTo>
                  <a:close/>
                  <a:moveTo>
                    <a:pt x="6" y="115"/>
                  </a:moveTo>
                  <a:lnTo>
                    <a:pt x="6" y="115"/>
                  </a:lnTo>
                  <a:lnTo>
                    <a:pt x="6" y="115"/>
                  </a:lnTo>
                  <a:close/>
                  <a:moveTo>
                    <a:pt x="47" y="115"/>
                  </a:moveTo>
                  <a:lnTo>
                    <a:pt x="46" y="115"/>
                  </a:lnTo>
                  <a:lnTo>
                    <a:pt x="47" y="115"/>
                  </a:lnTo>
                  <a:close/>
                  <a:moveTo>
                    <a:pt x="64" y="115"/>
                  </a:moveTo>
                  <a:lnTo>
                    <a:pt x="64" y="115"/>
                  </a:lnTo>
                  <a:lnTo>
                    <a:pt x="64" y="115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46" y="114"/>
                  </a:moveTo>
                  <a:lnTo>
                    <a:pt x="46" y="114"/>
                  </a:lnTo>
                  <a:lnTo>
                    <a:pt x="46" y="114"/>
                  </a:lnTo>
                  <a:close/>
                  <a:moveTo>
                    <a:pt x="6" y="114"/>
                  </a:moveTo>
                  <a:lnTo>
                    <a:pt x="5" y="114"/>
                  </a:lnTo>
                  <a:lnTo>
                    <a:pt x="6" y="114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5" y="114"/>
                  </a:moveTo>
                  <a:lnTo>
                    <a:pt x="5" y="114"/>
                  </a:lnTo>
                  <a:lnTo>
                    <a:pt x="5" y="114"/>
                  </a:lnTo>
                  <a:close/>
                  <a:moveTo>
                    <a:pt x="6" y="114"/>
                  </a:moveTo>
                  <a:lnTo>
                    <a:pt x="6" y="113"/>
                  </a:lnTo>
                  <a:lnTo>
                    <a:pt x="6" y="114"/>
                  </a:lnTo>
                  <a:close/>
                  <a:moveTo>
                    <a:pt x="45" y="114"/>
                  </a:moveTo>
                  <a:lnTo>
                    <a:pt x="45" y="113"/>
                  </a:lnTo>
                  <a:lnTo>
                    <a:pt x="4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46" y="113"/>
                  </a:moveTo>
                  <a:lnTo>
                    <a:pt x="46" y="114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6" y="113"/>
                  </a:moveTo>
                  <a:lnTo>
                    <a:pt x="6" y="113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6" y="113"/>
                  </a:moveTo>
                  <a:lnTo>
                    <a:pt x="45" y="113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5" y="113"/>
                  </a:moveTo>
                  <a:lnTo>
                    <a:pt x="5" y="112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6" y="112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2"/>
                  </a:lnTo>
                  <a:lnTo>
                    <a:pt x="47" y="113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5" y="112"/>
                  </a:moveTo>
                  <a:lnTo>
                    <a:pt x="45" y="112"/>
                  </a:lnTo>
                  <a:lnTo>
                    <a:pt x="4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6" y="112"/>
                  </a:moveTo>
                  <a:lnTo>
                    <a:pt x="5" y="112"/>
                  </a:lnTo>
                  <a:lnTo>
                    <a:pt x="6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4" y="112"/>
                  </a:lnTo>
                  <a:lnTo>
                    <a:pt x="4" y="112"/>
                  </a:lnTo>
                  <a:close/>
                  <a:moveTo>
                    <a:pt x="6" y="112"/>
                  </a:moveTo>
                  <a:lnTo>
                    <a:pt x="6" y="111"/>
                  </a:lnTo>
                  <a:lnTo>
                    <a:pt x="6" y="112"/>
                  </a:lnTo>
                  <a:close/>
                  <a:moveTo>
                    <a:pt x="4" y="112"/>
                  </a:moveTo>
                  <a:lnTo>
                    <a:pt x="4" y="111"/>
                  </a:lnTo>
                  <a:lnTo>
                    <a:pt x="4" y="112"/>
                  </a:lnTo>
                  <a:close/>
                  <a:moveTo>
                    <a:pt x="47" y="112"/>
                  </a:moveTo>
                  <a:lnTo>
                    <a:pt x="47" y="111"/>
                  </a:lnTo>
                  <a:lnTo>
                    <a:pt x="47" y="112"/>
                  </a:lnTo>
                  <a:close/>
                  <a:moveTo>
                    <a:pt x="47" y="111"/>
                  </a:moveTo>
                  <a:lnTo>
                    <a:pt x="47" y="111"/>
                  </a:lnTo>
                  <a:lnTo>
                    <a:pt x="47" y="111"/>
                  </a:lnTo>
                  <a:close/>
                  <a:moveTo>
                    <a:pt x="4" y="111"/>
                  </a:moveTo>
                  <a:lnTo>
                    <a:pt x="4" y="111"/>
                  </a:lnTo>
                  <a:lnTo>
                    <a:pt x="4" y="111"/>
                  </a:lnTo>
                  <a:close/>
                  <a:moveTo>
                    <a:pt x="6" y="111"/>
                  </a:moveTo>
                  <a:lnTo>
                    <a:pt x="7" y="111"/>
                  </a:lnTo>
                  <a:lnTo>
                    <a:pt x="6" y="111"/>
                  </a:lnTo>
                  <a:close/>
                  <a:moveTo>
                    <a:pt x="47" y="110"/>
                  </a:moveTo>
                  <a:lnTo>
                    <a:pt x="46" y="110"/>
                  </a:lnTo>
                  <a:lnTo>
                    <a:pt x="4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4" y="110"/>
                  </a:moveTo>
                  <a:lnTo>
                    <a:pt x="4" y="110"/>
                  </a:lnTo>
                  <a:lnTo>
                    <a:pt x="4" y="110"/>
                  </a:lnTo>
                  <a:close/>
                  <a:moveTo>
                    <a:pt x="4" y="110"/>
                  </a:moveTo>
                  <a:lnTo>
                    <a:pt x="3" y="110"/>
                  </a:lnTo>
                  <a:lnTo>
                    <a:pt x="4" y="110"/>
                  </a:lnTo>
                  <a:close/>
                  <a:moveTo>
                    <a:pt x="48" y="109"/>
                  </a:moveTo>
                  <a:lnTo>
                    <a:pt x="47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4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8" y="109"/>
                  </a:lnTo>
                  <a:lnTo>
                    <a:pt x="49" y="109"/>
                  </a:lnTo>
                  <a:close/>
                  <a:moveTo>
                    <a:pt x="48" y="109"/>
                  </a:moveTo>
                  <a:lnTo>
                    <a:pt x="48" y="109"/>
                  </a:lnTo>
                  <a:lnTo>
                    <a:pt x="48" y="109"/>
                  </a:lnTo>
                  <a:lnTo>
                    <a:pt x="49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3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9" y="108"/>
                  </a:moveTo>
                  <a:lnTo>
                    <a:pt x="49" y="109"/>
                  </a:lnTo>
                  <a:lnTo>
                    <a:pt x="49" y="108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" y="108"/>
                  </a:moveTo>
                  <a:lnTo>
                    <a:pt x="4" y="109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8"/>
                  </a:lnTo>
                  <a:close/>
                  <a:moveTo>
                    <a:pt x="47" y="108"/>
                  </a:moveTo>
                  <a:lnTo>
                    <a:pt x="47" y="108"/>
                  </a:lnTo>
                  <a:lnTo>
                    <a:pt x="47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4" y="108"/>
                  </a:moveTo>
                  <a:lnTo>
                    <a:pt x="4" y="108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7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7"/>
                  </a:lnTo>
                  <a:lnTo>
                    <a:pt x="4" y="108"/>
                  </a:lnTo>
                  <a:close/>
                  <a:moveTo>
                    <a:pt x="3" y="108"/>
                  </a:moveTo>
                  <a:lnTo>
                    <a:pt x="3" y="107"/>
                  </a:lnTo>
                  <a:lnTo>
                    <a:pt x="3" y="108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7" y="107"/>
                  </a:moveTo>
                  <a:lnTo>
                    <a:pt x="47" y="107"/>
                  </a:lnTo>
                  <a:lnTo>
                    <a:pt x="47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" y="107"/>
                  </a:moveTo>
                  <a:lnTo>
                    <a:pt x="4" y="107"/>
                  </a:lnTo>
                  <a:lnTo>
                    <a:pt x="3" y="107"/>
                  </a:lnTo>
                  <a:lnTo>
                    <a:pt x="4" y="107"/>
                  </a:lnTo>
                  <a:close/>
                  <a:moveTo>
                    <a:pt x="48" y="107"/>
                  </a:moveTo>
                  <a:lnTo>
                    <a:pt x="47" y="107"/>
                  </a:lnTo>
                  <a:lnTo>
                    <a:pt x="48" y="107"/>
                  </a:lnTo>
                  <a:lnTo>
                    <a:pt x="48" y="107"/>
                  </a:lnTo>
                  <a:close/>
                  <a:moveTo>
                    <a:pt x="49" y="106"/>
                  </a:move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close/>
                  <a:moveTo>
                    <a:pt x="3" y="107"/>
                  </a:moveTo>
                  <a:lnTo>
                    <a:pt x="2" y="106"/>
                  </a:lnTo>
                  <a:lnTo>
                    <a:pt x="3" y="106"/>
                  </a:lnTo>
                  <a:lnTo>
                    <a:pt x="3" y="107"/>
                  </a:lnTo>
                  <a:close/>
                  <a:moveTo>
                    <a:pt x="49" y="107"/>
                  </a:moveTo>
                  <a:lnTo>
                    <a:pt x="49" y="106"/>
                  </a:lnTo>
                  <a:lnTo>
                    <a:pt x="49" y="107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8" y="106"/>
                  </a:moveTo>
                  <a:lnTo>
                    <a:pt x="48" y="106"/>
                  </a:lnTo>
                  <a:lnTo>
                    <a:pt x="48" y="106"/>
                  </a:lnTo>
                  <a:close/>
                  <a:moveTo>
                    <a:pt x="49" y="106"/>
                  </a:moveTo>
                  <a:lnTo>
                    <a:pt x="49" y="106"/>
                  </a:lnTo>
                  <a:lnTo>
                    <a:pt x="49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5" y="106"/>
                  </a:moveTo>
                  <a:lnTo>
                    <a:pt x="45" y="106"/>
                  </a:lnTo>
                  <a:lnTo>
                    <a:pt x="45" y="106"/>
                  </a:lnTo>
                  <a:close/>
                  <a:moveTo>
                    <a:pt x="47" y="106"/>
                  </a:moveTo>
                  <a:lnTo>
                    <a:pt x="47" y="105"/>
                  </a:lnTo>
                  <a:lnTo>
                    <a:pt x="47" y="106"/>
                  </a:lnTo>
                  <a:close/>
                  <a:moveTo>
                    <a:pt x="2" y="106"/>
                  </a:moveTo>
                  <a:lnTo>
                    <a:pt x="2" y="105"/>
                  </a:lnTo>
                  <a:lnTo>
                    <a:pt x="2" y="106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47" y="105"/>
                  </a:moveTo>
                  <a:lnTo>
                    <a:pt x="48" y="105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48" y="105"/>
                  </a:moveTo>
                  <a:lnTo>
                    <a:pt x="47" y="105"/>
                  </a:lnTo>
                  <a:lnTo>
                    <a:pt x="48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2" y="105"/>
                  </a:moveTo>
                  <a:lnTo>
                    <a:pt x="2" y="104"/>
                  </a:lnTo>
                  <a:lnTo>
                    <a:pt x="2" y="105"/>
                  </a:lnTo>
                  <a:close/>
                  <a:moveTo>
                    <a:pt x="47" y="105"/>
                  </a:moveTo>
                  <a:lnTo>
                    <a:pt x="47" y="104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1" y="104"/>
                  </a:moveTo>
                  <a:lnTo>
                    <a:pt x="1" y="105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1" y="104"/>
                  </a:move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48" y="104"/>
                  </a:moveTo>
                  <a:lnTo>
                    <a:pt x="47" y="104"/>
                  </a:lnTo>
                  <a:lnTo>
                    <a:pt x="48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2" y="104"/>
                  </a:moveTo>
                  <a:lnTo>
                    <a:pt x="2" y="104"/>
                  </a:lnTo>
                  <a:lnTo>
                    <a:pt x="2" y="104"/>
                  </a:lnTo>
                  <a:close/>
                  <a:moveTo>
                    <a:pt x="1" y="104"/>
                  </a:moveTo>
                  <a:lnTo>
                    <a:pt x="1" y="103"/>
                  </a:lnTo>
                  <a:lnTo>
                    <a:pt x="1" y="104"/>
                  </a:lnTo>
                  <a:close/>
                  <a:moveTo>
                    <a:pt x="2" y="104"/>
                  </a:moveTo>
                  <a:lnTo>
                    <a:pt x="2" y="103"/>
                  </a:lnTo>
                  <a:lnTo>
                    <a:pt x="2" y="104"/>
                  </a:lnTo>
                  <a:close/>
                  <a:moveTo>
                    <a:pt x="47" y="104"/>
                  </a:moveTo>
                  <a:lnTo>
                    <a:pt x="47" y="103"/>
                  </a:lnTo>
                  <a:lnTo>
                    <a:pt x="47" y="104"/>
                  </a:lnTo>
                  <a:close/>
                  <a:moveTo>
                    <a:pt x="2" y="103"/>
                  </a:moveTo>
                  <a:lnTo>
                    <a:pt x="2" y="104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50" y="103"/>
                  </a:moveTo>
                  <a:lnTo>
                    <a:pt x="50" y="103"/>
                  </a:lnTo>
                  <a:lnTo>
                    <a:pt x="50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2"/>
                  </a:lnTo>
                  <a:lnTo>
                    <a:pt x="2" y="103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2" y="102"/>
                  </a:moveTo>
                  <a:lnTo>
                    <a:pt x="51" y="102"/>
                  </a:lnTo>
                  <a:lnTo>
                    <a:pt x="52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2" y="102"/>
                  </a:moveTo>
                  <a:lnTo>
                    <a:pt x="2" y="102"/>
                  </a:lnTo>
                  <a:lnTo>
                    <a:pt x="2" y="102"/>
                  </a:lnTo>
                  <a:close/>
                  <a:moveTo>
                    <a:pt x="53" y="102"/>
                  </a:move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6" y="102"/>
                  </a:moveTo>
                  <a:lnTo>
                    <a:pt x="56" y="101"/>
                  </a:lnTo>
                  <a:lnTo>
                    <a:pt x="56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3" y="101"/>
                  </a:moveTo>
                  <a:lnTo>
                    <a:pt x="53" y="102"/>
                  </a:lnTo>
                  <a:lnTo>
                    <a:pt x="53" y="101"/>
                  </a:lnTo>
                  <a:close/>
                  <a:moveTo>
                    <a:pt x="2" y="101"/>
                  </a:moveTo>
                  <a:lnTo>
                    <a:pt x="2" y="102"/>
                  </a:lnTo>
                  <a:lnTo>
                    <a:pt x="2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56" y="101"/>
                  </a:moveTo>
                  <a:lnTo>
                    <a:pt x="55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5" y="101"/>
                  </a:moveTo>
                  <a:lnTo>
                    <a:pt x="54" y="101"/>
                  </a:lnTo>
                  <a:lnTo>
                    <a:pt x="55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3" y="101"/>
                  </a:moveTo>
                  <a:lnTo>
                    <a:pt x="52" y="101"/>
                  </a:lnTo>
                  <a:lnTo>
                    <a:pt x="53" y="101"/>
                  </a:lnTo>
                  <a:close/>
                  <a:moveTo>
                    <a:pt x="53" y="101"/>
                  </a:moveTo>
                  <a:lnTo>
                    <a:pt x="53" y="101"/>
                  </a:lnTo>
                  <a:lnTo>
                    <a:pt x="53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2" y="101"/>
                  </a:lnTo>
                  <a:lnTo>
                    <a:pt x="2" y="101"/>
                  </a:lnTo>
                  <a:close/>
                  <a:moveTo>
                    <a:pt x="0" y="101"/>
                  </a:moveTo>
                  <a:lnTo>
                    <a:pt x="1" y="101"/>
                  </a:lnTo>
                  <a:lnTo>
                    <a:pt x="0" y="101"/>
                  </a:lnTo>
                  <a:close/>
                  <a:moveTo>
                    <a:pt x="54" y="101"/>
                  </a:moveTo>
                  <a:lnTo>
                    <a:pt x="53" y="101"/>
                  </a:lnTo>
                  <a:lnTo>
                    <a:pt x="54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2" y="101"/>
                  </a:moveTo>
                  <a:lnTo>
                    <a:pt x="2" y="100"/>
                  </a:lnTo>
                  <a:lnTo>
                    <a:pt x="2" y="101"/>
                  </a:lnTo>
                  <a:close/>
                  <a:moveTo>
                    <a:pt x="58" y="100"/>
                  </a:moveTo>
                  <a:lnTo>
                    <a:pt x="58" y="101"/>
                  </a:lnTo>
                  <a:lnTo>
                    <a:pt x="58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1" y="101"/>
                  </a:move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58" y="100"/>
                  </a:moveTo>
                  <a:lnTo>
                    <a:pt x="58" y="100"/>
                  </a:lnTo>
                  <a:lnTo>
                    <a:pt x="58" y="100"/>
                  </a:lnTo>
                  <a:close/>
                  <a:moveTo>
                    <a:pt x="0" y="101"/>
                  </a:moveTo>
                  <a:lnTo>
                    <a:pt x="0" y="100"/>
                  </a:lnTo>
                  <a:lnTo>
                    <a:pt x="0" y="101"/>
                  </a:lnTo>
                  <a:close/>
                  <a:moveTo>
                    <a:pt x="55" y="100"/>
                  </a:moveTo>
                  <a:lnTo>
                    <a:pt x="55" y="101"/>
                  </a:lnTo>
                  <a:lnTo>
                    <a:pt x="55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54" y="100"/>
                  </a:moveTo>
                  <a:lnTo>
                    <a:pt x="53" y="100"/>
                  </a:lnTo>
                  <a:lnTo>
                    <a:pt x="54" y="100"/>
                  </a:lnTo>
                  <a:close/>
                  <a:moveTo>
                    <a:pt x="54" y="99"/>
                  </a:moveTo>
                  <a:lnTo>
                    <a:pt x="54" y="100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61" y="99"/>
                  </a:moveTo>
                  <a:lnTo>
                    <a:pt x="61" y="99"/>
                  </a:lnTo>
                  <a:lnTo>
                    <a:pt x="61" y="99"/>
                  </a:lnTo>
                  <a:close/>
                  <a:moveTo>
                    <a:pt x="59" y="99"/>
                  </a:moveTo>
                  <a:lnTo>
                    <a:pt x="59" y="99"/>
                  </a:lnTo>
                  <a:lnTo>
                    <a:pt x="59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58" y="99"/>
                  </a:moveTo>
                  <a:lnTo>
                    <a:pt x="57" y="99"/>
                  </a:lnTo>
                  <a:lnTo>
                    <a:pt x="58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61" y="99"/>
                  </a:moveTo>
                  <a:lnTo>
                    <a:pt x="60" y="99"/>
                  </a:lnTo>
                  <a:lnTo>
                    <a:pt x="61" y="99"/>
                  </a:lnTo>
                  <a:close/>
                  <a:moveTo>
                    <a:pt x="58" y="99"/>
                  </a:moveTo>
                  <a:lnTo>
                    <a:pt x="58" y="98"/>
                  </a:lnTo>
                  <a:lnTo>
                    <a:pt x="58" y="99"/>
                  </a:lnTo>
                  <a:close/>
                  <a:moveTo>
                    <a:pt x="60" y="98"/>
                  </a:moveTo>
                  <a:lnTo>
                    <a:pt x="60" y="99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9"/>
                  </a:lnTo>
                  <a:lnTo>
                    <a:pt x="57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1" y="98"/>
                  </a:moveTo>
                  <a:lnTo>
                    <a:pt x="61" y="98"/>
                  </a:lnTo>
                  <a:lnTo>
                    <a:pt x="61" y="98"/>
                  </a:lnTo>
                  <a:close/>
                  <a:moveTo>
                    <a:pt x="60" y="98"/>
                  </a:moveTo>
                  <a:lnTo>
                    <a:pt x="60" y="98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0" y="98"/>
                  </a:moveTo>
                  <a:lnTo>
                    <a:pt x="60" y="97"/>
                  </a:lnTo>
                  <a:lnTo>
                    <a:pt x="60" y="98"/>
                  </a:lnTo>
                  <a:close/>
                  <a:moveTo>
                    <a:pt x="54" y="97"/>
                  </a:moveTo>
                  <a:lnTo>
                    <a:pt x="54" y="98"/>
                  </a:lnTo>
                  <a:lnTo>
                    <a:pt x="54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1" y="97"/>
                  </a:moveTo>
                  <a:lnTo>
                    <a:pt x="61" y="97"/>
                  </a:lnTo>
                  <a:lnTo>
                    <a:pt x="61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2" y="97"/>
                  </a:moveTo>
                  <a:lnTo>
                    <a:pt x="62" y="96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6"/>
                  </a:lnTo>
                  <a:lnTo>
                    <a:pt x="60" y="97"/>
                  </a:lnTo>
                  <a:close/>
                  <a:moveTo>
                    <a:pt x="61" y="97"/>
                  </a:moveTo>
                  <a:lnTo>
                    <a:pt x="61" y="96"/>
                  </a:lnTo>
                  <a:lnTo>
                    <a:pt x="61" y="97"/>
                  </a:lnTo>
                  <a:close/>
                  <a:moveTo>
                    <a:pt x="64" y="96"/>
                  </a:moveTo>
                  <a:lnTo>
                    <a:pt x="63" y="96"/>
                  </a:lnTo>
                  <a:lnTo>
                    <a:pt x="64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0" y="96"/>
                  </a:moveTo>
                  <a:lnTo>
                    <a:pt x="60" y="96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6"/>
                  </a:lnTo>
                  <a:close/>
                  <a:moveTo>
                    <a:pt x="62" y="96"/>
                  </a:moveTo>
                  <a:lnTo>
                    <a:pt x="62" y="95"/>
                  </a:lnTo>
                  <a:lnTo>
                    <a:pt x="62" y="96"/>
                  </a:lnTo>
                  <a:close/>
                  <a:moveTo>
                    <a:pt x="62" y="95"/>
                  </a:moveTo>
                  <a:lnTo>
                    <a:pt x="61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2" y="95"/>
                  </a:lnTo>
                  <a:lnTo>
                    <a:pt x="63" y="95"/>
                  </a:lnTo>
                  <a:close/>
                  <a:moveTo>
                    <a:pt x="64" y="95"/>
                  </a:moveTo>
                  <a:lnTo>
                    <a:pt x="64" y="95"/>
                  </a:lnTo>
                  <a:lnTo>
                    <a:pt x="64" y="95"/>
                  </a:lnTo>
                  <a:close/>
                  <a:moveTo>
                    <a:pt x="65" y="95"/>
                  </a:moveTo>
                  <a:lnTo>
                    <a:pt x="65" y="95"/>
                  </a:lnTo>
                  <a:lnTo>
                    <a:pt x="65" y="95"/>
                  </a:lnTo>
                  <a:close/>
                  <a:moveTo>
                    <a:pt x="65" y="95"/>
                  </a:moveTo>
                  <a:lnTo>
                    <a:pt x="64" y="95"/>
                  </a:lnTo>
                  <a:lnTo>
                    <a:pt x="65" y="95"/>
                  </a:lnTo>
                  <a:close/>
                  <a:moveTo>
                    <a:pt x="62" y="95"/>
                  </a:moveTo>
                  <a:lnTo>
                    <a:pt x="62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3" y="94"/>
                  </a:lnTo>
                  <a:lnTo>
                    <a:pt x="63" y="95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2" y="94"/>
                  </a:moveTo>
                  <a:lnTo>
                    <a:pt x="61" y="94"/>
                  </a:lnTo>
                  <a:lnTo>
                    <a:pt x="62" y="94"/>
                  </a:lnTo>
                  <a:close/>
                  <a:moveTo>
                    <a:pt x="59" y="94"/>
                  </a:moveTo>
                  <a:lnTo>
                    <a:pt x="59" y="94"/>
                  </a:lnTo>
                  <a:lnTo>
                    <a:pt x="59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3" y="94"/>
                  </a:moveTo>
                  <a:lnTo>
                    <a:pt x="63" y="94"/>
                  </a:lnTo>
                  <a:lnTo>
                    <a:pt x="63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6" y="94"/>
                  </a:moveTo>
                  <a:lnTo>
                    <a:pt x="65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2" y="94"/>
                  </a:lnTo>
                  <a:lnTo>
                    <a:pt x="61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0" y="94"/>
                  </a:moveTo>
                  <a:lnTo>
                    <a:pt x="60" y="94"/>
                  </a:lnTo>
                  <a:lnTo>
                    <a:pt x="60" y="94"/>
                  </a:lnTo>
                  <a:close/>
                  <a:moveTo>
                    <a:pt x="65" y="94"/>
                  </a:moveTo>
                  <a:lnTo>
                    <a:pt x="64" y="94"/>
                  </a:lnTo>
                  <a:lnTo>
                    <a:pt x="65" y="94"/>
                  </a:lnTo>
                  <a:close/>
                  <a:moveTo>
                    <a:pt x="62" y="94"/>
                  </a:moveTo>
                  <a:lnTo>
                    <a:pt x="62" y="94"/>
                  </a:lnTo>
                  <a:lnTo>
                    <a:pt x="62" y="94"/>
                  </a:lnTo>
                  <a:close/>
                  <a:moveTo>
                    <a:pt x="61" y="94"/>
                  </a:moveTo>
                  <a:lnTo>
                    <a:pt x="61" y="94"/>
                  </a:lnTo>
                  <a:lnTo>
                    <a:pt x="61" y="94"/>
                  </a:lnTo>
                  <a:close/>
                  <a:moveTo>
                    <a:pt x="63" y="94"/>
                  </a:moveTo>
                  <a:lnTo>
                    <a:pt x="62" y="94"/>
                  </a:lnTo>
                  <a:lnTo>
                    <a:pt x="63" y="94"/>
                  </a:lnTo>
                  <a:close/>
                  <a:moveTo>
                    <a:pt x="66" y="94"/>
                  </a:moveTo>
                  <a:lnTo>
                    <a:pt x="66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60" y="93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1" y="93"/>
                  </a:lnTo>
                  <a:lnTo>
                    <a:pt x="61" y="94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3" y="93"/>
                  </a:moveTo>
                  <a:lnTo>
                    <a:pt x="62" y="93"/>
                  </a:lnTo>
                  <a:lnTo>
                    <a:pt x="63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7" y="93"/>
                  </a:lnTo>
                  <a:lnTo>
                    <a:pt x="58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0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62" y="93"/>
                  </a:moveTo>
                  <a:lnTo>
                    <a:pt x="62" y="92"/>
                  </a:lnTo>
                  <a:lnTo>
                    <a:pt x="62" y="93"/>
                  </a:lnTo>
                  <a:close/>
                  <a:moveTo>
                    <a:pt x="66" y="92"/>
                  </a:moveTo>
                  <a:lnTo>
                    <a:pt x="66" y="93"/>
                  </a:lnTo>
                  <a:lnTo>
                    <a:pt x="66" y="92"/>
                  </a:lnTo>
                  <a:close/>
                  <a:moveTo>
                    <a:pt x="63" y="92"/>
                  </a:moveTo>
                  <a:lnTo>
                    <a:pt x="62" y="92"/>
                  </a:lnTo>
                  <a:lnTo>
                    <a:pt x="63" y="92"/>
                  </a:lnTo>
                  <a:close/>
                  <a:moveTo>
                    <a:pt x="60" y="92"/>
                  </a:moveTo>
                  <a:lnTo>
                    <a:pt x="60" y="92"/>
                  </a:lnTo>
                  <a:lnTo>
                    <a:pt x="60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7" y="92"/>
                  </a:moveTo>
                  <a:lnTo>
                    <a:pt x="66" y="92"/>
                  </a:lnTo>
                  <a:lnTo>
                    <a:pt x="67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3" y="92"/>
                  </a:moveTo>
                  <a:lnTo>
                    <a:pt x="63" y="92"/>
                  </a:lnTo>
                  <a:lnTo>
                    <a:pt x="63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2" y="92"/>
                  </a:lnTo>
                  <a:lnTo>
                    <a:pt x="61" y="92"/>
                  </a:lnTo>
                  <a:close/>
                  <a:moveTo>
                    <a:pt x="67" y="92"/>
                  </a:moveTo>
                  <a:lnTo>
                    <a:pt x="67" y="92"/>
                  </a:lnTo>
                  <a:lnTo>
                    <a:pt x="67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4" y="92"/>
                  </a:moveTo>
                  <a:lnTo>
                    <a:pt x="63" y="92"/>
                  </a:lnTo>
                  <a:lnTo>
                    <a:pt x="64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7" y="91"/>
                  </a:moveTo>
                  <a:lnTo>
                    <a:pt x="67" y="92"/>
                  </a:lnTo>
                  <a:lnTo>
                    <a:pt x="66" y="92"/>
                  </a:ln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3" y="92"/>
                  </a:moveTo>
                  <a:lnTo>
                    <a:pt x="63" y="91"/>
                  </a:lnTo>
                  <a:lnTo>
                    <a:pt x="63" y="92"/>
                  </a:lnTo>
                  <a:close/>
                  <a:moveTo>
                    <a:pt x="68" y="92"/>
                  </a:moveTo>
                  <a:lnTo>
                    <a:pt x="68" y="91"/>
                  </a:lnTo>
                  <a:lnTo>
                    <a:pt x="68" y="92"/>
                  </a:lnTo>
                  <a:close/>
                  <a:moveTo>
                    <a:pt x="69" y="91"/>
                  </a:moveTo>
                  <a:lnTo>
                    <a:pt x="69" y="92"/>
                  </a:lnTo>
                  <a:lnTo>
                    <a:pt x="69" y="91"/>
                  </a:lnTo>
                  <a:close/>
                  <a:moveTo>
                    <a:pt x="68" y="91"/>
                  </a:moveTo>
                  <a:lnTo>
                    <a:pt x="68" y="92"/>
                  </a:lnTo>
                  <a:lnTo>
                    <a:pt x="68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4" y="91"/>
                  </a:moveTo>
                  <a:lnTo>
                    <a:pt x="64" y="91"/>
                  </a:lnTo>
                  <a:lnTo>
                    <a:pt x="64" y="91"/>
                  </a:lnTo>
                  <a:close/>
                  <a:moveTo>
                    <a:pt x="68" y="91"/>
                  </a:moveTo>
                  <a:lnTo>
                    <a:pt x="68" y="91"/>
                  </a:lnTo>
                  <a:lnTo>
                    <a:pt x="68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5" y="91"/>
                  </a:moveTo>
                  <a:lnTo>
                    <a:pt x="65" y="91"/>
                  </a:lnTo>
                  <a:lnTo>
                    <a:pt x="65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2" y="90"/>
                  </a:moveTo>
                  <a:lnTo>
                    <a:pt x="63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3" y="90"/>
                  </a:moveTo>
                  <a:lnTo>
                    <a:pt x="62" y="90"/>
                  </a:lnTo>
                  <a:lnTo>
                    <a:pt x="63" y="90"/>
                  </a:lnTo>
                  <a:close/>
                  <a:moveTo>
                    <a:pt x="66" y="90"/>
                  </a:moveTo>
                  <a:lnTo>
                    <a:pt x="65" y="90"/>
                  </a:lnTo>
                  <a:lnTo>
                    <a:pt x="66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5" y="90"/>
                  </a:moveTo>
                  <a:lnTo>
                    <a:pt x="65" y="90"/>
                  </a:lnTo>
                  <a:lnTo>
                    <a:pt x="65" y="90"/>
                  </a:lnTo>
                  <a:close/>
                  <a:moveTo>
                    <a:pt x="66" y="90"/>
                  </a:moveTo>
                  <a:lnTo>
                    <a:pt x="66" y="89"/>
                  </a:lnTo>
                  <a:lnTo>
                    <a:pt x="66" y="90"/>
                  </a:lnTo>
                  <a:close/>
                  <a:moveTo>
                    <a:pt x="68" y="90"/>
                  </a:moveTo>
                  <a:lnTo>
                    <a:pt x="68" y="89"/>
                  </a:lnTo>
                  <a:lnTo>
                    <a:pt x="68" y="90"/>
                  </a:lnTo>
                  <a:close/>
                  <a:moveTo>
                    <a:pt x="68" y="89"/>
                  </a:move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8"/>
                  </a:lnTo>
                  <a:lnTo>
                    <a:pt x="67" y="89"/>
                  </a:lnTo>
                  <a:lnTo>
                    <a:pt x="66" y="89"/>
                  </a:lnTo>
                  <a:close/>
                  <a:moveTo>
                    <a:pt x="67" y="89"/>
                  </a:moveTo>
                  <a:lnTo>
                    <a:pt x="67" y="88"/>
                  </a:lnTo>
                  <a:lnTo>
                    <a:pt x="67" y="89"/>
                  </a:lnTo>
                  <a:close/>
                  <a:moveTo>
                    <a:pt x="65" y="88"/>
                  </a:moveTo>
                  <a:lnTo>
                    <a:pt x="65" y="89"/>
                  </a:lnTo>
                  <a:lnTo>
                    <a:pt x="65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6" y="88"/>
                  </a:moveTo>
                  <a:lnTo>
                    <a:pt x="66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7"/>
                  </a:moveTo>
                  <a:lnTo>
                    <a:pt x="66" y="88"/>
                  </a:lnTo>
                  <a:lnTo>
                    <a:pt x="66" y="87"/>
                  </a:lnTo>
                  <a:close/>
                  <a:moveTo>
                    <a:pt x="65" y="87"/>
                  </a:moveTo>
                  <a:lnTo>
                    <a:pt x="65" y="87"/>
                  </a:lnTo>
                  <a:lnTo>
                    <a:pt x="65" y="87"/>
                  </a:lnTo>
                  <a:close/>
                  <a:moveTo>
                    <a:pt x="63" y="84"/>
                  </a:moveTo>
                  <a:lnTo>
                    <a:pt x="63" y="84"/>
                  </a:lnTo>
                  <a:lnTo>
                    <a:pt x="63" y="84"/>
                  </a:lnTo>
                  <a:close/>
                  <a:moveTo>
                    <a:pt x="61" y="84"/>
                  </a:moveTo>
                  <a:lnTo>
                    <a:pt x="61" y="84"/>
                  </a:lnTo>
                  <a:lnTo>
                    <a:pt x="61" y="84"/>
                  </a:lnTo>
                  <a:close/>
                  <a:moveTo>
                    <a:pt x="62" y="84"/>
                  </a:moveTo>
                  <a:lnTo>
                    <a:pt x="62" y="84"/>
                  </a:lnTo>
                  <a:lnTo>
                    <a:pt x="62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4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3" y="83"/>
                  </a:moveTo>
                  <a:lnTo>
                    <a:pt x="62" y="83"/>
                  </a:lnTo>
                  <a:lnTo>
                    <a:pt x="63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61" y="82"/>
                  </a:moveTo>
                  <a:lnTo>
                    <a:pt x="61" y="81"/>
                  </a:lnTo>
                  <a:lnTo>
                    <a:pt x="61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61" y="81"/>
                  </a:moveTo>
                  <a:lnTo>
                    <a:pt x="60" y="81"/>
                  </a:lnTo>
                  <a:lnTo>
                    <a:pt x="61" y="81"/>
                  </a:lnTo>
                  <a:close/>
                  <a:moveTo>
                    <a:pt x="60" y="81"/>
                  </a:moveTo>
                  <a:lnTo>
                    <a:pt x="61" y="81"/>
                  </a:lnTo>
                  <a:lnTo>
                    <a:pt x="60" y="81"/>
                  </a:lnTo>
                  <a:close/>
                  <a:moveTo>
                    <a:pt x="58" y="81"/>
                  </a:moveTo>
                  <a:lnTo>
                    <a:pt x="58" y="81"/>
                  </a:lnTo>
                  <a:lnTo>
                    <a:pt x="58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60" y="81"/>
                  </a:moveTo>
                  <a:lnTo>
                    <a:pt x="60" y="81"/>
                  </a:lnTo>
                  <a:lnTo>
                    <a:pt x="60" y="81"/>
                  </a:lnTo>
                  <a:close/>
                  <a:moveTo>
                    <a:pt x="61" y="80"/>
                  </a:moveTo>
                  <a:lnTo>
                    <a:pt x="61" y="81"/>
                  </a:lnTo>
                  <a:lnTo>
                    <a:pt x="61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61" y="80"/>
                  </a:moveTo>
                  <a:lnTo>
                    <a:pt x="60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2" y="80"/>
                  </a:moveTo>
                  <a:lnTo>
                    <a:pt x="61" y="80"/>
                  </a:lnTo>
                  <a:lnTo>
                    <a:pt x="61" y="80"/>
                  </a:lnTo>
                  <a:lnTo>
                    <a:pt x="62" y="80"/>
                  </a:lnTo>
                  <a:close/>
                  <a:moveTo>
                    <a:pt x="58" y="80"/>
                  </a:moveTo>
                  <a:lnTo>
                    <a:pt x="57" y="80"/>
                  </a:lnTo>
                  <a:lnTo>
                    <a:pt x="57" y="80"/>
                  </a:lnTo>
                  <a:lnTo>
                    <a:pt x="58" y="80"/>
                  </a:lnTo>
                  <a:close/>
                  <a:moveTo>
                    <a:pt x="57" y="80"/>
                  </a:moveTo>
                  <a:lnTo>
                    <a:pt x="57" y="80"/>
                  </a:lnTo>
                  <a:lnTo>
                    <a:pt x="57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58" y="80"/>
                  </a:moveTo>
                  <a:lnTo>
                    <a:pt x="58" y="80"/>
                  </a:lnTo>
                  <a:lnTo>
                    <a:pt x="58" y="80"/>
                  </a:lnTo>
                  <a:close/>
                  <a:moveTo>
                    <a:pt x="58" y="80"/>
                  </a:moveTo>
                  <a:lnTo>
                    <a:pt x="58" y="79"/>
                  </a:lnTo>
                  <a:lnTo>
                    <a:pt x="58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57" y="79"/>
                  </a:moveTo>
                  <a:lnTo>
                    <a:pt x="57" y="80"/>
                  </a:lnTo>
                  <a:lnTo>
                    <a:pt x="57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60" y="79"/>
                  </a:lnTo>
                  <a:lnTo>
                    <a:pt x="60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4" y="79"/>
                  </a:moveTo>
                  <a:lnTo>
                    <a:pt x="54" y="79"/>
                  </a:lnTo>
                  <a:lnTo>
                    <a:pt x="54" y="79"/>
                  </a:lnTo>
                  <a:close/>
                  <a:moveTo>
                    <a:pt x="54" y="79"/>
                  </a:moveTo>
                  <a:lnTo>
                    <a:pt x="54" y="78"/>
                  </a:lnTo>
                  <a:lnTo>
                    <a:pt x="54" y="79"/>
                  </a:lnTo>
                  <a:close/>
                  <a:moveTo>
                    <a:pt x="57" y="79"/>
                  </a:moveTo>
                  <a:lnTo>
                    <a:pt x="57" y="78"/>
                  </a:lnTo>
                  <a:lnTo>
                    <a:pt x="57" y="79"/>
                  </a:lnTo>
                  <a:close/>
                  <a:moveTo>
                    <a:pt x="53" y="78"/>
                  </a:moveTo>
                  <a:lnTo>
                    <a:pt x="53" y="79"/>
                  </a:lnTo>
                  <a:lnTo>
                    <a:pt x="53" y="78"/>
                  </a:lnTo>
                  <a:close/>
                  <a:moveTo>
                    <a:pt x="54" y="78"/>
                  </a:moveTo>
                  <a:lnTo>
                    <a:pt x="54" y="79"/>
                  </a:lnTo>
                  <a:lnTo>
                    <a:pt x="54" y="78"/>
                  </a:lnTo>
                  <a:close/>
                  <a:moveTo>
                    <a:pt x="54" y="77"/>
                  </a:moveTo>
                  <a:lnTo>
                    <a:pt x="54" y="78"/>
                  </a:lnTo>
                  <a:lnTo>
                    <a:pt x="54" y="77"/>
                  </a:lnTo>
                  <a:close/>
                  <a:moveTo>
                    <a:pt x="54" y="78"/>
                  </a:moveTo>
                  <a:lnTo>
                    <a:pt x="54" y="77"/>
                  </a:lnTo>
                  <a:lnTo>
                    <a:pt x="54" y="78"/>
                  </a:lnTo>
                  <a:close/>
                  <a:moveTo>
                    <a:pt x="56" y="78"/>
                  </a:moveTo>
                  <a:lnTo>
                    <a:pt x="56" y="77"/>
                  </a:lnTo>
                  <a:lnTo>
                    <a:pt x="56" y="78"/>
                  </a:lnTo>
                  <a:close/>
                  <a:moveTo>
                    <a:pt x="54" y="77"/>
                  </a:moveTo>
                  <a:lnTo>
                    <a:pt x="53" y="77"/>
                  </a:lnTo>
                  <a:lnTo>
                    <a:pt x="54" y="77"/>
                  </a:lnTo>
                  <a:close/>
                  <a:moveTo>
                    <a:pt x="53" y="77"/>
                  </a:moveTo>
                  <a:lnTo>
                    <a:pt x="54" y="77"/>
                  </a:lnTo>
                  <a:lnTo>
                    <a:pt x="53" y="77"/>
                  </a:lnTo>
                  <a:close/>
                  <a:moveTo>
                    <a:pt x="53" y="77"/>
                  </a:moveTo>
                  <a:lnTo>
                    <a:pt x="53" y="77"/>
                  </a:lnTo>
                  <a:lnTo>
                    <a:pt x="53" y="77"/>
                  </a:lnTo>
                  <a:close/>
                  <a:moveTo>
                    <a:pt x="51" y="77"/>
                  </a:moveTo>
                  <a:lnTo>
                    <a:pt x="51" y="77"/>
                  </a:lnTo>
                  <a:lnTo>
                    <a:pt x="51" y="77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5"/>
                  </a:moveTo>
                  <a:lnTo>
                    <a:pt x="51" y="75"/>
                  </a:lnTo>
                  <a:lnTo>
                    <a:pt x="51" y="75"/>
                  </a:lnTo>
                  <a:close/>
                  <a:moveTo>
                    <a:pt x="50" y="73"/>
                  </a:moveTo>
                  <a:lnTo>
                    <a:pt x="50" y="74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1" y="73"/>
                  </a:lnTo>
                  <a:lnTo>
                    <a:pt x="50" y="73"/>
                  </a:lnTo>
                  <a:close/>
                  <a:moveTo>
                    <a:pt x="51" y="72"/>
                  </a:moveTo>
                  <a:lnTo>
                    <a:pt x="51" y="73"/>
                  </a:lnTo>
                  <a:lnTo>
                    <a:pt x="51" y="72"/>
                  </a:lnTo>
                  <a:close/>
                  <a:moveTo>
                    <a:pt x="50" y="72"/>
                  </a:moveTo>
                  <a:lnTo>
                    <a:pt x="51" y="72"/>
                  </a:lnTo>
                  <a:lnTo>
                    <a:pt x="50" y="72"/>
                  </a:lnTo>
                  <a:close/>
                  <a:moveTo>
                    <a:pt x="50" y="72"/>
                  </a:moveTo>
                  <a:lnTo>
                    <a:pt x="50" y="71"/>
                  </a:lnTo>
                  <a:lnTo>
                    <a:pt x="50" y="72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1" y="71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0" y="71"/>
                  </a:lnTo>
                  <a:lnTo>
                    <a:pt x="51" y="71"/>
                  </a:lnTo>
                  <a:close/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close/>
                  <a:moveTo>
                    <a:pt x="50" y="69"/>
                  </a:moveTo>
                  <a:lnTo>
                    <a:pt x="50" y="70"/>
                  </a:lnTo>
                  <a:lnTo>
                    <a:pt x="50" y="69"/>
                  </a:lnTo>
                  <a:lnTo>
                    <a:pt x="50" y="70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6"/>
                  </a:moveTo>
                  <a:lnTo>
                    <a:pt x="50" y="66"/>
                  </a:lnTo>
                  <a:lnTo>
                    <a:pt x="50" y="66"/>
                  </a:lnTo>
                  <a:close/>
                  <a:moveTo>
                    <a:pt x="51" y="65"/>
                  </a:moveTo>
                  <a:lnTo>
                    <a:pt x="51" y="66"/>
                  </a:lnTo>
                  <a:lnTo>
                    <a:pt x="51" y="65"/>
                  </a:lnTo>
                  <a:close/>
                  <a:moveTo>
                    <a:pt x="50" y="65"/>
                  </a:moveTo>
                  <a:lnTo>
                    <a:pt x="50" y="65"/>
                  </a:lnTo>
                  <a:lnTo>
                    <a:pt x="50" y="65"/>
                  </a:lnTo>
                  <a:close/>
                  <a:moveTo>
                    <a:pt x="49" y="65"/>
                  </a:moveTo>
                  <a:lnTo>
                    <a:pt x="50" y="65"/>
                  </a:lnTo>
                  <a:lnTo>
                    <a:pt x="49" y="65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close/>
                  <a:moveTo>
                    <a:pt x="50" y="64"/>
                  </a:move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51" y="64"/>
                  </a:moveTo>
                  <a:lnTo>
                    <a:pt x="51" y="64"/>
                  </a:lnTo>
                  <a:lnTo>
                    <a:pt x="51" y="64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2" y="61"/>
                  </a:moveTo>
                  <a:lnTo>
                    <a:pt x="52" y="62"/>
                  </a:lnTo>
                  <a:lnTo>
                    <a:pt x="52" y="61"/>
                  </a:lnTo>
                  <a:close/>
                  <a:moveTo>
                    <a:pt x="51" y="61"/>
                  </a:moveTo>
                  <a:lnTo>
                    <a:pt x="51" y="61"/>
                  </a:lnTo>
                  <a:lnTo>
                    <a:pt x="51" y="61"/>
                  </a:lnTo>
                  <a:close/>
                  <a:moveTo>
                    <a:pt x="52" y="59"/>
                  </a:moveTo>
                  <a:lnTo>
                    <a:pt x="51" y="59"/>
                  </a:lnTo>
                  <a:lnTo>
                    <a:pt x="52" y="59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4"/>
                  </a:moveTo>
                  <a:lnTo>
                    <a:pt x="53" y="55"/>
                  </a:lnTo>
                  <a:lnTo>
                    <a:pt x="53" y="54"/>
                  </a:lnTo>
                  <a:close/>
                  <a:moveTo>
                    <a:pt x="55" y="53"/>
                  </a:moveTo>
                  <a:lnTo>
                    <a:pt x="54" y="53"/>
                  </a:lnTo>
                  <a:lnTo>
                    <a:pt x="55" y="53"/>
                  </a:lnTo>
                  <a:close/>
                  <a:moveTo>
                    <a:pt x="52" y="53"/>
                  </a:moveTo>
                  <a:lnTo>
                    <a:pt x="52" y="53"/>
                  </a:lnTo>
                  <a:lnTo>
                    <a:pt x="52" y="53"/>
                  </a:lnTo>
                  <a:close/>
                  <a:moveTo>
                    <a:pt x="57" y="49"/>
                  </a:moveTo>
                  <a:lnTo>
                    <a:pt x="57" y="49"/>
                  </a:lnTo>
                  <a:lnTo>
                    <a:pt x="57" y="49"/>
                  </a:lnTo>
                  <a:close/>
                  <a:moveTo>
                    <a:pt x="56" y="48"/>
                  </a:moveTo>
                  <a:lnTo>
                    <a:pt x="56" y="48"/>
                  </a:lnTo>
                  <a:lnTo>
                    <a:pt x="56" y="48"/>
                  </a:lnTo>
                  <a:close/>
                  <a:moveTo>
                    <a:pt x="60" y="48"/>
                  </a:moveTo>
                  <a:lnTo>
                    <a:pt x="60" y="48"/>
                  </a:lnTo>
                  <a:lnTo>
                    <a:pt x="60" y="48"/>
                  </a:lnTo>
                  <a:close/>
                  <a:moveTo>
                    <a:pt x="59" y="48"/>
                  </a:moveTo>
                  <a:lnTo>
                    <a:pt x="58" y="47"/>
                  </a:lnTo>
                  <a:lnTo>
                    <a:pt x="59" y="48"/>
                  </a:lnTo>
                  <a:close/>
                  <a:moveTo>
                    <a:pt x="61" y="46"/>
                  </a:moveTo>
                  <a:lnTo>
                    <a:pt x="61" y="47"/>
                  </a:lnTo>
                  <a:lnTo>
                    <a:pt x="61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1" y="45"/>
                  </a:moveTo>
                  <a:lnTo>
                    <a:pt x="61" y="45"/>
                  </a:lnTo>
                  <a:lnTo>
                    <a:pt x="61" y="45"/>
                  </a:lnTo>
                  <a:close/>
                  <a:moveTo>
                    <a:pt x="54" y="45"/>
                  </a:moveTo>
                  <a:lnTo>
                    <a:pt x="54" y="46"/>
                  </a:lnTo>
                  <a:lnTo>
                    <a:pt x="54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61" y="45"/>
                  </a:moveTo>
                  <a:lnTo>
                    <a:pt x="61" y="44"/>
                  </a:lnTo>
                  <a:lnTo>
                    <a:pt x="61" y="45"/>
                  </a:lnTo>
                  <a:close/>
                  <a:moveTo>
                    <a:pt x="62" y="44"/>
                  </a:moveTo>
                  <a:lnTo>
                    <a:pt x="61" y="45"/>
                  </a:lnTo>
                  <a:lnTo>
                    <a:pt x="61" y="44"/>
                  </a:lnTo>
                  <a:lnTo>
                    <a:pt x="62" y="44"/>
                  </a:lnTo>
                  <a:close/>
                  <a:moveTo>
                    <a:pt x="62" y="44"/>
                  </a:moveTo>
                  <a:lnTo>
                    <a:pt x="62" y="44"/>
                  </a:lnTo>
                  <a:lnTo>
                    <a:pt x="62" y="44"/>
                  </a:lnTo>
                  <a:close/>
                  <a:moveTo>
                    <a:pt x="64" y="44"/>
                  </a:moveTo>
                  <a:lnTo>
                    <a:pt x="64" y="43"/>
                  </a:lnTo>
                  <a:lnTo>
                    <a:pt x="64" y="44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5" y="43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4" y="44"/>
                  </a:lnTo>
                  <a:lnTo>
                    <a:pt x="64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4"/>
                  </a:lnTo>
                  <a:lnTo>
                    <a:pt x="64" y="43"/>
                  </a:lnTo>
                  <a:lnTo>
                    <a:pt x="64" y="44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2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2"/>
                  </a:lnTo>
                  <a:lnTo>
                    <a:pt x="65" y="43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5" y="42"/>
                  </a:ln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9" y="41"/>
                  </a:moveTo>
                  <a:lnTo>
                    <a:pt x="69" y="40"/>
                  </a:lnTo>
                  <a:lnTo>
                    <a:pt x="69" y="41"/>
                  </a:lnTo>
                  <a:close/>
                  <a:moveTo>
                    <a:pt x="68" y="40"/>
                  </a:moveTo>
                  <a:lnTo>
                    <a:pt x="68" y="41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0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1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7" y="40"/>
                  </a:lnTo>
                  <a:lnTo>
                    <a:pt x="68" y="40"/>
                  </a:lnTo>
                  <a:close/>
                  <a:moveTo>
                    <a:pt x="69" y="40"/>
                  </a:moveTo>
                  <a:lnTo>
                    <a:pt x="69" y="39"/>
                  </a:lnTo>
                  <a:lnTo>
                    <a:pt x="69" y="40"/>
                  </a:lnTo>
                  <a:close/>
                  <a:moveTo>
                    <a:pt x="72" y="39"/>
                  </a:moveTo>
                  <a:lnTo>
                    <a:pt x="72" y="40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2" y="39"/>
                  </a:lnTo>
                  <a:lnTo>
                    <a:pt x="72" y="39"/>
                  </a:lnTo>
                  <a:close/>
                  <a:moveTo>
                    <a:pt x="71" y="39"/>
                  </a:moveTo>
                  <a:lnTo>
                    <a:pt x="71" y="39"/>
                  </a:lnTo>
                  <a:lnTo>
                    <a:pt x="71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3" y="39"/>
                  </a:moveTo>
                  <a:lnTo>
                    <a:pt x="73" y="38"/>
                  </a:lnTo>
                  <a:lnTo>
                    <a:pt x="73" y="39"/>
                  </a:lnTo>
                  <a:close/>
                  <a:moveTo>
                    <a:pt x="72" y="39"/>
                  </a:moveTo>
                  <a:lnTo>
                    <a:pt x="72" y="38"/>
                  </a:lnTo>
                  <a:lnTo>
                    <a:pt x="72" y="39"/>
                  </a:lnTo>
                  <a:close/>
                  <a:moveTo>
                    <a:pt x="79" y="38"/>
                  </a:moveTo>
                  <a:lnTo>
                    <a:pt x="79" y="38"/>
                  </a:lnTo>
                  <a:lnTo>
                    <a:pt x="79" y="38"/>
                  </a:lnTo>
                  <a:close/>
                  <a:moveTo>
                    <a:pt x="79" y="38"/>
                  </a:moveTo>
                  <a:lnTo>
                    <a:pt x="79" y="37"/>
                  </a:lnTo>
                  <a:lnTo>
                    <a:pt x="79" y="38"/>
                  </a:lnTo>
                  <a:close/>
                  <a:moveTo>
                    <a:pt x="79" y="37"/>
                  </a:moveTo>
                  <a:lnTo>
                    <a:pt x="79" y="38"/>
                  </a:lnTo>
                  <a:lnTo>
                    <a:pt x="79" y="37"/>
                  </a:lnTo>
                  <a:close/>
                  <a:moveTo>
                    <a:pt x="80" y="37"/>
                  </a:moveTo>
                  <a:lnTo>
                    <a:pt x="79" y="37"/>
                  </a:lnTo>
                  <a:lnTo>
                    <a:pt x="80" y="37"/>
                  </a:lnTo>
                  <a:close/>
                  <a:moveTo>
                    <a:pt x="75" y="37"/>
                  </a:moveTo>
                  <a:lnTo>
                    <a:pt x="75" y="37"/>
                  </a:lnTo>
                  <a:lnTo>
                    <a:pt x="75" y="37"/>
                  </a:lnTo>
                  <a:close/>
                  <a:moveTo>
                    <a:pt x="79" y="37"/>
                  </a:moveTo>
                  <a:lnTo>
                    <a:pt x="79" y="37"/>
                  </a:lnTo>
                  <a:lnTo>
                    <a:pt x="79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6"/>
                  </a:moveTo>
                  <a:lnTo>
                    <a:pt x="76" y="37"/>
                  </a:lnTo>
                  <a:lnTo>
                    <a:pt x="76" y="36"/>
                  </a:lnTo>
                  <a:close/>
                  <a:moveTo>
                    <a:pt x="77" y="36"/>
                  </a:moveTo>
                  <a:lnTo>
                    <a:pt x="77" y="36"/>
                  </a:lnTo>
                  <a:lnTo>
                    <a:pt x="77" y="36"/>
                  </a:lnTo>
                  <a:close/>
                  <a:moveTo>
                    <a:pt x="79" y="36"/>
                  </a:moveTo>
                  <a:lnTo>
                    <a:pt x="79" y="36"/>
                  </a:lnTo>
                  <a:lnTo>
                    <a:pt x="79" y="36"/>
                  </a:lnTo>
                  <a:close/>
                  <a:moveTo>
                    <a:pt x="76" y="36"/>
                  </a:moveTo>
                  <a:lnTo>
                    <a:pt x="76" y="36"/>
                  </a:lnTo>
                  <a:lnTo>
                    <a:pt x="76" y="36"/>
                  </a:lnTo>
                  <a:close/>
                  <a:moveTo>
                    <a:pt x="75" y="36"/>
                  </a:moveTo>
                  <a:lnTo>
                    <a:pt x="75" y="36"/>
                  </a:lnTo>
                  <a:lnTo>
                    <a:pt x="75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80" y="36"/>
                  </a:move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close/>
                  <a:moveTo>
                    <a:pt x="77" y="35"/>
                  </a:moveTo>
                  <a:lnTo>
                    <a:pt x="77" y="36"/>
                  </a:lnTo>
                  <a:lnTo>
                    <a:pt x="77" y="35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80" y="35"/>
                  </a:moveTo>
                  <a:lnTo>
                    <a:pt x="80" y="35"/>
                  </a:lnTo>
                  <a:lnTo>
                    <a:pt x="80" y="35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80" y="33"/>
                  </a:moveTo>
                  <a:lnTo>
                    <a:pt x="79" y="33"/>
                  </a:lnTo>
                  <a:lnTo>
                    <a:pt x="80" y="33"/>
                  </a:lnTo>
                  <a:close/>
                  <a:moveTo>
                    <a:pt x="80" y="32"/>
                  </a:moveTo>
                  <a:lnTo>
                    <a:pt x="80" y="33"/>
                  </a:lnTo>
                  <a:lnTo>
                    <a:pt x="80" y="32"/>
                  </a:lnTo>
                  <a:close/>
                  <a:moveTo>
                    <a:pt x="80" y="32"/>
                  </a:moveTo>
                  <a:lnTo>
                    <a:pt x="80" y="32"/>
                  </a:lnTo>
                  <a:lnTo>
                    <a:pt x="80" y="32"/>
                  </a:lnTo>
                  <a:close/>
                  <a:moveTo>
                    <a:pt x="80" y="31"/>
                  </a:moveTo>
                  <a:lnTo>
                    <a:pt x="80" y="31"/>
                  </a:lnTo>
                  <a:lnTo>
                    <a:pt x="80" y="31"/>
                  </a:lnTo>
                  <a:close/>
                  <a:moveTo>
                    <a:pt x="81" y="30"/>
                  </a:moveTo>
                  <a:lnTo>
                    <a:pt x="81" y="31"/>
                  </a:lnTo>
                  <a:lnTo>
                    <a:pt x="81" y="30"/>
                  </a:lnTo>
                  <a:close/>
                  <a:moveTo>
                    <a:pt x="83" y="29"/>
                  </a:moveTo>
                  <a:lnTo>
                    <a:pt x="82" y="29"/>
                  </a:lnTo>
                  <a:lnTo>
                    <a:pt x="83" y="29"/>
                  </a:lnTo>
                  <a:close/>
                  <a:moveTo>
                    <a:pt x="85" y="28"/>
                  </a:moveTo>
                  <a:lnTo>
                    <a:pt x="84" y="28"/>
                  </a:lnTo>
                  <a:lnTo>
                    <a:pt x="85" y="28"/>
                  </a:lnTo>
                  <a:close/>
                  <a:moveTo>
                    <a:pt x="85" y="27"/>
                  </a:moveTo>
                  <a:lnTo>
                    <a:pt x="84" y="27"/>
                  </a:lnTo>
                  <a:lnTo>
                    <a:pt x="85" y="27"/>
                  </a:lnTo>
                  <a:close/>
                  <a:moveTo>
                    <a:pt x="84" y="26"/>
                  </a:moveTo>
                  <a:lnTo>
                    <a:pt x="84" y="25"/>
                  </a:lnTo>
                  <a:lnTo>
                    <a:pt x="84" y="26"/>
                  </a:lnTo>
                  <a:close/>
                  <a:moveTo>
                    <a:pt x="83" y="24"/>
                  </a:moveTo>
                  <a:lnTo>
                    <a:pt x="83" y="25"/>
                  </a:lnTo>
                  <a:lnTo>
                    <a:pt x="83" y="24"/>
                  </a:lnTo>
                  <a:close/>
                  <a:moveTo>
                    <a:pt x="82" y="24"/>
                  </a:moveTo>
                  <a:lnTo>
                    <a:pt x="82" y="24"/>
                  </a:lnTo>
                  <a:lnTo>
                    <a:pt x="82" y="24"/>
                  </a:lnTo>
                  <a:close/>
                  <a:moveTo>
                    <a:pt x="83" y="23"/>
                  </a:moveTo>
                  <a:lnTo>
                    <a:pt x="83" y="23"/>
                  </a:lnTo>
                  <a:lnTo>
                    <a:pt x="83" y="23"/>
                  </a:lnTo>
                  <a:close/>
                  <a:moveTo>
                    <a:pt x="83" y="22"/>
                  </a:moveTo>
                  <a:lnTo>
                    <a:pt x="83" y="23"/>
                  </a:lnTo>
                  <a:lnTo>
                    <a:pt x="83" y="22"/>
                  </a:lnTo>
                  <a:close/>
                  <a:moveTo>
                    <a:pt x="82" y="22"/>
                  </a:moveTo>
                  <a:lnTo>
                    <a:pt x="82" y="22"/>
                  </a:lnTo>
                  <a:lnTo>
                    <a:pt x="82" y="22"/>
                  </a:lnTo>
                  <a:close/>
                  <a:moveTo>
                    <a:pt x="81" y="21"/>
                  </a:moveTo>
                  <a:lnTo>
                    <a:pt x="81" y="22"/>
                  </a:lnTo>
                  <a:lnTo>
                    <a:pt x="81" y="21"/>
                  </a:lnTo>
                  <a:close/>
                  <a:moveTo>
                    <a:pt x="83" y="21"/>
                  </a:moveTo>
                  <a:lnTo>
                    <a:pt x="83" y="21"/>
                  </a:lnTo>
                  <a:lnTo>
                    <a:pt x="83" y="21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4" y="20"/>
                  </a:moveTo>
                  <a:lnTo>
                    <a:pt x="83" y="20"/>
                  </a:lnTo>
                  <a:lnTo>
                    <a:pt x="84" y="20"/>
                  </a:lnTo>
                  <a:close/>
                  <a:moveTo>
                    <a:pt x="85" y="18"/>
                  </a:move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5" y="18"/>
                  </a:lnTo>
                  <a:lnTo>
                    <a:pt x="85" y="18"/>
                  </a:lnTo>
                  <a:close/>
                  <a:moveTo>
                    <a:pt x="87" y="17"/>
                  </a:moveTo>
                  <a:lnTo>
                    <a:pt x="88" y="17"/>
                  </a:lnTo>
                  <a:lnTo>
                    <a:pt x="87" y="17"/>
                  </a:lnTo>
                  <a:close/>
                  <a:moveTo>
                    <a:pt x="86" y="17"/>
                  </a:moveTo>
                  <a:lnTo>
                    <a:pt x="86" y="17"/>
                  </a:lnTo>
                  <a:lnTo>
                    <a:pt x="86" y="17"/>
                  </a:lnTo>
                  <a:close/>
                  <a:moveTo>
                    <a:pt x="86" y="16"/>
                  </a:moveTo>
                  <a:lnTo>
                    <a:pt x="86" y="17"/>
                  </a:lnTo>
                  <a:lnTo>
                    <a:pt x="86" y="16"/>
                  </a:lnTo>
                  <a:close/>
                  <a:moveTo>
                    <a:pt x="86" y="16"/>
                  </a:moveTo>
                  <a:lnTo>
                    <a:pt x="85" y="16"/>
                  </a:lnTo>
                  <a:lnTo>
                    <a:pt x="86" y="16"/>
                  </a:lnTo>
                  <a:close/>
                  <a:moveTo>
                    <a:pt x="88" y="16"/>
                  </a:moveTo>
                  <a:lnTo>
                    <a:pt x="88" y="16"/>
                  </a:lnTo>
                  <a:lnTo>
                    <a:pt x="88" y="16"/>
                  </a:lnTo>
                  <a:close/>
                  <a:moveTo>
                    <a:pt x="87" y="15"/>
                  </a:moveTo>
                  <a:lnTo>
                    <a:pt x="86" y="15"/>
                  </a:lnTo>
                  <a:lnTo>
                    <a:pt x="87" y="15"/>
                  </a:lnTo>
                  <a:close/>
                  <a:moveTo>
                    <a:pt x="92" y="15"/>
                  </a:moveTo>
                  <a:lnTo>
                    <a:pt x="91" y="15"/>
                  </a:lnTo>
                  <a:lnTo>
                    <a:pt x="92" y="15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85" y="15"/>
                  </a:moveTo>
                  <a:lnTo>
                    <a:pt x="84" y="15"/>
                  </a:lnTo>
                  <a:lnTo>
                    <a:pt x="85" y="15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86" y="14"/>
                  </a:moveTo>
                  <a:lnTo>
                    <a:pt x="86" y="15"/>
                  </a:lnTo>
                  <a:lnTo>
                    <a:pt x="86" y="14"/>
                  </a:lnTo>
                  <a:lnTo>
                    <a:pt x="85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8" y="14"/>
                  </a:lnTo>
                  <a:lnTo>
                    <a:pt x="88" y="14"/>
                  </a:lnTo>
                  <a:close/>
                  <a:moveTo>
                    <a:pt x="86" y="14"/>
                  </a:moveTo>
                  <a:lnTo>
                    <a:pt x="86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7" y="14"/>
                  </a:lnTo>
                  <a:lnTo>
                    <a:pt x="88" y="14"/>
                  </a:lnTo>
                  <a:close/>
                  <a:moveTo>
                    <a:pt x="90" y="14"/>
                  </a:moveTo>
                  <a:lnTo>
                    <a:pt x="89" y="14"/>
                  </a:lnTo>
                  <a:lnTo>
                    <a:pt x="90" y="14"/>
                  </a:lnTo>
                  <a:close/>
                  <a:moveTo>
                    <a:pt x="85" y="13"/>
                  </a:moveTo>
                  <a:lnTo>
                    <a:pt x="85" y="14"/>
                  </a:lnTo>
                  <a:lnTo>
                    <a:pt x="85" y="13"/>
                  </a:lnTo>
                  <a:close/>
                  <a:moveTo>
                    <a:pt x="89" y="14"/>
                  </a:moveTo>
                  <a:lnTo>
                    <a:pt x="88" y="14"/>
                  </a:lnTo>
                  <a:lnTo>
                    <a:pt x="88" y="13"/>
                  </a:lnTo>
                  <a:lnTo>
                    <a:pt x="89" y="14"/>
                  </a:lnTo>
                  <a:close/>
                  <a:moveTo>
                    <a:pt x="92" y="13"/>
                  </a:moveTo>
                  <a:lnTo>
                    <a:pt x="92" y="14"/>
                  </a:lnTo>
                  <a:lnTo>
                    <a:pt x="92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9" y="13"/>
                  </a:lnTo>
                  <a:lnTo>
                    <a:pt x="89" y="13"/>
                  </a:lnTo>
                  <a:close/>
                  <a:moveTo>
                    <a:pt x="91" y="13"/>
                  </a:moveTo>
                  <a:lnTo>
                    <a:pt x="91" y="13"/>
                  </a:lnTo>
                  <a:lnTo>
                    <a:pt x="91" y="13"/>
                  </a:lnTo>
                  <a:close/>
                  <a:moveTo>
                    <a:pt x="90" y="13"/>
                  </a:moveTo>
                  <a:lnTo>
                    <a:pt x="90" y="13"/>
                  </a:lnTo>
                  <a:lnTo>
                    <a:pt x="90" y="13"/>
                  </a:lnTo>
                  <a:close/>
                  <a:moveTo>
                    <a:pt x="92" y="13"/>
                  </a:moveTo>
                  <a:lnTo>
                    <a:pt x="91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8" y="13"/>
                  </a:lnTo>
                  <a:lnTo>
                    <a:pt x="89" y="13"/>
                  </a:lnTo>
                  <a:close/>
                  <a:moveTo>
                    <a:pt x="92" y="13"/>
                  </a:moveTo>
                  <a:lnTo>
                    <a:pt x="92" y="12"/>
                  </a:lnTo>
                  <a:lnTo>
                    <a:pt x="92" y="13"/>
                  </a:lnTo>
                  <a:close/>
                  <a:moveTo>
                    <a:pt x="94" y="12"/>
                  </a:moveTo>
                  <a:lnTo>
                    <a:pt x="94" y="13"/>
                  </a:lnTo>
                  <a:lnTo>
                    <a:pt x="94" y="12"/>
                  </a:lnTo>
                  <a:close/>
                  <a:moveTo>
                    <a:pt x="92" y="12"/>
                  </a:moveTo>
                  <a:lnTo>
                    <a:pt x="92" y="13"/>
                  </a:lnTo>
                  <a:lnTo>
                    <a:pt x="92" y="12"/>
                  </a:lnTo>
                  <a:close/>
                  <a:moveTo>
                    <a:pt x="95" y="12"/>
                  </a:moveTo>
                  <a:lnTo>
                    <a:pt x="95" y="12"/>
                  </a:lnTo>
                  <a:lnTo>
                    <a:pt x="95" y="12"/>
                  </a:lnTo>
                  <a:close/>
                  <a:moveTo>
                    <a:pt x="91" y="12"/>
                  </a:moveTo>
                  <a:lnTo>
                    <a:pt x="91" y="12"/>
                  </a:lnTo>
                  <a:lnTo>
                    <a:pt x="91" y="12"/>
                  </a:lnTo>
                  <a:close/>
                  <a:moveTo>
                    <a:pt x="93" y="11"/>
                  </a:moveTo>
                  <a:lnTo>
                    <a:pt x="92" y="11"/>
                  </a:lnTo>
                  <a:lnTo>
                    <a:pt x="93" y="11"/>
                  </a:lnTo>
                  <a:close/>
                  <a:moveTo>
                    <a:pt x="92" y="10"/>
                  </a:moveTo>
                  <a:lnTo>
                    <a:pt x="92" y="11"/>
                  </a:lnTo>
                  <a:lnTo>
                    <a:pt x="93" y="11"/>
                  </a:lnTo>
                  <a:lnTo>
                    <a:pt x="92" y="11"/>
                  </a:lnTo>
                  <a:lnTo>
                    <a:pt x="92" y="10"/>
                  </a:lnTo>
                  <a:close/>
                  <a:moveTo>
                    <a:pt x="95" y="11"/>
                  </a:moveTo>
                  <a:lnTo>
                    <a:pt x="95" y="10"/>
                  </a:lnTo>
                  <a:lnTo>
                    <a:pt x="95" y="11"/>
                  </a:lnTo>
                  <a:close/>
                  <a:moveTo>
                    <a:pt x="97" y="10"/>
                  </a:moveTo>
                  <a:lnTo>
                    <a:pt x="97" y="11"/>
                  </a:lnTo>
                  <a:lnTo>
                    <a:pt x="97" y="10"/>
                  </a:lnTo>
                  <a:close/>
                  <a:moveTo>
                    <a:pt x="97" y="10"/>
                  </a:moveTo>
                  <a:lnTo>
                    <a:pt x="97" y="10"/>
                  </a:lnTo>
                  <a:lnTo>
                    <a:pt x="97" y="10"/>
                  </a:lnTo>
                  <a:close/>
                  <a:moveTo>
                    <a:pt x="105" y="10"/>
                  </a:moveTo>
                  <a:lnTo>
                    <a:pt x="105" y="10"/>
                  </a:lnTo>
                  <a:lnTo>
                    <a:pt x="105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95" y="10"/>
                  </a:move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close/>
                  <a:moveTo>
                    <a:pt x="96" y="10"/>
                  </a:moveTo>
                  <a:lnTo>
                    <a:pt x="96" y="10"/>
                  </a:lnTo>
                  <a:lnTo>
                    <a:pt x="96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6" y="10"/>
                  </a:moveTo>
                  <a:lnTo>
                    <a:pt x="95" y="10"/>
                  </a:lnTo>
                  <a:lnTo>
                    <a:pt x="96" y="10"/>
                  </a:lnTo>
                  <a:close/>
                  <a:moveTo>
                    <a:pt x="94" y="10"/>
                  </a:moveTo>
                  <a:lnTo>
                    <a:pt x="95" y="10"/>
                  </a:lnTo>
                  <a:lnTo>
                    <a:pt x="94" y="10"/>
                  </a:lnTo>
                  <a:close/>
                  <a:moveTo>
                    <a:pt x="99" y="10"/>
                  </a:moveTo>
                  <a:lnTo>
                    <a:pt x="98" y="10"/>
                  </a:lnTo>
                  <a:lnTo>
                    <a:pt x="99" y="10"/>
                  </a:lnTo>
                  <a:close/>
                  <a:moveTo>
                    <a:pt x="92" y="10"/>
                  </a:moveTo>
                  <a:lnTo>
                    <a:pt x="92" y="9"/>
                  </a:lnTo>
                  <a:lnTo>
                    <a:pt x="92" y="10"/>
                  </a:lnTo>
                  <a:close/>
                  <a:moveTo>
                    <a:pt x="103" y="10"/>
                  </a:moveTo>
                  <a:lnTo>
                    <a:pt x="103" y="9"/>
                  </a:lnTo>
                  <a:lnTo>
                    <a:pt x="103" y="10"/>
                  </a:lnTo>
                  <a:close/>
                  <a:moveTo>
                    <a:pt x="98" y="10"/>
                  </a:moveTo>
                  <a:lnTo>
                    <a:pt x="98" y="9"/>
                  </a:lnTo>
                  <a:lnTo>
                    <a:pt x="98" y="10"/>
                  </a:lnTo>
                  <a:close/>
                  <a:moveTo>
                    <a:pt x="99" y="9"/>
                  </a:moveTo>
                  <a:lnTo>
                    <a:pt x="99" y="10"/>
                  </a:lnTo>
                  <a:lnTo>
                    <a:pt x="99" y="9"/>
                  </a:lnTo>
                  <a:close/>
                  <a:moveTo>
                    <a:pt x="99" y="10"/>
                  </a:moveTo>
                  <a:lnTo>
                    <a:pt x="99" y="9"/>
                  </a:lnTo>
                  <a:lnTo>
                    <a:pt x="99" y="10"/>
                  </a:lnTo>
                  <a:close/>
                  <a:moveTo>
                    <a:pt x="104" y="10"/>
                  </a:moveTo>
                  <a:lnTo>
                    <a:pt x="104" y="9"/>
                  </a:lnTo>
                  <a:lnTo>
                    <a:pt x="104" y="10"/>
                  </a:lnTo>
                  <a:close/>
                  <a:moveTo>
                    <a:pt x="98" y="9"/>
                  </a:moveTo>
                  <a:lnTo>
                    <a:pt x="98" y="10"/>
                  </a:lnTo>
                  <a:lnTo>
                    <a:pt x="98" y="9"/>
                  </a:lnTo>
                  <a:close/>
                  <a:moveTo>
                    <a:pt x="94" y="9"/>
                  </a:moveTo>
                  <a:lnTo>
                    <a:pt x="93" y="9"/>
                  </a:lnTo>
                  <a:lnTo>
                    <a:pt x="94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0" y="9"/>
                  </a:moveTo>
                  <a:lnTo>
                    <a:pt x="99" y="9"/>
                  </a:lnTo>
                  <a:lnTo>
                    <a:pt x="100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5" y="9"/>
                  </a:move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close/>
                  <a:moveTo>
                    <a:pt x="105" y="9"/>
                  </a:moveTo>
                  <a:lnTo>
                    <a:pt x="105" y="9"/>
                  </a:lnTo>
                  <a:lnTo>
                    <a:pt x="105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102" y="9"/>
                  </a:moveTo>
                  <a:lnTo>
                    <a:pt x="102" y="9"/>
                  </a:lnTo>
                  <a:lnTo>
                    <a:pt x="102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8" y="9"/>
                  </a:moveTo>
                  <a:lnTo>
                    <a:pt x="98" y="9"/>
                  </a:lnTo>
                  <a:lnTo>
                    <a:pt x="98" y="9"/>
                  </a:lnTo>
                  <a:close/>
                  <a:moveTo>
                    <a:pt x="99" y="9"/>
                  </a:moveTo>
                  <a:lnTo>
                    <a:pt x="98" y="9"/>
                  </a:lnTo>
                  <a:lnTo>
                    <a:pt x="99" y="9"/>
                  </a:lnTo>
                  <a:close/>
                  <a:moveTo>
                    <a:pt x="99" y="9"/>
                  </a:moveTo>
                  <a:lnTo>
                    <a:pt x="100" y="9"/>
                  </a:lnTo>
                  <a:lnTo>
                    <a:pt x="99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9" y="9"/>
                  </a:moveTo>
                  <a:lnTo>
                    <a:pt x="99" y="9"/>
                  </a:lnTo>
                  <a:lnTo>
                    <a:pt x="99" y="9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8"/>
                  </a:move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close/>
                  <a:moveTo>
                    <a:pt x="94" y="9"/>
                  </a:moveTo>
                  <a:lnTo>
                    <a:pt x="94" y="8"/>
                  </a:lnTo>
                  <a:lnTo>
                    <a:pt x="94" y="9"/>
                  </a:lnTo>
                  <a:close/>
                  <a:moveTo>
                    <a:pt x="105" y="8"/>
                  </a:moveTo>
                  <a:lnTo>
                    <a:pt x="105" y="9"/>
                  </a:lnTo>
                  <a:lnTo>
                    <a:pt x="105" y="8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9"/>
                  </a:moveTo>
                  <a:lnTo>
                    <a:pt x="99" y="8"/>
                  </a:lnTo>
                  <a:lnTo>
                    <a:pt x="99" y="9"/>
                  </a:lnTo>
                  <a:close/>
                  <a:moveTo>
                    <a:pt x="95" y="9"/>
                  </a:moveTo>
                  <a:lnTo>
                    <a:pt x="95" y="8"/>
                  </a:lnTo>
                  <a:lnTo>
                    <a:pt x="95" y="9"/>
                  </a:lnTo>
                  <a:close/>
                  <a:moveTo>
                    <a:pt x="95" y="8"/>
                  </a:moveTo>
                  <a:lnTo>
                    <a:pt x="95" y="9"/>
                  </a:lnTo>
                  <a:lnTo>
                    <a:pt x="95" y="8"/>
                  </a:lnTo>
                  <a:close/>
                  <a:moveTo>
                    <a:pt x="101" y="8"/>
                  </a:moveTo>
                  <a:lnTo>
                    <a:pt x="100" y="8"/>
                  </a:lnTo>
                  <a:lnTo>
                    <a:pt x="101" y="8"/>
                  </a:lnTo>
                  <a:close/>
                  <a:moveTo>
                    <a:pt x="103" y="8"/>
                  </a:moveTo>
                  <a:lnTo>
                    <a:pt x="102" y="8"/>
                  </a:lnTo>
                  <a:lnTo>
                    <a:pt x="103" y="8"/>
                  </a:lnTo>
                  <a:close/>
                  <a:moveTo>
                    <a:pt x="98" y="8"/>
                  </a:moveTo>
                  <a:lnTo>
                    <a:pt x="98" y="8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8"/>
                  </a:lnTo>
                  <a:close/>
                  <a:moveTo>
                    <a:pt x="91" y="7"/>
                  </a:moveTo>
                  <a:lnTo>
                    <a:pt x="91" y="8"/>
                  </a:lnTo>
                  <a:lnTo>
                    <a:pt x="91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2" y="7"/>
                  </a:lnTo>
                  <a:close/>
                  <a:moveTo>
                    <a:pt x="97" y="7"/>
                  </a:moveTo>
                  <a:lnTo>
                    <a:pt x="98" y="7"/>
                  </a:lnTo>
                  <a:lnTo>
                    <a:pt x="97" y="7"/>
                  </a:lnTo>
                  <a:close/>
                  <a:moveTo>
                    <a:pt x="97" y="7"/>
                  </a:moveTo>
                  <a:lnTo>
                    <a:pt x="97" y="7"/>
                  </a:lnTo>
                  <a:lnTo>
                    <a:pt x="97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95" y="0"/>
                  </a:move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3" name="Freeform 109"/>
            <p:cNvSpPr>
              <a:spLocks noEditPoints="1"/>
            </p:cNvSpPr>
            <p:nvPr/>
          </p:nvSpPr>
          <p:spPr bwMode="auto">
            <a:xfrm>
              <a:off x="5821823" y="3694204"/>
              <a:ext cx="46992" cy="31691"/>
            </a:xfrm>
            <a:custGeom>
              <a:avLst/>
              <a:gdLst>
                <a:gd name="T0" fmla="*/ 22 w 36"/>
                <a:gd name="T1" fmla="*/ 0 h 23"/>
                <a:gd name="T2" fmla="*/ 23 w 36"/>
                <a:gd name="T3" fmla="*/ 1 h 23"/>
                <a:gd name="T4" fmla="*/ 24 w 36"/>
                <a:gd name="T5" fmla="*/ 2 h 23"/>
                <a:gd name="T6" fmla="*/ 29 w 36"/>
                <a:gd name="T7" fmla="*/ 3 h 23"/>
                <a:gd name="T8" fmla="*/ 30 w 36"/>
                <a:gd name="T9" fmla="*/ 5 h 23"/>
                <a:gd name="T10" fmla="*/ 28 w 36"/>
                <a:gd name="T11" fmla="*/ 7 h 23"/>
                <a:gd name="T12" fmla="*/ 29 w 36"/>
                <a:gd name="T13" fmla="*/ 8 h 23"/>
                <a:gd name="T14" fmla="*/ 31 w 36"/>
                <a:gd name="T15" fmla="*/ 10 h 23"/>
                <a:gd name="T16" fmla="*/ 34 w 36"/>
                <a:gd name="T17" fmla="*/ 11 h 23"/>
                <a:gd name="T18" fmla="*/ 35 w 36"/>
                <a:gd name="T19" fmla="*/ 9 h 23"/>
                <a:gd name="T20" fmla="*/ 35 w 36"/>
                <a:gd name="T21" fmla="*/ 11 h 23"/>
                <a:gd name="T22" fmla="*/ 36 w 36"/>
                <a:gd name="T23" fmla="*/ 13 h 23"/>
                <a:gd name="T24" fmla="*/ 34 w 36"/>
                <a:gd name="T25" fmla="*/ 14 h 23"/>
                <a:gd name="T26" fmla="*/ 33 w 36"/>
                <a:gd name="T27" fmla="*/ 14 h 23"/>
                <a:gd name="T28" fmla="*/ 33 w 36"/>
                <a:gd name="T29" fmla="*/ 17 h 23"/>
                <a:gd name="T30" fmla="*/ 33 w 36"/>
                <a:gd name="T31" fmla="*/ 18 h 23"/>
                <a:gd name="T32" fmla="*/ 30 w 36"/>
                <a:gd name="T33" fmla="*/ 17 h 23"/>
                <a:gd name="T34" fmla="*/ 29 w 36"/>
                <a:gd name="T35" fmla="*/ 17 h 23"/>
                <a:gd name="T36" fmla="*/ 27 w 36"/>
                <a:gd name="T37" fmla="*/ 15 h 23"/>
                <a:gd name="T38" fmla="*/ 26 w 36"/>
                <a:gd name="T39" fmla="*/ 16 h 23"/>
                <a:gd name="T40" fmla="*/ 26 w 36"/>
                <a:gd name="T41" fmla="*/ 18 h 23"/>
                <a:gd name="T42" fmla="*/ 24 w 36"/>
                <a:gd name="T43" fmla="*/ 20 h 23"/>
                <a:gd name="T44" fmla="*/ 24 w 36"/>
                <a:gd name="T45" fmla="*/ 22 h 23"/>
                <a:gd name="T46" fmla="*/ 24 w 36"/>
                <a:gd name="T47" fmla="*/ 22 h 23"/>
                <a:gd name="T48" fmla="*/ 23 w 36"/>
                <a:gd name="T49" fmla="*/ 20 h 23"/>
                <a:gd name="T50" fmla="*/ 21 w 36"/>
                <a:gd name="T51" fmla="*/ 19 h 23"/>
                <a:gd name="T52" fmla="*/ 20 w 36"/>
                <a:gd name="T53" fmla="*/ 16 h 23"/>
                <a:gd name="T54" fmla="*/ 18 w 36"/>
                <a:gd name="T55" fmla="*/ 17 h 23"/>
                <a:gd name="T56" fmla="*/ 18 w 36"/>
                <a:gd name="T57" fmla="*/ 19 h 23"/>
                <a:gd name="T58" fmla="*/ 16 w 36"/>
                <a:gd name="T59" fmla="*/ 21 h 23"/>
                <a:gd name="T60" fmla="*/ 14 w 36"/>
                <a:gd name="T61" fmla="*/ 22 h 23"/>
                <a:gd name="T62" fmla="*/ 12 w 36"/>
                <a:gd name="T63" fmla="*/ 21 h 23"/>
                <a:gd name="T64" fmla="*/ 10 w 36"/>
                <a:gd name="T65" fmla="*/ 22 h 23"/>
                <a:gd name="T66" fmla="*/ 8 w 36"/>
                <a:gd name="T67" fmla="*/ 22 h 23"/>
                <a:gd name="T68" fmla="*/ 7 w 36"/>
                <a:gd name="T69" fmla="*/ 19 h 23"/>
                <a:gd name="T70" fmla="*/ 7 w 36"/>
                <a:gd name="T71" fmla="*/ 17 h 23"/>
                <a:gd name="T72" fmla="*/ 3 w 36"/>
                <a:gd name="T73" fmla="*/ 16 h 23"/>
                <a:gd name="T74" fmla="*/ 3 w 36"/>
                <a:gd name="T75" fmla="*/ 18 h 23"/>
                <a:gd name="T76" fmla="*/ 0 w 36"/>
                <a:gd name="T77" fmla="*/ 19 h 23"/>
                <a:gd name="T78" fmla="*/ 0 w 36"/>
                <a:gd name="T79" fmla="*/ 18 h 23"/>
                <a:gd name="T80" fmla="*/ 1 w 36"/>
                <a:gd name="T81" fmla="*/ 17 h 23"/>
                <a:gd name="T82" fmla="*/ 1 w 36"/>
                <a:gd name="T83" fmla="*/ 15 h 23"/>
                <a:gd name="T84" fmla="*/ 3 w 36"/>
                <a:gd name="T85" fmla="*/ 13 h 23"/>
                <a:gd name="T86" fmla="*/ 4 w 36"/>
                <a:gd name="T87" fmla="*/ 11 h 23"/>
                <a:gd name="T88" fmla="*/ 5 w 36"/>
                <a:gd name="T89" fmla="*/ 9 h 23"/>
                <a:gd name="T90" fmla="*/ 7 w 36"/>
                <a:gd name="T91" fmla="*/ 7 h 23"/>
                <a:gd name="T92" fmla="*/ 8 w 36"/>
                <a:gd name="T93" fmla="*/ 6 h 23"/>
                <a:gd name="T94" fmla="*/ 7 w 36"/>
                <a:gd name="T95" fmla="*/ 4 h 23"/>
                <a:gd name="T96" fmla="*/ 9 w 36"/>
                <a:gd name="T97" fmla="*/ 3 h 23"/>
                <a:gd name="T98" fmla="*/ 11 w 36"/>
                <a:gd name="T99" fmla="*/ 4 h 23"/>
                <a:gd name="T100" fmla="*/ 12 w 36"/>
                <a:gd name="T101" fmla="*/ 4 h 23"/>
                <a:gd name="T102" fmla="*/ 13 w 36"/>
                <a:gd name="T103" fmla="*/ 3 h 23"/>
                <a:gd name="T104" fmla="*/ 15 w 36"/>
                <a:gd name="T105" fmla="*/ 2 h 23"/>
                <a:gd name="T106" fmla="*/ 17 w 36"/>
                <a:gd name="T107" fmla="*/ 3 h 23"/>
                <a:gd name="T108" fmla="*/ 19 w 36"/>
                <a:gd name="T109" fmla="*/ 3 h 23"/>
                <a:gd name="T110" fmla="*/ 21 w 36"/>
                <a:gd name="T111" fmla="*/ 2 h 23"/>
                <a:gd name="T112" fmla="*/ 19 w 36"/>
                <a:gd name="T113" fmla="*/ 2 h 23"/>
                <a:gd name="T114" fmla="*/ 21 w 36"/>
                <a:gd name="T115" fmla="*/ 0 h 23"/>
                <a:gd name="T116" fmla="*/ 22 w 36"/>
                <a:gd name="T117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23">
                  <a:moveTo>
                    <a:pt x="21" y="0"/>
                  </a:move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21" y="0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4" name="Freeform 110"/>
            <p:cNvSpPr>
              <a:spLocks/>
            </p:cNvSpPr>
            <p:nvPr/>
          </p:nvSpPr>
          <p:spPr bwMode="auto">
            <a:xfrm>
              <a:off x="5973241" y="3779629"/>
              <a:ext cx="27411" cy="22045"/>
            </a:xfrm>
            <a:custGeom>
              <a:avLst/>
              <a:gdLst>
                <a:gd name="T0" fmla="*/ 12 w 21"/>
                <a:gd name="T1" fmla="*/ 0 h 16"/>
                <a:gd name="T2" fmla="*/ 14 w 21"/>
                <a:gd name="T3" fmla="*/ 0 h 16"/>
                <a:gd name="T4" fmla="*/ 15 w 21"/>
                <a:gd name="T5" fmla="*/ 0 h 16"/>
                <a:gd name="T6" fmla="*/ 16 w 21"/>
                <a:gd name="T7" fmla="*/ 0 h 16"/>
                <a:gd name="T8" fmla="*/ 16 w 21"/>
                <a:gd name="T9" fmla="*/ 1 h 16"/>
                <a:gd name="T10" fmla="*/ 18 w 21"/>
                <a:gd name="T11" fmla="*/ 3 h 16"/>
                <a:gd name="T12" fmla="*/ 19 w 21"/>
                <a:gd name="T13" fmla="*/ 3 h 16"/>
                <a:gd name="T14" fmla="*/ 19 w 21"/>
                <a:gd name="T15" fmla="*/ 5 h 16"/>
                <a:gd name="T16" fmla="*/ 20 w 21"/>
                <a:gd name="T17" fmla="*/ 6 h 16"/>
                <a:gd name="T18" fmla="*/ 21 w 21"/>
                <a:gd name="T19" fmla="*/ 7 h 16"/>
                <a:gd name="T20" fmla="*/ 21 w 21"/>
                <a:gd name="T21" fmla="*/ 8 h 16"/>
                <a:gd name="T22" fmla="*/ 21 w 21"/>
                <a:gd name="T23" fmla="*/ 8 h 16"/>
                <a:gd name="T24" fmla="*/ 21 w 21"/>
                <a:gd name="T25" fmla="*/ 10 h 16"/>
                <a:gd name="T26" fmla="*/ 20 w 21"/>
                <a:gd name="T27" fmla="*/ 11 h 16"/>
                <a:gd name="T28" fmla="*/ 19 w 21"/>
                <a:gd name="T29" fmla="*/ 12 h 16"/>
                <a:gd name="T30" fmla="*/ 18 w 21"/>
                <a:gd name="T31" fmla="*/ 13 h 16"/>
                <a:gd name="T32" fmla="*/ 17 w 21"/>
                <a:gd name="T33" fmla="*/ 14 h 16"/>
                <a:gd name="T34" fmla="*/ 15 w 21"/>
                <a:gd name="T35" fmla="*/ 14 h 16"/>
                <a:gd name="T36" fmla="*/ 14 w 21"/>
                <a:gd name="T37" fmla="*/ 13 h 16"/>
                <a:gd name="T38" fmla="*/ 13 w 21"/>
                <a:gd name="T39" fmla="*/ 14 h 16"/>
                <a:gd name="T40" fmla="*/ 12 w 21"/>
                <a:gd name="T41" fmla="*/ 14 h 16"/>
                <a:gd name="T42" fmla="*/ 12 w 21"/>
                <a:gd name="T43" fmla="*/ 15 h 16"/>
                <a:gd name="T44" fmla="*/ 11 w 21"/>
                <a:gd name="T45" fmla="*/ 15 h 16"/>
                <a:gd name="T46" fmla="*/ 11 w 21"/>
                <a:gd name="T47" fmla="*/ 16 h 16"/>
                <a:gd name="T48" fmla="*/ 10 w 21"/>
                <a:gd name="T49" fmla="*/ 16 h 16"/>
                <a:gd name="T50" fmla="*/ 9 w 21"/>
                <a:gd name="T51" fmla="*/ 16 h 16"/>
                <a:gd name="T52" fmla="*/ 8 w 21"/>
                <a:gd name="T53" fmla="*/ 16 h 16"/>
                <a:gd name="T54" fmla="*/ 6 w 21"/>
                <a:gd name="T55" fmla="*/ 16 h 16"/>
                <a:gd name="T56" fmla="*/ 4 w 21"/>
                <a:gd name="T57" fmla="*/ 16 h 16"/>
                <a:gd name="T58" fmla="*/ 3 w 21"/>
                <a:gd name="T59" fmla="*/ 16 h 16"/>
                <a:gd name="T60" fmla="*/ 1 w 21"/>
                <a:gd name="T61" fmla="*/ 14 h 16"/>
                <a:gd name="T62" fmla="*/ 1 w 21"/>
                <a:gd name="T63" fmla="*/ 13 h 16"/>
                <a:gd name="T64" fmla="*/ 0 w 21"/>
                <a:gd name="T65" fmla="*/ 11 h 16"/>
                <a:gd name="T66" fmla="*/ 1 w 21"/>
                <a:gd name="T67" fmla="*/ 10 h 16"/>
                <a:gd name="T68" fmla="*/ 1 w 21"/>
                <a:gd name="T69" fmla="*/ 10 h 16"/>
                <a:gd name="T70" fmla="*/ 1 w 21"/>
                <a:gd name="T71" fmla="*/ 9 h 16"/>
                <a:gd name="T72" fmla="*/ 1 w 21"/>
                <a:gd name="T73" fmla="*/ 7 h 16"/>
                <a:gd name="T74" fmla="*/ 1 w 21"/>
                <a:gd name="T75" fmla="*/ 5 h 16"/>
                <a:gd name="T76" fmla="*/ 2 w 21"/>
                <a:gd name="T77" fmla="*/ 5 h 16"/>
                <a:gd name="T78" fmla="*/ 3 w 21"/>
                <a:gd name="T79" fmla="*/ 4 h 16"/>
                <a:gd name="T80" fmla="*/ 3 w 21"/>
                <a:gd name="T81" fmla="*/ 3 h 16"/>
                <a:gd name="T82" fmla="*/ 4 w 21"/>
                <a:gd name="T83" fmla="*/ 2 h 16"/>
                <a:gd name="T84" fmla="*/ 6 w 21"/>
                <a:gd name="T85" fmla="*/ 1 h 16"/>
                <a:gd name="T86" fmla="*/ 7 w 21"/>
                <a:gd name="T87" fmla="*/ 3 h 16"/>
                <a:gd name="T88" fmla="*/ 8 w 21"/>
                <a:gd name="T89" fmla="*/ 1 h 16"/>
                <a:gd name="T90" fmla="*/ 10 w 21"/>
                <a:gd name="T91" fmla="*/ 1 h 16"/>
                <a:gd name="T92" fmla="*/ 10 w 21"/>
                <a:gd name="T93" fmla="*/ 1 h 16"/>
                <a:gd name="T94" fmla="*/ 11 w 21"/>
                <a:gd name="T95" fmla="*/ 0 h 16"/>
                <a:gd name="T96" fmla="*/ 12 w 21"/>
                <a:gd name="T9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" h="16">
                  <a:moveTo>
                    <a:pt x="12" y="1"/>
                  </a:moveTo>
                  <a:lnTo>
                    <a:pt x="12" y="1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5" name="Freeform 111"/>
            <p:cNvSpPr>
              <a:spLocks noEditPoints="1"/>
            </p:cNvSpPr>
            <p:nvPr/>
          </p:nvSpPr>
          <p:spPr bwMode="auto">
            <a:xfrm>
              <a:off x="5991515" y="3619801"/>
              <a:ext cx="189272" cy="128139"/>
            </a:xfrm>
            <a:custGeom>
              <a:avLst/>
              <a:gdLst>
                <a:gd name="T0" fmla="*/ 118 w 145"/>
                <a:gd name="T1" fmla="*/ 65 h 93"/>
                <a:gd name="T2" fmla="*/ 112 w 145"/>
                <a:gd name="T3" fmla="*/ 67 h 93"/>
                <a:gd name="T4" fmla="*/ 105 w 145"/>
                <a:gd name="T5" fmla="*/ 73 h 93"/>
                <a:gd name="T6" fmla="*/ 103 w 145"/>
                <a:gd name="T7" fmla="*/ 77 h 93"/>
                <a:gd name="T8" fmla="*/ 113 w 145"/>
                <a:gd name="T9" fmla="*/ 80 h 93"/>
                <a:gd name="T10" fmla="*/ 110 w 145"/>
                <a:gd name="T11" fmla="*/ 86 h 93"/>
                <a:gd name="T12" fmla="*/ 100 w 145"/>
                <a:gd name="T13" fmla="*/ 89 h 93"/>
                <a:gd name="T14" fmla="*/ 91 w 145"/>
                <a:gd name="T15" fmla="*/ 90 h 93"/>
                <a:gd name="T16" fmla="*/ 88 w 145"/>
                <a:gd name="T17" fmla="*/ 83 h 93"/>
                <a:gd name="T18" fmla="*/ 84 w 145"/>
                <a:gd name="T19" fmla="*/ 80 h 93"/>
                <a:gd name="T20" fmla="*/ 92 w 145"/>
                <a:gd name="T21" fmla="*/ 75 h 93"/>
                <a:gd name="T22" fmla="*/ 87 w 145"/>
                <a:gd name="T23" fmla="*/ 73 h 93"/>
                <a:gd name="T24" fmla="*/ 79 w 145"/>
                <a:gd name="T25" fmla="*/ 72 h 93"/>
                <a:gd name="T26" fmla="*/ 75 w 145"/>
                <a:gd name="T27" fmla="*/ 69 h 93"/>
                <a:gd name="T28" fmla="*/ 86 w 145"/>
                <a:gd name="T29" fmla="*/ 66 h 93"/>
                <a:gd name="T30" fmla="*/ 83 w 145"/>
                <a:gd name="T31" fmla="*/ 68 h 93"/>
                <a:gd name="T32" fmla="*/ 78 w 145"/>
                <a:gd name="T33" fmla="*/ 62 h 93"/>
                <a:gd name="T34" fmla="*/ 78 w 145"/>
                <a:gd name="T35" fmla="*/ 68 h 93"/>
                <a:gd name="T36" fmla="*/ 73 w 145"/>
                <a:gd name="T37" fmla="*/ 68 h 93"/>
                <a:gd name="T38" fmla="*/ 67 w 145"/>
                <a:gd name="T39" fmla="*/ 73 h 93"/>
                <a:gd name="T40" fmla="*/ 65 w 145"/>
                <a:gd name="T41" fmla="*/ 75 h 93"/>
                <a:gd name="T42" fmla="*/ 61 w 145"/>
                <a:gd name="T43" fmla="*/ 78 h 93"/>
                <a:gd name="T44" fmla="*/ 61 w 145"/>
                <a:gd name="T45" fmla="*/ 81 h 93"/>
                <a:gd name="T46" fmla="*/ 49 w 145"/>
                <a:gd name="T47" fmla="*/ 80 h 93"/>
                <a:gd name="T48" fmla="*/ 57 w 145"/>
                <a:gd name="T49" fmla="*/ 68 h 93"/>
                <a:gd name="T50" fmla="*/ 64 w 145"/>
                <a:gd name="T51" fmla="*/ 69 h 93"/>
                <a:gd name="T52" fmla="*/ 59 w 145"/>
                <a:gd name="T53" fmla="*/ 62 h 93"/>
                <a:gd name="T54" fmla="*/ 57 w 145"/>
                <a:gd name="T55" fmla="*/ 53 h 93"/>
                <a:gd name="T56" fmla="*/ 50 w 145"/>
                <a:gd name="T57" fmla="*/ 49 h 93"/>
                <a:gd name="T58" fmla="*/ 40 w 145"/>
                <a:gd name="T59" fmla="*/ 47 h 93"/>
                <a:gd name="T60" fmla="*/ 33 w 145"/>
                <a:gd name="T61" fmla="*/ 51 h 93"/>
                <a:gd name="T62" fmla="*/ 20 w 145"/>
                <a:gd name="T63" fmla="*/ 53 h 93"/>
                <a:gd name="T64" fmla="*/ 8 w 145"/>
                <a:gd name="T65" fmla="*/ 50 h 93"/>
                <a:gd name="T66" fmla="*/ 0 w 145"/>
                <a:gd name="T67" fmla="*/ 45 h 93"/>
                <a:gd name="T68" fmla="*/ 4 w 145"/>
                <a:gd name="T69" fmla="*/ 38 h 93"/>
                <a:gd name="T70" fmla="*/ 11 w 145"/>
                <a:gd name="T71" fmla="*/ 25 h 93"/>
                <a:gd name="T72" fmla="*/ 15 w 145"/>
                <a:gd name="T73" fmla="*/ 17 h 93"/>
                <a:gd name="T74" fmla="*/ 13 w 145"/>
                <a:gd name="T75" fmla="*/ 9 h 93"/>
                <a:gd name="T76" fmla="*/ 26 w 145"/>
                <a:gd name="T77" fmla="*/ 5 h 93"/>
                <a:gd name="T78" fmla="*/ 41 w 145"/>
                <a:gd name="T79" fmla="*/ 8 h 93"/>
                <a:gd name="T80" fmla="*/ 48 w 145"/>
                <a:gd name="T81" fmla="*/ 9 h 93"/>
                <a:gd name="T82" fmla="*/ 59 w 145"/>
                <a:gd name="T83" fmla="*/ 11 h 93"/>
                <a:gd name="T84" fmla="*/ 68 w 145"/>
                <a:gd name="T85" fmla="*/ 10 h 93"/>
                <a:gd name="T86" fmla="*/ 72 w 145"/>
                <a:gd name="T87" fmla="*/ 3 h 93"/>
                <a:gd name="T88" fmla="*/ 82 w 145"/>
                <a:gd name="T89" fmla="*/ 2 h 93"/>
                <a:gd name="T90" fmla="*/ 94 w 145"/>
                <a:gd name="T91" fmla="*/ 1 h 93"/>
                <a:gd name="T92" fmla="*/ 97 w 145"/>
                <a:gd name="T93" fmla="*/ 11 h 93"/>
                <a:gd name="T94" fmla="*/ 105 w 145"/>
                <a:gd name="T95" fmla="*/ 16 h 93"/>
                <a:gd name="T96" fmla="*/ 109 w 145"/>
                <a:gd name="T97" fmla="*/ 24 h 93"/>
                <a:gd name="T98" fmla="*/ 123 w 145"/>
                <a:gd name="T99" fmla="*/ 23 h 93"/>
                <a:gd name="T100" fmla="*/ 132 w 145"/>
                <a:gd name="T101" fmla="*/ 28 h 93"/>
                <a:gd name="T102" fmla="*/ 143 w 145"/>
                <a:gd name="T103" fmla="*/ 34 h 93"/>
                <a:gd name="T104" fmla="*/ 141 w 145"/>
                <a:gd name="T105" fmla="*/ 42 h 93"/>
                <a:gd name="T106" fmla="*/ 142 w 145"/>
                <a:gd name="T107" fmla="*/ 51 h 93"/>
                <a:gd name="T108" fmla="*/ 130 w 145"/>
                <a:gd name="T109" fmla="*/ 57 h 93"/>
                <a:gd name="T110" fmla="*/ 95 w 145"/>
                <a:gd name="T111" fmla="*/ 73 h 93"/>
                <a:gd name="T112" fmla="*/ 97 w 145"/>
                <a:gd name="T113" fmla="*/ 75 h 93"/>
                <a:gd name="T114" fmla="*/ 100 w 145"/>
                <a:gd name="T115" fmla="*/ 75 h 93"/>
                <a:gd name="T116" fmla="*/ 99 w 145"/>
                <a:gd name="T117" fmla="*/ 76 h 93"/>
                <a:gd name="T118" fmla="*/ 103 w 145"/>
                <a:gd name="T119" fmla="*/ 79 h 93"/>
                <a:gd name="T120" fmla="*/ 103 w 145"/>
                <a:gd name="T121" fmla="*/ 77 h 93"/>
                <a:gd name="T122" fmla="*/ 101 w 145"/>
                <a:gd name="T123" fmla="*/ 73 h 93"/>
                <a:gd name="T124" fmla="*/ 97 w 145"/>
                <a:gd name="T125" fmla="*/ 7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5" h="93">
                  <a:moveTo>
                    <a:pt x="61" y="83"/>
                  </a:moveTo>
                  <a:lnTo>
                    <a:pt x="61" y="84"/>
                  </a:lnTo>
                  <a:lnTo>
                    <a:pt x="60" y="84"/>
                  </a:ln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113" y="68"/>
                  </a:moveTo>
                  <a:lnTo>
                    <a:pt x="113" y="68"/>
                  </a:lnTo>
                  <a:lnTo>
                    <a:pt x="112" y="69"/>
                  </a:lnTo>
                  <a:lnTo>
                    <a:pt x="113" y="68"/>
                  </a:lnTo>
                  <a:lnTo>
                    <a:pt x="113" y="68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3" y="62"/>
                  </a:lnTo>
                  <a:lnTo>
                    <a:pt x="123" y="63"/>
                  </a:lnTo>
                  <a:lnTo>
                    <a:pt x="123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1" y="64"/>
                  </a:lnTo>
                  <a:lnTo>
                    <a:pt x="121" y="65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8" y="65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4" y="66"/>
                  </a:lnTo>
                  <a:lnTo>
                    <a:pt x="114" y="67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7" y="69"/>
                  </a:lnTo>
                  <a:lnTo>
                    <a:pt x="106" y="69"/>
                  </a:lnTo>
                  <a:lnTo>
                    <a:pt x="106" y="70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5" y="73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0"/>
                  </a:lnTo>
                  <a:lnTo>
                    <a:pt x="105" y="70"/>
                  </a:lnTo>
                  <a:lnTo>
                    <a:pt x="105" y="69"/>
                  </a:lnTo>
                  <a:lnTo>
                    <a:pt x="105" y="69"/>
                  </a:lnTo>
                  <a:lnTo>
                    <a:pt x="104" y="69"/>
                  </a:lnTo>
                  <a:lnTo>
                    <a:pt x="105" y="69"/>
                  </a:lnTo>
                  <a:lnTo>
                    <a:pt x="105" y="70"/>
                  </a:lnTo>
                  <a:lnTo>
                    <a:pt x="105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2"/>
                  </a:lnTo>
                  <a:lnTo>
                    <a:pt x="103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1" y="72"/>
                  </a:lnTo>
                  <a:lnTo>
                    <a:pt x="101" y="73"/>
                  </a:lnTo>
                  <a:lnTo>
                    <a:pt x="102" y="73"/>
                  </a:lnTo>
                  <a:lnTo>
                    <a:pt x="102" y="74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3" y="78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5" y="80"/>
                  </a:lnTo>
                  <a:lnTo>
                    <a:pt x="105" y="80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3"/>
                  </a:lnTo>
                  <a:lnTo>
                    <a:pt x="107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4" y="81"/>
                  </a:lnTo>
                  <a:lnTo>
                    <a:pt x="114" y="80"/>
                  </a:lnTo>
                  <a:lnTo>
                    <a:pt x="114" y="81"/>
                  </a:lnTo>
                  <a:lnTo>
                    <a:pt x="115" y="81"/>
                  </a:lnTo>
                  <a:lnTo>
                    <a:pt x="115" y="81"/>
                  </a:lnTo>
                  <a:lnTo>
                    <a:pt x="116" y="82"/>
                  </a:lnTo>
                  <a:lnTo>
                    <a:pt x="116" y="81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4" y="84"/>
                  </a:lnTo>
                  <a:lnTo>
                    <a:pt x="115" y="84"/>
                  </a:lnTo>
                  <a:lnTo>
                    <a:pt x="115" y="85"/>
                  </a:lnTo>
                  <a:lnTo>
                    <a:pt x="114" y="85"/>
                  </a:lnTo>
                  <a:lnTo>
                    <a:pt x="114" y="86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1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09" y="85"/>
                  </a:lnTo>
                  <a:lnTo>
                    <a:pt x="108" y="85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7" y="84"/>
                  </a:lnTo>
                  <a:lnTo>
                    <a:pt x="107" y="85"/>
                  </a:lnTo>
                  <a:lnTo>
                    <a:pt x="106" y="85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7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4" y="87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3" y="88"/>
                  </a:lnTo>
                  <a:lnTo>
                    <a:pt x="102" y="88"/>
                  </a:lnTo>
                  <a:lnTo>
                    <a:pt x="102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9"/>
                  </a:lnTo>
                  <a:lnTo>
                    <a:pt x="99" y="89"/>
                  </a:lnTo>
                  <a:lnTo>
                    <a:pt x="98" y="89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1"/>
                  </a:lnTo>
                  <a:lnTo>
                    <a:pt x="98" y="91"/>
                  </a:lnTo>
                  <a:lnTo>
                    <a:pt x="97" y="91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6" y="92"/>
                  </a:lnTo>
                  <a:lnTo>
                    <a:pt x="96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2" y="93"/>
                  </a:lnTo>
                  <a:lnTo>
                    <a:pt x="92" y="92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89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2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91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1" y="85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8" y="84"/>
                  </a:lnTo>
                  <a:lnTo>
                    <a:pt x="88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1"/>
                  </a:lnTo>
                  <a:lnTo>
                    <a:pt x="89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3"/>
                  </a:lnTo>
                  <a:lnTo>
                    <a:pt x="84" y="83"/>
                  </a:lnTo>
                  <a:lnTo>
                    <a:pt x="84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1"/>
                  </a:lnTo>
                  <a:lnTo>
                    <a:pt x="83" y="80"/>
                  </a:lnTo>
                  <a:lnTo>
                    <a:pt x="84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7" y="79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88" y="78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4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0" y="74"/>
                  </a:lnTo>
                  <a:lnTo>
                    <a:pt x="90" y="75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89" y="74"/>
                  </a:lnTo>
                  <a:lnTo>
                    <a:pt x="90" y="74"/>
                  </a:lnTo>
                  <a:lnTo>
                    <a:pt x="89" y="74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2"/>
                  </a:lnTo>
                  <a:lnTo>
                    <a:pt x="89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4" y="73"/>
                  </a:lnTo>
                  <a:lnTo>
                    <a:pt x="83" y="73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1" y="72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7" y="72"/>
                  </a:lnTo>
                  <a:lnTo>
                    <a:pt x="77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9" y="71"/>
                  </a:lnTo>
                  <a:lnTo>
                    <a:pt x="79" y="71"/>
                  </a:lnTo>
                  <a:lnTo>
                    <a:pt x="79" y="70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6" y="69"/>
                  </a:lnTo>
                  <a:lnTo>
                    <a:pt x="76" y="70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5" y="69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7" y="68"/>
                  </a:lnTo>
                  <a:lnTo>
                    <a:pt x="77" y="69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6" y="67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8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8" y="66"/>
                  </a:lnTo>
                  <a:lnTo>
                    <a:pt x="88" y="65"/>
                  </a:lnTo>
                  <a:lnTo>
                    <a:pt x="89" y="65"/>
                  </a:lnTo>
                  <a:lnTo>
                    <a:pt x="89" y="66"/>
                  </a:lnTo>
                  <a:lnTo>
                    <a:pt x="89" y="65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4" y="67"/>
                  </a:lnTo>
                  <a:lnTo>
                    <a:pt x="84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9" y="67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78" y="66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7" y="61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6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7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7" y="68"/>
                  </a:lnTo>
                  <a:lnTo>
                    <a:pt x="76" y="68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4" y="68"/>
                  </a:lnTo>
                  <a:lnTo>
                    <a:pt x="75" y="68"/>
                  </a:lnTo>
                  <a:lnTo>
                    <a:pt x="75" y="67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4" y="66"/>
                  </a:lnTo>
                  <a:lnTo>
                    <a:pt x="74" y="65"/>
                  </a:lnTo>
                  <a:lnTo>
                    <a:pt x="74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3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70"/>
                  </a:lnTo>
                  <a:lnTo>
                    <a:pt x="69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7" y="72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4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5" y="72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6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6" y="75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8"/>
                  </a:lnTo>
                  <a:lnTo>
                    <a:pt x="62" y="79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0" y="82"/>
                  </a:lnTo>
                  <a:lnTo>
                    <a:pt x="59" y="82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5" y="82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9" y="82"/>
                  </a:lnTo>
                  <a:lnTo>
                    <a:pt x="49" y="82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1" y="80"/>
                  </a:lnTo>
                  <a:lnTo>
                    <a:pt x="50" y="80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0" y="79"/>
                  </a:lnTo>
                  <a:lnTo>
                    <a:pt x="50" y="78"/>
                  </a:lnTo>
                  <a:lnTo>
                    <a:pt x="51" y="78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4" y="75"/>
                  </a:lnTo>
                  <a:lnTo>
                    <a:pt x="55" y="74"/>
                  </a:lnTo>
                  <a:lnTo>
                    <a:pt x="54" y="73"/>
                  </a:lnTo>
                  <a:lnTo>
                    <a:pt x="55" y="72"/>
                  </a:lnTo>
                  <a:lnTo>
                    <a:pt x="54" y="72"/>
                  </a:lnTo>
                  <a:lnTo>
                    <a:pt x="54" y="71"/>
                  </a:lnTo>
                  <a:lnTo>
                    <a:pt x="54" y="71"/>
                  </a:lnTo>
                  <a:lnTo>
                    <a:pt x="54" y="70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8"/>
                  </a:lnTo>
                  <a:lnTo>
                    <a:pt x="57" y="68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70"/>
                  </a:lnTo>
                  <a:lnTo>
                    <a:pt x="56" y="70"/>
                  </a:lnTo>
                  <a:lnTo>
                    <a:pt x="57" y="71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58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70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0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2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3" y="70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2" y="69"/>
                  </a:lnTo>
                  <a:lnTo>
                    <a:pt x="62" y="68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7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9" y="64"/>
                  </a:lnTo>
                  <a:lnTo>
                    <a:pt x="60" y="64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59" y="60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2"/>
                  </a:lnTo>
                  <a:lnTo>
                    <a:pt x="55" y="52"/>
                  </a:lnTo>
                  <a:lnTo>
                    <a:pt x="54" y="52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4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0" y="50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1" y="51"/>
                  </a:lnTo>
                  <a:lnTo>
                    <a:pt x="50" y="5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7" y="48"/>
                  </a:lnTo>
                  <a:lnTo>
                    <a:pt x="46" y="48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5" y="47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2" y="46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8"/>
                  </a:lnTo>
                  <a:lnTo>
                    <a:pt x="35" y="49"/>
                  </a:lnTo>
                  <a:lnTo>
                    <a:pt x="36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1" y="52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9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7" y="52"/>
                  </a:lnTo>
                  <a:lnTo>
                    <a:pt x="27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0" y="54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3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1" y="51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8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2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1"/>
                  </a:lnTo>
                  <a:lnTo>
                    <a:pt x="57" y="11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8" y="11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8" y="7"/>
                  </a:lnTo>
                  <a:lnTo>
                    <a:pt x="68" y="8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2" y="3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1" y="0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6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5" y="9"/>
                  </a:lnTo>
                  <a:lnTo>
                    <a:pt x="96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3" y="13"/>
                  </a:lnTo>
                  <a:lnTo>
                    <a:pt x="103" y="14"/>
                  </a:lnTo>
                  <a:lnTo>
                    <a:pt x="104" y="14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7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2"/>
                  </a:lnTo>
                  <a:lnTo>
                    <a:pt x="107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9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5"/>
                  </a:lnTo>
                  <a:lnTo>
                    <a:pt x="114" y="25"/>
                  </a:lnTo>
                  <a:lnTo>
                    <a:pt x="114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4"/>
                  </a:lnTo>
                  <a:lnTo>
                    <a:pt x="118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2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8"/>
                  </a:lnTo>
                  <a:lnTo>
                    <a:pt x="129" y="28"/>
                  </a:lnTo>
                  <a:lnTo>
                    <a:pt x="128" y="28"/>
                  </a:lnTo>
                  <a:lnTo>
                    <a:pt x="128" y="27"/>
                  </a:lnTo>
                  <a:lnTo>
                    <a:pt x="129" y="27"/>
                  </a:lnTo>
                  <a:lnTo>
                    <a:pt x="130" y="27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9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2" y="28"/>
                  </a:lnTo>
                  <a:lnTo>
                    <a:pt x="133" y="28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4" y="30"/>
                  </a:lnTo>
                  <a:lnTo>
                    <a:pt x="134" y="31"/>
                  </a:lnTo>
                  <a:lnTo>
                    <a:pt x="135" y="31"/>
                  </a:lnTo>
                  <a:lnTo>
                    <a:pt x="135" y="30"/>
                  </a:lnTo>
                  <a:lnTo>
                    <a:pt x="136" y="30"/>
                  </a:lnTo>
                  <a:lnTo>
                    <a:pt x="136" y="29"/>
                  </a:lnTo>
                  <a:lnTo>
                    <a:pt x="137" y="30"/>
                  </a:lnTo>
                  <a:lnTo>
                    <a:pt x="137" y="31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40" y="31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4" y="34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5"/>
                  </a:lnTo>
                  <a:lnTo>
                    <a:pt x="144" y="35"/>
                  </a:lnTo>
                  <a:lnTo>
                    <a:pt x="145" y="35"/>
                  </a:lnTo>
                  <a:lnTo>
                    <a:pt x="145" y="36"/>
                  </a:lnTo>
                  <a:lnTo>
                    <a:pt x="145" y="36"/>
                  </a:lnTo>
                  <a:lnTo>
                    <a:pt x="145" y="37"/>
                  </a:lnTo>
                  <a:lnTo>
                    <a:pt x="144" y="37"/>
                  </a:lnTo>
                  <a:lnTo>
                    <a:pt x="144" y="38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1" y="39"/>
                  </a:lnTo>
                  <a:lnTo>
                    <a:pt x="141" y="39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1" y="40"/>
                  </a:lnTo>
                  <a:lnTo>
                    <a:pt x="141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3" y="41"/>
                  </a:lnTo>
                  <a:lnTo>
                    <a:pt x="143" y="42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4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1" y="42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4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3" y="48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50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2" y="51"/>
                  </a:lnTo>
                  <a:lnTo>
                    <a:pt x="142" y="52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1" y="53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0" y="53"/>
                  </a:lnTo>
                  <a:lnTo>
                    <a:pt x="139" y="54"/>
                  </a:lnTo>
                  <a:lnTo>
                    <a:pt x="139" y="53"/>
                  </a:lnTo>
                  <a:lnTo>
                    <a:pt x="138" y="53"/>
                  </a:lnTo>
                  <a:lnTo>
                    <a:pt x="138" y="54"/>
                  </a:lnTo>
                  <a:lnTo>
                    <a:pt x="138" y="53"/>
                  </a:lnTo>
                  <a:lnTo>
                    <a:pt x="138" y="53"/>
                  </a:lnTo>
                  <a:lnTo>
                    <a:pt x="137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3" y="55"/>
                  </a:lnTo>
                  <a:lnTo>
                    <a:pt x="133" y="56"/>
                  </a:lnTo>
                  <a:lnTo>
                    <a:pt x="133" y="55"/>
                  </a:lnTo>
                  <a:lnTo>
                    <a:pt x="132" y="55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0" y="56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9"/>
                  </a:lnTo>
                  <a:lnTo>
                    <a:pt x="129" y="59"/>
                  </a:lnTo>
                  <a:lnTo>
                    <a:pt x="129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29" y="61"/>
                  </a:lnTo>
                  <a:lnTo>
                    <a:pt x="129" y="61"/>
                  </a:lnTo>
                  <a:lnTo>
                    <a:pt x="129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3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5" y="62"/>
                  </a:lnTo>
                  <a:lnTo>
                    <a:pt x="125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  <a:moveTo>
                    <a:pt x="95" y="73"/>
                  </a:moveTo>
                  <a:lnTo>
                    <a:pt x="95" y="73"/>
                  </a:lnTo>
                  <a:lnTo>
                    <a:pt x="95" y="73"/>
                  </a:lnTo>
                  <a:lnTo>
                    <a:pt x="95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5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4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9" y="75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100" y="76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9" y="75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9" y="76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0" y="76"/>
                  </a:lnTo>
                  <a:lnTo>
                    <a:pt x="100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8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8"/>
                  </a:lnTo>
                  <a:lnTo>
                    <a:pt x="103" y="78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1"/>
                  </a:lnTo>
                  <a:lnTo>
                    <a:pt x="103" y="81"/>
                  </a:lnTo>
                  <a:lnTo>
                    <a:pt x="103" y="82"/>
                  </a:lnTo>
                  <a:lnTo>
                    <a:pt x="103" y="81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5" y="82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5" y="82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0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3" y="79"/>
                  </a:lnTo>
                  <a:lnTo>
                    <a:pt x="103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0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2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2"/>
                  </a:lnTo>
                  <a:lnTo>
                    <a:pt x="99" y="72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8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close/>
                  <a:moveTo>
                    <a:pt x="94" y="73"/>
                  </a:moveTo>
                  <a:lnTo>
                    <a:pt x="93" y="73"/>
                  </a:lnTo>
                  <a:lnTo>
                    <a:pt x="94" y="73"/>
                  </a:lnTo>
                  <a:lnTo>
                    <a:pt x="93" y="73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6" name="Freeform 112"/>
            <p:cNvSpPr>
              <a:spLocks noEditPoints="1"/>
            </p:cNvSpPr>
            <p:nvPr/>
          </p:nvSpPr>
          <p:spPr bwMode="auto">
            <a:xfrm>
              <a:off x="6062003" y="3710738"/>
              <a:ext cx="80930" cy="23424"/>
            </a:xfrm>
            <a:custGeom>
              <a:avLst/>
              <a:gdLst>
                <a:gd name="T0" fmla="*/ 61 w 62"/>
                <a:gd name="T1" fmla="*/ 17 h 17"/>
                <a:gd name="T2" fmla="*/ 7 w 62"/>
                <a:gd name="T3" fmla="*/ 17 h 17"/>
                <a:gd name="T4" fmla="*/ 6 w 62"/>
                <a:gd name="T5" fmla="*/ 17 h 17"/>
                <a:gd name="T6" fmla="*/ 0 w 62"/>
                <a:gd name="T7" fmla="*/ 16 h 17"/>
                <a:gd name="T8" fmla="*/ 1 w 62"/>
                <a:gd name="T9" fmla="*/ 16 h 17"/>
                <a:gd name="T10" fmla="*/ 2 w 62"/>
                <a:gd name="T11" fmla="*/ 16 h 17"/>
                <a:gd name="T12" fmla="*/ 3 w 62"/>
                <a:gd name="T13" fmla="*/ 16 h 17"/>
                <a:gd name="T14" fmla="*/ 3 w 62"/>
                <a:gd name="T15" fmla="*/ 15 h 17"/>
                <a:gd name="T16" fmla="*/ 5 w 62"/>
                <a:gd name="T17" fmla="*/ 15 h 17"/>
                <a:gd name="T18" fmla="*/ 7 w 62"/>
                <a:gd name="T19" fmla="*/ 15 h 17"/>
                <a:gd name="T20" fmla="*/ 6 w 62"/>
                <a:gd name="T21" fmla="*/ 16 h 17"/>
                <a:gd name="T22" fmla="*/ 6 w 62"/>
                <a:gd name="T23" fmla="*/ 16 h 17"/>
                <a:gd name="T24" fmla="*/ 6 w 62"/>
                <a:gd name="T25" fmla="*/ 15 h 17"/>
                <a:gd name="T26" fmla="*/ 7 w 62"/>
                <a:gd name="T27" fmla="*/ 15 h 17"/>
                <a:gd name="T28" fmla="*/ 7 w 62"/>
                <a:gd name="T29" fmla="*/ 15 h 17"/>
                <a:gd name="T30" fmla="*/ 7 w 62"/>
                <a:gd name="T31" fmla="*/ 15 h 17"/>
                <a:gd name="T32" fmla="*/ 47 w 62"/>
                <a:gd name="T33" fmla="*/ 10 h 17"/>
                <a:gd name="T34" fmla="*/ 47 w 62"/>
                <a:gd name="T35" fmla="*/ 9 h 17"/>
                <a:gd name="T36" fmla="*/ 47 w 62"/>
                <a:gd name="T37" fmla="*/ 9 h 17"/>
                <a:gd name="T38" fmla="*/ 47 w 62"/>
                <a:gd name="T39" fmla="*/ 9 h 17"/>
                <a:gd name="T40" fmla="*/ 29 w 62"/>
                <a:gd name="T41" fmla="*/ 8 h 17"/>
                <a:gd name="T42" fmla="*/ 31 w 62"/>
                <a:gd name="T43" fmla="*/ 8 h 17"/>
                <a:gd name="T44" fmla="*/ 31 w 62"/>
                <a:gd name="T45" fmla="*/ 9 h 17"/>
                <a:gd name="T46" fmla="*/ 32 w 62"/>
                <a:gd name="T47" fmla="*/ 9 h 17"/>
                <a:gd name="T48" fmla="*/ 32 w 62"/>
                <a:gd name="T49" fmla="*/ 8 h 17"/>
                <a:gd name="T50" fmla="*/ 32 w 62"/>
                <a:gd name="T51" fmla="*/ 8 h 17"/>
                <a:gd name="T52" fmla="*/ 33 w 62"/>
                <a:gd name="T53" fmla="*/ 9 h 17"/>
                <a:gd name="T54" fmla="*/ 33 w 62"/>
                <a:gd name="T55" fmla="*/ 9 h 17"/>
                <a:gd name="T56" fmla="*/ 32 w 62"/>
                <a:gd name="T57" fmla="*/ 9 h 17"/>
                <a:gd name="T58" fmla="*/ 30 w 62"/>
                <a:gd name="T59" fmla="*/ 8 h 17"/>
                <a:gd name="T60" fmla="*/ 22 w 62"/>
                <a:gd name="T61" fmla="*/ 6 h 17"/>
                <a:gd name="T62" fmla="*/ 22 w 62"/>
                <a:gd name="T63" fmla="*/ 6 h 17"/>
                <a:gd name="T64" fmla="*/ 24 w 62"/>
                <a:gd name="T65" fmla="*/ 6 h 17"/>
                <a:gd name="T66" fmla="*/ 25 w 62"/>
                <a:gd name="T67" fmla="*/ 6 h 17"/>
                <a:gd name="T68" fmla="*/ 25 w 62"/>
                <a:gd name="T69" fmla="*/ 7 h 17"/>
                <a:gd name="T70" fmla="*/ 22 w 62"/>
                <a:gd name="T71" fmla="*/ 6 h 17"/>
                <a:gd name="T72" fmla="*/ 21 w 62"/>
                <a:gd name="T73" fmla="*/ 5 h 17"/>
                <a:gd name="T74" fmla="*/ 21 w 62"/>
                <a:gd name="T75" fmla="*/ 5 h 17"/>
                <a:gd name="T76" fmla="*/ 22 w 62"/>
                <a:gd name="T77" fmla="*/ 6 h 17"/>
                <a:gd name="T78" fmla="*/ 23 w 62"/>
                <a:gd name="T79" fmla="*/ 4 h 17"/>
                <a:gd name="T80" fmla="*/ 23 w 62"/>
                <a:gd name="T81" fmla="*/ 5 h 17"/>
                <a:gd name="T82" fmla="*/ 23 w 62"/>
                <a:gd name="T83" fmla="*/ 4 h 17"/>
                <a:gd name="T84" fmla="*/ 27 w 62"/>
                <a:gd name="T85" fmla="*/ 3 h 17"/>
                <a:gd name="T86" fmla="*/ 58 w 62"/>
                <a:gd name="T87" fmla="*/ 3 h 17"/>
                <a:gd name="T88" fmla="*/ 28 w 62"/>
                <a:gd name="T89" fmla="*/ 3 h 17"/>
                <a:gd name="T90" fmla="*/ 27 w 62"/>
                <a:gd name="T91" fmla="*/ 3 h 17"/>
                <a:gd name="T92" fmla="*/ 25 w 62"/>
                <a:gd name="T93" fmla="*/ 3 h 17"/>
                <a:gd name="T94" fmla="*/ 26 w 62"/>
                <a:gd name="T95" fmla="*/ 3 h 17"/>
                <a:gd name="T96" fmla="*/ 28 w 62"/>
                <a:gd name="T97" fmla="*/ 3 h 17"/>
                <a:gd name="T98" fmla="*/ 27 w 62"/>
                <a:gd name="T99" fmla="*/ 3 h 17"/>
                <a:gd name="T100" fmla="*/ 27 w 62"/>
                <a:gd name="T101" fmla="*/ 2 h 17"/>
                <a:gd name="T102" fmla="*/ 29 w 62"/>
                <a:gd name="T103" fmla="*/ 2 h 17"/>
                <a:gd name="T104" fmla="*/ 29 w 62"/>
                <a:gd name="T105" fmla="*/ 3 h 17"/>
                <a:gd name="T106" fmla="*/ 28 w 62"/>
                <a:gd name="T107" fmla="*/ 3 h 17"/>
                <a:gd name="T108" fmla="*/ 29 w 62"/>
                <a:gd name="T109" fmla="*/ 2 h 17"/>
                <a:gd name="T110" fmla="*/ 29 w 62"/>
                <a:gd name="T111" fmla="*/ 2 h 17"/>
                <a:gd name="T112" fmla="*/ 34 w 62"/>
                <a:gd name="T1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17">
                  <a:moveTo>
                    <a:pt x="62" y="17"/>
                  </a:move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close/>
                  <a:moveTo>
                    <a:pt x="7" y="16"/>
                  </a:move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7" y="16"/>
                  </a:lnTo>
                  <a:close/>
                  <a:moveTo>
                    <a:pt x="0" y="16"/>
                  </a:moveTo>
                  <a:lnTo>
                    <a:pt x="1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3" y="15"/>
                  </a:lnTo>
                  <a:close/>
                  <a:moveTo>
                    <a:pt x="5" y="16"/>
                  </a:move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close/>
                  <a:moveTo>
                    <a:pt x="7" y="15"/>
                  </a:move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7" y="15"/>
                  </a:lnTo>
                  <a:close/>
                  <a:moveTo>
                    <a:pt x="6" y="15"/>
                  </a:moveTo>
                  <a:lnTo>
                    <a:pt x="6" y="14"/>
                  </a:lnTo>
                  <a:lnTo>
                    <a:pt x="6" y="15"/>
                  </a:lnTo>
                  <a:close/>
                  <a:moveTo>
                    <a:pt x="7" y="15"/>
                  </a:move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7" y="15"/>
                  </a:moveTo>
                  <a:lnTo>
                    <a:pt x="6" y="15"/>
                  </a:ln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29" y="8"/>
                  </a:move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0" y="8"/>
                  </a:lnTo>
                  <a:lnTo>
                    <a:pt x="29" y="8"/>
                  </a:lnTo>
                  <a:close/>
                  <a:moveTo>
                    <a:pt x="22" y="6"/>
                  </a:move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2" y="6"/>
                  </a:lnTo>
                  <a:close/>
                  <a:moveTo>
                    <a:pt x="23" y="4"/>
                  </a:move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3" y="4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58" y="3"/>
                  </a:moveTo>
                  <a:lnTo>
                    <a:pt x="58" y="3"/>
                  </a:lnTo>
                  <a:lnTo>
                    <a:pt x="58" y="3"/>
                  </a:lnTo>
                  <a:close/>
                  <a:moveTo>
                    <a:pt x="28" y="3"/>
                  </a:moveTo>
                  <a:lnTo>
                    <a:pt x="27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8" y="3"/>
                  </a:lnTo>
                  <a:close/>
                  <a:moveTo>
                    <a:pt x="26" y="3"/>
                  </a:move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6" y="3"/>
                  </a:lnTo>
                  <a:close/>
                  <a:moveTo>
                    <a:pt x="28" y="2"/>
                  </a:moveTo>
                  <a:lnTo>
                    <a:pt x="28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close/>
                  <a:moveTo>
                    <a:pt x="35" y="0"/>
                  </a:moveTo>
                  <a:lnTo>
                    <a:pt x="34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7" name="Freeform 113"/>
            <p:cNvSpPr>
              <a:spLocks noEditPoints="1"/>
            </p:cNvSpPr>
            <p:nvPr/>
          </p:nvSpPr>
          <p:spPr bwMode="auto">
            <a:xfrm>
              <a:off x="6090720" y="3707982"/>
              <a:ext cx="46992" cy="16534"/>
            </a:xfrm>
            <a:custGeom>
              <a:avLst/>
              <a:gdLst>
                <a:gd name="T0" fmla="*/ 15 w 36"/>
                <a:gd name="T1" fmla="*/ 12 h 12"/>
                <a:gd name="T2" fmla="*/ 15 w 36"/>
                <a:gd name="T3" fmla="*/ 12 h 12"/>
                <a:gd name="T4" fmla="*/ 15 w 36"/>
                <a:gd name="T5" fmla="*/ 12 h 12"/>
                <a:gd name="T6" fmla="*/ 15 w 36"/>
                <a:gd name="T7" fmla="*/ 12 h 12"/>
                <a:gd name="T8" fmla="*/ 15 w 36"/>
                <a:gd name="T9" fmla="*/ 12 h 12"/>
                <a:gd name="T10" fmla="*/ 15 w 36"/>
                <a:gd name="T11" fmla="*/ 12 h 12"/>
                <a:gd name="T12" fmla="*/ 25 w 36"/>
                <a:gd name="T13" fmla="*/ 11 h 12"/>
                <a:gd name="T14" fmla="*/ 26 w 36"/>
                <a:gd name="T15" fmla="*/ 11 h 12"/>
                <a:gd name="T16" fmla="*/ 25 w 36"/>
                <a:gd name="T17" fmla="*/ 11 h 12"/>
                <a:gd name="T18" fmla="*/ 25 w 36"/>
                <a:gd name="T19" fmla="*/ 11 h 12"/>
                <a:gd name="T20" fmla="*/ 25 w 36"/>
                <a:gd name="T21" fmla="*/ 11 h 12"/>
                <a:gd name="T22" fmla="*/ 25 w 36"/>
                <a:gd name="T23" fmla="*/ 11 h 12"/>
                <a:gd name="T24" fmla="*/ 21 w 36"/>
                <a:gd name="T25" fmla="*/ 10 h 12"/>
                <a:gd name="T26" fmla="*/ 21 w 36"/>
                <a:gd name="T27" fmla="*/ 11 h 12"/>
                <a:gd name="T28" fmla="*/ 21 w 36"/>
                <a:gd name="T29" fmla="*/ 10 h 12"/>
                <a:gd name="T30" fmla="*/ 13 w 36"/>
                <a:gd name="T31" fmla="*/ 10 h 12"/>
                <a:gd name="T32" fmla="*/ 13 w 36"/>
                <a:gd name="T33" fmla="*/ 9 h 12"/>
                <a:gd name="T34" fmla="*/ 13 w 36"/>
                <a:gd name="T35" fmla="*/ 10 h 12"/>
                <a:gd name="T36" fmla="*/ 25 w 36"/>
                <a:gd name="T37" fmla="*/ 9 h 12"/>
                <a:gd name="T38" fmla="*/ 25 w 36"/>
                <a:gd name="T39" fmla="*/ 9 h 12"/>
                <a:gd name="T40" fmla="*/ 25 w 36"/>
                <a:gd name="T41" fmla="*/ 9 h 12"/>
                <a:gd name="T42" fmla="*/ 25 w 36"/>
                <a:gd name="T43" fmla="*/ 9 h 12"/>
                <a:gd name="T44" fmla="*/ 25 w 36"/>
                <a:gd name="T45" fmla="*/ 9 h 12"/>
                <a:gd name="T46" fmla="*/ 25 w 36"/>
                <a:gd name="T47" fmla="*/ 9 h 12"/>
                <a:gd name="T48" fmla="*/ 25 w 36"/>
                <a:gd name="T49" fmla="*/ 9 h 12"/>
                <a:gd name="T50" fmla="*/ 25 w 36"/>
                <a:gd name="T51" fmla="*/ 9 h 12"/>
                <a:gd name="T52" fmla="*/ 25 w 36"/>
                <a:gd name="T53" fmla="*/ 9 h 12"/>
                <a:gd name="T54" fmla="*/ 28 w 36"/>
                <a:gd name="T55" fmla="*/ 9 h 12"/>
                <a:gd name="T56" fmla="*/ 27 w 36"/>
                <a:gd name="T57" fmla="*/ 9 h 12"/>
                <a:gd name="T58" fmla="*/ 28 w 36"/>
                <a:gd name="T59" fmla="*/ 9 h 12"/>
                <a:gd name="T60" fmla="*/ 1 w 36"/>
                <a:gd name="T61" fmla="*/ 8 h 12"/>
                <a:gd name="T62" fmla="*/ 0 w 36"/>
                <a:gd name="T63" fmla="*/ 8 h 12"/>
                <a:gd name="T64" fmla="*/ 1 w 36"/>
                <a:gd name="T65" fmla="*/ 8 h 12"/>
                <a:gd name="T66" fmla="*/ 2 w 36"/>
                <a:gd name="T67" fmla="*/ 7 h 12"/>
                <a:gd name="T68" fmla="*/ 2 w 36"/>
                <a:gd name="T69" fmla="*/ 8 h 12"/>
                <a:gd name="T70" fmla="*/ 2 w 36"/>
                <a:gd name="T71" fmla="*/ 7 h 12"/>
                <a:gd name="T72" fmla="*/ 36 w 36"/>
                <a:gd name="T73" fmla="*/ 4 h 12"/>
                <a:gd name="T74" fmla="*/ 36 w 36"/>
                <a:gd name="T75" fmla="*/ 5 h 12"/>
                <a:gd name="T76" fmla="*/ 36 w 36"/>
                <a:gd name="T77" fmla="*/ 4 h 12"/>
                <a:gd name="T78" fmla="*/ 7 w 36"/>
                <a:gd name="T79" fmla="*/ 4 h 12"/>
                <a:gd name="T80" fmla="*/ 7 w 36"/>
                <a:gd name="T81" fmla="*/ 4 h 12"/>
                <a:gd name="T82" fmla="*/ 7 w 36"/>
                <a:gd name="T83" fmla="*/ 4 h 12"/>
                <a:gd name="T84" fmla="*/ 2 w 36"/>
                <a:gd name="T85" fmla="*/ 0 h 12"/>
                <a:gd name="T86" fmla="*/ 2 w 36"/>
                <a:gd name="T87" fmla="*/ 0 h 12"/>
                <a:gd name="T88" fmla="*/ 2 w 36"/>
                <a:gd name="T8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12"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25" y="11"/>
                  </a:moveTo>
                  <a:lnTo>
                    <a:pt x="26" y="11"/>
                  </a:lnTo>
                  <a:lnTo>
                    <a:pt x="25" y="11"/>
                  </a:lnTo>
                  <a:close/>
                  <a:moveTo>
                    <a:pt x="25" y="11"/>
                  </a:moveTo>
                  <a:lnTo>
                    <a:pt x="25" y="11"/>
                  </a:lnTo>
                  <a:lnTo>
                    <a:pt x="25" y="11"/>
                  </a:lnTo>
                  <a:close/>
                  <a:moveTo>
                    <a:pt x="21" y="10"/>
                  </a:moveTo>
                  <a:lnTo>
                    <a:pt x="21" y="11"/>
                  </a:lnTo>
                  <a:lnTo>
                    <a:pt x="21" y="10"/>
                  </a:lnTo>
                  <a:close/>
                  <a:moveTo>
                    <a:pt x="13" y="10"/>
                  </a:moveTo>
                  <a:lnTo>
                    <a:pt x="13" y="9"/>
                  </a:lnTo>
                  <a:lnTo>
                    <a:pt x="13" y="10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8" y="9"/>
                  </a:moveTo>
                  <a:lnTo>
                    <a:pt x="27" y="9"/>
                  </a:lnTo>
                  <a:lnTo>
                    <a:pt x="28" y="9"/>
                  </a:lnTo>
                  <a:close/>
                  <a:moveTo>
                    <a:pt x="1" y="8"/>
                  </a:moveTo>
                  <a:lnTo>
                    <a:pt x="0" y="8"/>
                  </a:lnTo>
                  <a:lnTo>
                    <a:pt x="1" y="8"/>
                  </a:lnTo>
                  <a:close/>
                  <a:moveTo>
                    <a:pt x="2" y="7"/>
                  </a:moveTo>
                  <a:lnTo>
                    <a:pt x="2" y="8"/>
                  </a:lnTo>
                  <a:lnTo>
                    <a:pt x="2" y="7"/>
                  </a:lnTo>
                  <a:close/>
                  <a:moveTo>
                    <a:pt x="36" y="4"/>
                  </a:moveTo>
                  <a:lnTo>
                    <a:pt x="36" y="5"/>
                  </a:lnTo>
                  <a:lnTo>
                    <a:pt x="36" y="4"/>
                  </a:lnTo>
                  <a:close/>
                  <a:moveTo>
                    <a:pt x="7" y="4"/>
                  </a:moveTo>
                  <a:lnTo>
                    <a:pt x="7" y="4"/>
                  </a:lnTo>
                  <a:lnTo>
                    <a:pt x="7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8" name="Freeform 114"/>
            <p:cNvSpPr>
              <a:spLocks noEditPoints="1"/>
            </p:cNvSpPr>
            <p:nvPr/>
          </p:nvSpPr>
          <p:spPr bwMode="auto">
            <a:xfrm>
              <a:off x="5683458" y="3476507"/>
              <a:ext cx="65266" cy="130894"/>
            </a:xfrm>
            <a:custGeom>
              <a:avLst/>
              <a:gdLst>
                <a:gd name="T0" fmla="*/ 24 w 50"/>
                <a:gd name="T1" fmla="*/ 95 h 95"/>
                <a:gd name="T2" fmla="*/ 22 w 50"/>
                <a:gd name="T3" fmla="*/ 91 h 95"/>
                <a:gd name="T4" fmla="*/ 16 w 50"/>
                <a:gd name="T5" fmla="*/ 66 h 95"/>
                <a:gd name="T6" fmla="*/ 9 w 50"/>
                <a:gd name="T7" fmla="*/ 61 h 95"/>
                <a:gd name="T8" fmla="*/ 9 w 50"/>
                <a:gd name="T9" fmla="*/ 64 h 95"/>
                <a:gd name="T10" fmla="*/ 7 w 50"/>
                <a:gd name="T11" fmla="*/ 62 h 95"/>
                <a:gd name="T12" fmla="*/ 6 w 50"/>
                <a:gd name="T13" fmla="*/ 61 h 95"/>
                <a:gd name="T14" fmla="*/ 9 w 50"/>
                <a:gd name="T15" fmla="*/ 60 h 95"/>
                <a:gd name="T16" fmla="*/ 10 w 50"/>
                <a:gd name="T17" fmla="*/ 62 h 95"/>
                <a:gd name="T18" fmla="*/ 10 w 50"/>
                <a:gd name="T19" fmla="*/ 60 h 95"/>
                <a:gd name="T20" fmla="*/ 10 w 50"/>
                <a:gd name="T21" fmla="*/ 52 h 95"/>
                <a:gd name="T22" fmla="*/ 12 w 50"/>
                <a:gd name="T23" fmla="*/ 54 h 95"/>
                <a:gd name="T24" fmla="*/ 10 w 50"/>
                <a:gd name="T25" fmla="*/ 56 h 95"/>
                <a:gd name="T26" fmla="*/ 8 w 50"/>
                <a:gd name="T27" fmla="*/ 55 h 95"/>
                <a:gd name="T28" fmla="*/ 9 w 50"/>
                <a:gd name="T29" fmla="*/ 55 h 95"/>
                <a:gd name="T30" fmla="*/ 7 w 50"/>
                <a:gd name="T31" fmla="*/ 53 h 95"/>
                <a:gd name="T32" fmla="*/ 8 w 50"/>
                <a:gd name="T33" fmla="*/ 51 h 95"/>
                <a:gd name="T34" fmla="*/ 12 w 50"/>
                <a:gd name="T35" fmla="*/ 43 h 95"/>
                <a:gd name="T36" fmla="*/ 10 w 50"/>
                <a:gd name="T37" fmla="*/ 47 h 95"/>
                <a:gd name="T38" fmla="*/ 10 w 50"/>
                <a:gd name="T39" fmla="*/ 44 h 95"/>
                <a:gd name="T40" fmla="*/ 9 w 50"/>
                <a:gd name="T41" fmla="*/ 45 h 95"/>
                <a:gd name="T42" fmla="*/ 7 w 50"/>
                <a:gd name="T43" fmla="*/ 43 h 95"/>
                <a:gd name="T44" fmla="*/ 4 w 50"/>
                <a:gd name="T45" fmla="*/ 42 h 95"/>
                <a:gd name="T46" fmla="*/ 5 w 50"/>
                <a:gd name="T47" fmla="*/ 40 h 95"/>
                <a:gd name="T48" fmla="*/ 7 w 50"/>
                <a:gd name="T49" fmla="*/ 41 h 95"/>
                <a:gd name="T50" fmla="*/ 6 w 50"/>
                <a:gd name="T51" fmla="*/ 39 h 95"/>
                <a:gd name="T52" fmla="*/ 8 w 50"/>
                <a:gd name="T53" fmla="*/ 41 h 95"/>
                <a:gd name="T54" fmla="*/ 8 w 50"/>
                <a:gd name="T55" fmla="*/ 30 h 95"/>
                <a:gd name="T56" fmla="*/ 8 w 50"/>
                <a:gd name="T57" fmla="*/ 32 h 95"/>
                <a:gd name="T58" fmla="*/ 6 w 50"/>
                <a:gd name="T59" fmla="*/ 32 h 95"/>
                <a:gd name="T60" fmla="*/ 6 w 50"/>
                <a:gd name="T61" fmla="*/ 33 h 95"/>
                <a:gd name="T62" fmla="*/ 6 w 50"/>
                <a:gd name="T63" fmla="*/ 35 h 95"/>
                <a:gd name="T64" fmla="*/ 4 w 50"/>
                <a:gd name="T65" fmla="*/ 34 h 95"/>
                <a:gd name="T66" fmla="*/ 4 w 50"/>
                <a:gd name="T67" fmla="*/ 35 h 95"/>
                <a:gd name="T68" fmla="*/ 3 w 50"/>
                <a:gd name="T69" fmla="*/ 37 h 95"/>
                <a:gd name="T70" fmla="*/ 1 w 50"/>
                <a:gd name="T71" fmla="*/ 37 h 95"/>
                <a:gd name="T72" fmla="*/ 2 w 50"/>
                <a:gd name="T73" fmla="*/ 35 h 95"/>
                <a:gd name="T74" fmla="*/ 1 w 50"/>
                <a:gd name="T75" fmla="*/ 33 h 95"/>
                <a:gd name="T76" fmla="*/ 2 w 50"/>
                <a:gd name="T77" fmla="*/ 32 h 95"/>
                <a:gd name="T78" fmla="*/ 3 w 50"/>
                <a:gd name="T79" fmla="*/ 32 h 95"/>
                <a:gd name="T80" fmla="*/ 7 w 50"/>
                <a:gd name="T81" fmla="*/ 28 h 95"/>
                <a:gd name="T82" fmla="*/ 33 w 50"/>
                <a:gd name="T83" fmla="*/ 22 h 95"/>
                <a:gd name="T84" fmla="*/ 36 w 50"/>
                <a:gd name="T85" fmla="*/ 22 h 95"/>
                <a:gd name="T86" fmla="*/ 35 w 50"/>
                <a:gd name="T87" fmla="*/ 25 h 95"/>
                <a:gd name="T88" fmla="*/ 35 w 50"/>
                <a:gd name="T89" fmla="*/ 23 h 95"/>
                <a:gd name="T90" fmla="*/ 32 w 50"/>
                <a:gd name="T91" fmla="*/ 21 h 95"/>
                <a:gd name="T92" fmla="*/ 31 w 50"/>
                <a:gd name="T93" fmla="*/ 20 h 95"/>
                <a:gd name="T94" fmla="*/ 47 w 50"/>
                <a:gd name="T95" fmla="*/ 3 h 95"/>
                <a:gd name="T96" fmla="*/ 49 w 50"/>
                <a:gd name="T97" fmla="*/ 3 h 95"/>
                <a:gd name="T98" fmla="*/ 49 w 50"/>
                <a:gd name="T99" fmla="*/ 5 h 95"/>
                <a:gd name="T100" fmla="*/ 49 w 50"/>
                <a:gd name="T101" fmla="*/ 6 h 95"/>
                <a:gd name="T102" fmla="*/ 48 w 50"/>
                <a:gd name="T103" fmla="*/ 9 h 95"/>
                <a:gd name="T104" fmla="*/ 47 w 50"/>
                <a:gd name="T105" fmla="*/ 10 h 95"/>
                <a:gd name="T106" fmla="*/ 47 w 50"/>
                <a:gd name="T107" fmla="*/ 6 h 95"/>
                <a:gd name="T108" fmla="*/ 47 w 50"/>
                <a:gd name="T109" fmla="*/ 6 h 95"/>
                <a:gd name="T110" fmla="*/ 46 w 50"/>
                <a:gd name="T111" fmla="*/ 6 h 95"/>
                <a:gd name="T112" fmla="*/ 44 w 50"/>
                <a:gd name="T113" fmla="*/ 6 h 95"/>
                <a:gd name="T114" fmla="*/ 46 w 50"/>
                <a:gd name="T115" fmla="*/ 5 h 95"/>
                <a:gd name="T116" fmla="*/ 47 w 50"/>
                <a:gd name="T117" fmla="*/ 4 h 95"/>
                <a:gd name="T118" fmla="*/ 46 w 50"/>
                <a:gd name="T119" fmla="*/ 2 h 95"/>
                <a:gd name="T120" fmla="*/ 46 w 50"/>
                <a:gd name="T121" fmla="*/ 2 h 95"/>
                <a:gd name="T122" fmla="*/ 46 w 50"/>
                <a:gd name="T1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" h="95">
                  <a:moveTo>
                    <a:pt x="22" y="91"/>
                  </a:moveTo>
                  <a:lnTo>
                    <a:pt x="23" y="91"/>
                  </a:lnTo>
                  <a:lnTo>
                    <a:pt x="24" y="91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5"/>
                  </a:lnTo>
                  <a:lnTo>
                    <a:pt x="23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1" y="94"/>
                  </a:lnTo>
                  <a:lnTo>
                    <a:pt x="21" y="93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1"/>
                  </a:lnTo>
                  <a:lnTo>
                    <a:pt x="22" y="91"/>
                  </a:lnTo>
                  <a:lnTo>
                    <a:pt x="22" y="91"/>
                  </a:lnTo>
                  <a:close/>
                  <a:moveTo>
                    <a:pt x="16" y="63"/>
                  </a:moveTo>
                  <a:lnTo>
                    <a:pt x="16" y="63"/>
                  </a:lnTo>
                  <a:lnTo>
                    <a:pt x="16" y="63"/>
                  </a:lnTo>
                  <a:lnTo>
                    <a:pt x="17" y="63"/>
                  </a:lnTo>
                  <a:lnTo>
                    <a:pt x="17" y="64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4"/>
                  </a:lnTo>
                  <a:lnTo>
                    <a:pt x="14" y="64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6" y="63"/>
                  </a:lnTo>
                  <a:close/>
                  <a:moveTo>
                    <a:pt x="9" y="60"/>
                  </a:move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8" y="64"/>
                  </a:lnTo>
                  <a:lnTo>
                    <a:pt x="8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8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8" y="61"/>
                  </a:lnTo>
                  <a:lnTo>
                    <a:pt x="9" y="61"/>
                  </a:lnTo>
                  <a:lnTo>
                    <a:pt x="9" y="60"/>
                  </a:lnTo>
                  <a:close/>
                  <a:moveTo>
                    <a:pt x="12" y="58"/>
                  </a:moveTo>
                  <a:lnTo>
                    <a:pt x="12" y="58"/>
                  </a:lnTo>
                  <a:lnTo>
                    <a:pt x="12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60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1" y="60"/>
                  </a:lnTo>
                  <a:lnTo>
                    <a:pt x="11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2" y="58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2" y="54"/>
                  </a:lnTo>
                  <a:lnTo>
                    <a:pt x="12" y="53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4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8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8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0" y="44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9" y="46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2"/>
                  </a:lnTo>
                  <a:lnTo>
                    <a:pt x="6" y="42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8" y="28"/>
                  </a:moveTo>
                  <a:lnTo>
                    <a:pt x="8" y="29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close/>
                  <a:moveTo>
                    <a:pt x="32" y="20"/>
                  </a:move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2" y="20"/>
                  </a:lnTo>
                  <a:close/>
                  <a:moveTo>
                    <a:pt x="47" y="0"/>
                  </a:moveTo>
                  <a:lnTo>
                    <a:pt x="47" y="1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9" name="Freeform 115"/>
            <p:cNvSpPr>
              <a:spLocks noEditPoints="1"/>
            </p:cNvSpPr>
            <p:nvPr/>
          </p:nvSpPr>
          <p:spPr bwMode="auto">
            <a:xfrm>
              <a:off x="5673015" y="3512330"/>
              <a:ext cx="104426" cy="147428"/>
            </a:xfrm>
            <a:custGeom>
              <a:avLst/>
              <a:gdLst>
                <a:gd name="T0" fmla="*/ 20 w 80"/>
                <a:gd name="T1" fmla="*/ 48 h 107"/>
                <a:gd name="T2" fmla="*/ 22 w 80"/>
                <a:gd name="T3" fmla="*/ 54 h 107"/>
                <a:gd name="T4" fmla="*/ 21 w 80"/>
                <a:gd name="T5" fmla="*/ 55 h 107"/>
                <a:gd name="T6" fmla="*/ 13 w 80"/>
                <a:gd name="T7" fmla="*/ 56 h 107"/>
                <a:gd name="T8" fmla="*/ 1 w 80"/>
                <a:gd name="T9" fmla="*/ 54 h 107"/>
                <a:gd name="T10" fmla="*/ 7 w 80"/>
                <a:gd name="T11" fmla="*/ 46 h 107"/>
                <a:gd name="T12" fmla="*/ 61 w 80"/>
                <a:gd name="T13" fmla="*/ 52 h 107"/>
                <a:gd name="T14" fmla="*/ 63 w 80"/>
                <a:gd name="T15" fmla="*/ 61 h 107"/>
                <a:gd name="T16" fmla="*/ 66 w 80"/>
                <a:gd name="T17" fmla="*/ 63 h 107"/>
                <a:gd name="T18" fmla="*/ 70 w 80"/>
                <a:gd name="T19" fmla="*/ 72 h 107"/>
                <a:gd name="T20" fmla="*/ 79 w 80"/>
                <a:gd name="T21" fmla="*/ 80 h 107"/>
                <a:gd name="T22" fmla="*/ 75 w 80"/>
                <a:gd name="T23" fmla="*/ 83 h 107"/>
                <a:gd name="T24" fmla="*/ 73 w 80"/>
                <a:gd name="T25" fmla="*/ 86 h 107"/>
                <a:gd name="T26" fmla="*/ 67 w 80"/>
                <a:gd name="T27" fmla="*/ 88 h 107"/>
                <a:gd name="T28" fmla="*/ 74 w 80"/>
                <a:gd name="T29" fmla="*/ 90 h 107"/>
                <a:gd name="T30" fmla="*/ 67 w 80"/>
                <a:gd name="T31" fmla="*/ 98 h 107"/>
                <a:gd name="T32" fmla="*/ 57 w 80"/>
                <a:gd name="T33" fmla="*/ 96 h 107"/>
                <a:gd name="T34" fmla="*/ 50 w 80"/>
                <a:gd name="T35" fmla="*/ 98 h 107"/>
                <a:gd name="T36" fmla="*/ 38 w 80"/>
                <a:gd name="T37" fmla="*/ 99 h 107"/>
                <a:gd name="T38" fmla="*/ 36 w 80"/>
                <a:gd name="T39" fmla="*/ 103 h 107"/>
                <a:gd name="T40" fmla="*/ 29 w 80"/>
                <a:gd name="T41" fmla="*/ 102 h 107"/>
                <a:gd name="T42" fmla="*/ 25 w 80"/>
                <a:gd name="T43" fmla="*/ 106 h 107"/>
                <a:gd name="T44" fmla="*/ 25 w 80"/>
                <a:gd name="T45" fmla="*/ 100 h 107"/>
                <a:gd name="T46" fmla="*/ 33 w 80"/>
                <a:gd name="T47" fmla="*/ 93 h 107"/>
                <a:gd name="T48" fmla="*/ 42 w 80"/>
                <a:gd name="T49" fmla="*/ 90 h 107"/>
                <a:gd name="T50" fmla="*/ 41 w 80"/>
                <a:gd name="T51" fmla="*/ 88 h 107"/>
                <a:gd name="T52" fmla="*/ 32 w 80"/>
                <a:gd name="T53" fmla="*/ 87 h 107"/>
                <a:gd name="T54" fmla="*/ 27 w 80"/>
                <a:gd name="T55" fmla="*/ 85 h 107"/>
                <a:gd name="T56" fmla="*/ 26 w 80"/>
                <a:gd name="T57" fmla="*/ 82 h 107"/>
                <a:gd name="T58" fmla="*/ 33 w 80"/>
                <a:gd name="T59" fmla="*/ 73 h 107"/>
                <a:gd name="T60" fmla="*/ 31 w 80"/>
                <a:gd name="T61" fmla="*/ 69 h 107"/>
                <a:gd name="T62" fmla="*/ 41 w 80"/>
                <a:gd name="T63" fmla="*/ 67 h 107"/>
                <a:gd name="T64" fmla="*/ 42 w 80"/>
                <a:gd name="T65" fmla="*/ 62 h 107"/>
                <a:gd name="T66" fmla="*/ 43 w 80"/>
                <a:gd name="T67" fmla="*/ 56 h 107"/>
                <a:gd name="T68" fmla="*/ 38 w 80"/>
                <a:gd name="T69" fmla="*/ 49 h 107"/>
                <a:gd name="T70" fmla="*/ 35 w 80"/>
                <a:gd name="T71" fmla="*/ 47 h 107"/>
                <a:gd name="T72" fmla="*/ 28 w 80"/>
                <a:gd name="T73" fmla="*/ 47 h 107"/>
                <a:gd name="T74" fmla="*/ 28 w 80"/>
                <a:gd name="T75" fmla="*/ 40 h 107"/>
                <a:gd name="T76" fmla="*/ 28 w 80"/>
                <a:gd name="T77" fmla="*/ 33 h 107"/>
                <a:gd name="T78" fmla="*/ 24 w 80"/>
                <a:gd name="T79" fmla="*/ 35 h 107"/>
                <a:gd name="T80" fmla="*/ 22 w 80"/>
                <a:gd name="T81" fmla="*/ 37 h 107"/>
                <a:gd name="T82" fmla="*/ 21 w 80"/>
                <a:gd name="T83" fmla="*/ 36 h 107"/>
                <a:gd name="T84" fmla="*/ 22 w 80"/>
                <a:gd name="T85" fmla="*/ 32 h 107"/>
                <a:gd name="T86" fmla="*/ 25 w 80"/>
                <a:gd name="T87" fmla="*/ 26 h 107"/>
                <a:gd name="T88" fmla="*/ 24 w 80"/>
                <a:gd name="T89" fmla="*/ 23 h 107"/>
                <a:gd name="T90" fmla="*/ 18 w 80"/>
                <a:gd name="T91" fmla="*/ 25 h 107"/>
                <a:gd name="T92" fmla="*/ 20 w 80"/>
                <a:gd name="T93" fmla="*/ 22 h 107"/>
                <a:gd name="T94" fmla="*/ 22 w 80"/>
                <a:gd name="T95" fmla="*/ 20 h 107"/>
                <a:gd name="T96" fmla="*/ 21 w 80"/>
                <a:gd name="T97" fmla="*/ 17 h 107"/>
                <a:gd name="T98" fmla="*/ 20 w 80"/>
                <a:gd name="T99" fmla="*/ 12 h 107"/>
                <a:gd name="T100" fmla="*/ 25 w 80"/>
                <a:gd name="T101" fmla="*/ 10 h 107"/>
                <a:gd name="T102" fmla="*/ 25 w 80"/>
                <a:gd name="T103" fmla="*/ 4 h 107"/>
                <a:gd name="T104" fmla="*/ 28 w 80"/>
                <a:gd name="T105" fmla="*/ 2 h 107"/>
                <a:gd name="T106" fmla="*/ 37 w 80"/>
                <a:gd name="T107" fmla="*/ 0 h 107"/>
                <a:gd name="T108" fmla="*/ 33 w 80"/>
                <a:gd name="T109" fmla="*/ 9 h 107"/>
                <a:gd name="T110" fmla="*/ 33 w 80"/>
                <a:gd name="T111" fmla="*/ 12 h 107"/>
                <a:gd name="T112" fmla="*/ 31 w 80"/>
                <a:gd name="T113" fmla="*/ 15 h 107"/>
                <a:gd name="T114" fmla="*/ 44 w 80"/>
                <a:gd name="T115" fmla="*/ 12 h 107"/>
                <a:gd name="T116" fmla="*/ 50 w 80"/>
                <a:gd name="T117" fmla="*/ 18 h 107"/>
                <a:gd name="T118" fmla="*/ 40 w 80"/>
                <a:gd name="T119" fmla="*/ 29 h 107"/>
                <a:gd name="T120" fmla="*/ 39 w 80"/>
                <a:gd name="T121" fmla="*/ 33 h 107"/>
                <a:gd name="T122" fmla="*/ 45 w 80"/>
                <a:gd name="T123" fmla="*/ 33 h 107"/>
                <a:gd name="T124" fmla="*/ 54 w 80"/>
                <a:gd name="T125" fmla="*/ 4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" h="107">
                  <a:moveTo>
                    <a:pt x="58" y="96"/>
                  </a:moveTo>
                  <a:lnTo>
                    <a:pt x="58" y="97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6"/>
                  </a:lnTo>
                  <a:close/>
                  <a:moveTo>
                    <a:pt x="11" y="44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1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2"/>
                  </a:lnTo>
                  <a:lnTo>
                    <a:pt x="21" y="51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8"/>
                  </a:lnTo>
                  <a:lnTo>
                    <a:pt x="17" y="58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1" y="54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2" y="52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close/>
                  <a:moveTo>
                    <a:pt x="55" y="47"/>
                  </a:moveTo>
                  <a:lnTo>
                    <a:pt x="54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6" y="49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1"/>
                  </a:lnTo>
                  <a:lnTo>
                    <a:pt x="56" y="50"/>
                  </a:lnTo>
                  <a:lnTo>
                    <a:pt x="57" y="51"/>
                  </a:lnTo>
                  <a:lnTo>
                    <a:pt x="56" y="50"/>
                  </a:lnTo>
                  <a:lnTo>
                    <a:pt x="57" y="50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2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3" y="55"/>
                  </a:lnTo>
                  <a:lnTo>
                    <a:pt x="63" y="56"/>
                  </a:lnTo>
                  <a:lnTo>
                    <a:pt x="64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4" y="58"/>
                  </a:lnTo>
                  <a:lnTo>
                    <a:pt x="65" y="58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0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3"/>
                  </a:lnTo>
                  <a:lnTo>
                    <a:pt x="67" y="64"/>
                  </a:lnTo>
                  <a:lnTo>
                    <a:pt x="67" y="63"/>
                  </a:lnTo>
                  <a:lnTo>
                    <a:pt x="67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4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1" y="61"/>
                  </a:lnTo>
                  <a:lnTo>
                    <a:pt x="60" y="61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1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4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7" y="64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8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1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8" y="72"/>
                  </a:lnTo>
                  <a:lnTo>
                    <a:pt x="69" y="72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1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2" y="70"/>
                  </a:lnTo>
                  <a:lnTo>
                    <a:pt x="73" y="70"/>
                  </a:lnTo>
                  <a:lnTo>
                    <a:pt x="73" y="71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6" y="71"/>
                  </a:lnTo>
                  <a:lnTo>
                    <a:pt x="77" y="71"/>
                  </a:lnTo>
                  <a:lnTo>
                    <a:pt x="77" y="72"/>
                  </a:lnTo>
                  <a:lnTo>
                    <a:pt x="77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5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8"/>
                  </a:lnTo>
                  <a:lnTo>
                    <a:pt x="80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9" y="80"/>
                  </a:lnTo>
                  <a:lnTo>
                    <a:pt x="78" y="81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6" y="83"/>
                  </a:lnTo>
                  <a:lnTo>
                    <a:pt x="76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3" y="84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1" y="85"/>
                  </a:lnTo>
                  <a:lnTo>
                    <a:pt x="72" y="85"/>
                  </a:lnTo>
                  <a:lnTo>
                    <a:pt x="72" y="86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4" y="85"/>
                  </a:lnTo>
                  <a:lnTo>
                    <a:pt x="74" y="86"/>
                  </a:lnTo>
                  <a:lnTo>
                    <a:pt x="73" y="86"/>
                  </a:lnTo>
                  <a:lnTo>
                    <a:pt x="74" y="86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8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9"/>
                  </a:lnTo>
                  <a:lnTo>
                    <a:pt x="64" y="89"/>
                  </a:lnTo>
                  <a:lnTo>
                    <a:pt x="65" y="89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70" y="89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2" y="89"/>
                  </a:lnTo>
                  <a:lnTo>
                    <a:pt x="72" y="90"/>
                  </a:lnTo>
                  <a:lnTo>
                    <a:pt x="71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3" y="90"/>
                  </a:lnTo>
                  <a:lnTo>
                    <a:pt x="73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3"/>
                  </a:lnTo>
                  <a:lnTo>
                    <a:pt x="76" y="93"/>
                  </a:lnTo>
                  <a:lnTo>
                    <a:pt x="75" y="93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2" y="95"/>
                  </a:lnTo>
                  <a:lnTo>
                    <a:pt x="71" y="95"/>
                  </a:lnTo>
                  <a:lnTo>
                    <a:pt x="71" y="96"/>
                  </a:lnTo>
                  <a:lnTo>
                    <a:pt x="71" y="96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8" y="97"/>
                  </a:lnTo>
                  <a:lnTo>
                    <a:pt x="68" y="98"/>
                  </a:lnTo>
                  <a:lnTo>
                    <a:pt x="67" y="98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6" y="96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6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1" y="96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8"/>
                  </a:lnTo>
                  <a:lnTo>
                    <a:pt x="59" y="98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7" y="97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7" y="96"/>
                  </a:lnTo>
                  <a:lnTo>
                    <a:pt x="57" y="97"/>
                  </a:lnTo>
                  <a:lnTo>
                    <a:pt x="56" y="97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6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4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7"/>
                  </a:lnTo>
                  <a:lnTo>
                    <a:pt x="55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7" y="100"/>
                  </a:lnTo>
                  <a:lnTo>
                    <a:pt x="46" y="100"/>
                  </a:lnTo>
                  <a:lnTo>
                    <a:pt x="46" y="99"/>
                  </a:lnTo>
                  <a:lnTo>
                    <a:pt x="45" y="99"/>
                  </a:lnTo>
                  <a:lnTo>
                    <a:pt x="45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2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9" y="98"/>
                  </a:lnTo>
                  <a:lnTo>
                    <a:pt x="38" y="98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8" y="99"/>
                  </a:lnTo>
                  <a:lnTo>
                    <a:pt x="38" y="100"/>
                  </a:lnTo>
                  <a:lnTo>
                    <a:pt x="37" y="99"/>
                  </a:lnTo>
                  <a:lnTo>
                    <a:pt x="37" y="100"/>
                  </a:lnTo>
                  <a:lnTo>
                    <a:pt x="38" y="100"/>
                  </a:lnTo>
                  <a:lnTo>
                    <a:pt x="38" y="101"/>
                  </a:lnTo>
                  <a:lnTo>
                    <a:pt x="37" y="101"/>
                  </a:lnTo>
                  <a:lnTo>
                    <a:pt x="37" y="101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1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6" y="103"/>
                  </a:lnTo>
                  <a:lnTo>
                    <a:pt x="36" y="104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5" y="103"/>
                  </a:lnTo>
                  <a:lnTo>
                    <a:pt x="35" y="102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4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7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5"/>
                  </a:lnTo>
                  <a:lnTo>
                    <a:pt x="23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0" y="106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3"/>
                  </a:lnTo>
                  <a:lnTo>
                    <a:pt x="22" y="103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3"/>
                  </a:lnTo>
                  <a:lnTo>
                    <a:pt x="23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5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7" y="100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9" y="98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1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2" y="94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5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7" y="91"/>
                  </a:lnTo>
                  <a:lnTo>
                    <a:pt x="38" y="92"/>
                  </a:lnTo>
                  <a:lnTo>
                    <a:pt x="39" y="92"/>
                  </a:lnTo>
                  <a:lnTo>
                    <a:pt x="39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2" y="92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0"/>
                  </a:lnTo>
                  <a:lnTo>
                    <a:pt x="42" y="90"/>
                  </a:lnTo>
                  <a:lnTo>
                    <a:pt x="42" y="91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3" y="90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6"/>
                  </a:lnTo>
                  <a:lnTo>
                    <a:pt x="46" y="86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6" y="84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2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9"/>
                  </a:lnTo>
                  <a:lnTo>
                    <a:pt x="40" y="89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1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3" y="87"/>
                  </a:lnTo>
                  <a:lnTo>
                    <a:pt x="33" y="87"/>
                  </a:lnTo>
                  <a:lnTo>
                    <a:pt x="33" y="86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7" y="86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30" y="81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1" y="80"/>
                  </a:lnTo>
                  <a:lnTo>
                    <a:pt x="32" y="80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3" y="78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3" y="7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3" y="73"/>
                  </a:lnTo>
                  <a:lnTo>
                    <a:pt x="33" y="74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1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3"/>
                  </a:lnTo>
                  <a:lnTo>
                    <a:pt x="29" y="73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9" y="72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30" y="71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0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4" y="68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5" y="67"/>
                  </a:lnTo>
                  <a:lnTo>
                    <a:pt x="36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4" y="66"/>
                  </a:lnTo>
                  <a:lnTo>
                    <a:pt x="35" y="66"/>
                  </a:lnTo>
                  <a:lnTo>
                    <a:pt x="35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8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7"/>
                  </a:lnTo>
                  <a:lnTo>
                    <a:pt x="41" y="67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0" y="66"/>
                  </a:lnTo>
                  <a:lnTo>
                    <a:pt x="40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3" y="66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5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2" y="66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3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2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0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60"/>
                  </a:lnTo>
                  <a:lnTo>
                    <a:pt x="43" y="60"/>
                  </a:lnTo>
                  <a:lnTo>
                    <a:pt x="42" y="60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4" y="57"/>
                  </a:lnTo>
                  <a:lnTo>
                    <a:pt x="43" y="57"/>
                  </a:lnTo>
                  <a:lnTo>
                    <a:pt x="43" y="56"/>
                  </a:lnTo>
                  <a:lnTo>
                    <a:pt x="43" y="55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8" y="50"/>
                  </a:lnTo>
                  <a:lnTo>
                    <a:pt x="38" y="49"/>
                  </a:lnTo>
                  <a:lnTo>
                    <a:pt x="39" y="49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5" y="47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1" y="48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9"/>
                  </a:lnTo>
                  <a:lnTo>
                    <a:pt x="31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49"/>
                  </a:lnTo>
                  <a:lnTo>
                    <a:pt x="29" y="49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9"/>
                  </a:lnTo>
                  <a:lnTo>
                    <a:pt x="26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7"/>
                  </a:lnTo>
                  <a:lnTo>
                    <a:pt x="26" y="47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7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28" y="31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4" y="36"/>
                  </a:lnTo>
                  <a:lnTo>
                    <a:pt x="23" y="36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19" y="25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7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8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9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1" y="29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6" y="32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8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1" y="33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2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8"/>
                  </a:lnTo>
                  <a:lnTo>
                    <a:pt x="52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5"/>
                  </a:lnTo>
                  <a:lnTo>
                    <a:pt x="55" y="45"/>
                  </a:lnTo>
                  <a:lnTo>
                    <a:pt x="55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3" y="46"/>
                  </a:lnTo>
                  <a:lnTo>
                    <a:pt x="52" y="46"/>
                  </a:lnTo>
                  <a:lnTo>
                    <a:pt x="53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0" name="Freeform 116"/>
            <p:cNvSpPr>
              <a:spLocks noEditPoints="1"/>
            </p:cNvSpPr>
            <p:nvPr/>
          </p:nvSpPr>
          <p:spPr bwMode="auto">
            <a:xfrm>
              <a:off x="5667794" y="3473751"/>
              <a:ext cx="107037" cy="186007"/>
            </a:xfrm>
            <a:custGeom>
              <a:avLst/>
              <a:gdLst>
                <a:gd name="T0" fmla="*/ 54 w 82"/>
                <a:gd name="T1" fmla="*/ 126 h 135"/>
                <a:gd name="T2" fmla="*/ 60 w 82"/>
                <a:gd name="T3" fmla="*/ 127 h 135"/>
                <a:gd name="T4" fmla="*/ 62 w 82"/>
                <a:gd name="T5" fmla="*/ 124 h 135"/>
                <a:gd name="T6" fmla="*/ 77 w 82"/>
                <a:gd name="T7" fmla="*/ 118 h 135"/>
                <a:gd name="T8" fmla="*/ 27 w 82"/>
                <a:gd name="T9" fmla="*/ 112 h 135"/>
                <a:gd name="T10" fmla="*/ 32 w 82"/>
                <a:gd name="T11" fmla="*/ 94 h 135"/>
                <a:gd name="T12" fmla="*/ 25 w 82"/>
                <a:gd name="T13" fmla="*/ 81 h 135"/>
                <a:gd name="T14" fmla="*/ 23 w 82"/>
                <a:gd name="T15" fmla="*/ 66 h 135"/>
                <a:gd name="T16" fmla="*/ 30 w 82"/>
                <a:gd name="T17" fmla="*/ 64 h 135"/>
                <a:gd name="T18" fmla="*/ 28 w 82"/>
                <a:gd name="T19" fmla="*/ 63 h 135"/>
                <a:gd name="T20" fmla="*/ 19 w 82"/>
                <a:gd name="T21" fmla="*/ 61 h 135"/>
                <a:gd name="T22" fmla="*/ 25 w 82"/>
                <a:gd name="T23" fmla="*/ 59 h 135"/>
                <a:gd name="T24" fmla="*/ 24 w 82"/>
                <a:gd name="T25" fmla="*/ 59 h 135"/>
                <a:gd name="T26" fmla="*/ 26 w 82"/>
                <a:gd name="T27" fmla="*/ 57 h 135"/>
                <a:gd name="T28" fmla="*/ 15 w 82"/>
                <a:gd name="T29" fmla="*/ 55 h 135"/>
                <a:gd name="T30" fmla="*/ 15 w 82"/>
                <a:gd name="T31" fmla="*/ 54 h 135"/>
                <a:gd name="T32" fmla="*/ 18 w 82"/>
                <a:gd name="T33" fmla="*/ 53 h 135"/>
                <a:gd name="T34" fmla="*/ 18 w 82"/>
                <a:gd name="T35" fmla="*/ 53 h 135"/>
                <a:gd name="T36" fmla="*/ 19 w 82"/>
                <a:gd name="T37" fmla="*/ 51 h 135"/>
                <a:gd name="T38" fmla="*/ 21 w 82"/>
                <a:gd name="T39" fmla="*/ 50 h 135"/>
                <a:gd name="T40" fmla="*/ 11 w 82"/>
                <a:gd name="T41" fmla="*/ 49 h 135"/>
                <a:gd name="T42" fmla="*/ 10 w 82"/>
                <a:gd name="T43" fmla="*/ 49 h 135"/>
                <a:gd name="T44" fmla="*/ 19 w 82"/>
                <a:gd name="T45" fmla="*/ 48 h 135"/>
                <a:gd name="T46" fmla="*/ 22 w 82"/>
                <a:gd name="T47" fmla="*/ 45 h 135"/>
                <a:gd name="T48" fmla="*/ 12 w 82"/>
                <a:gd name="T49" fmla="*/ 43 h 135"/>
                <a:gd name="T50" fmla="*/ 11 w 82"/>
                <a:gd name="T51" fmla="*/ 46 h 135"/>
                <a:gd name="T52" fmla="*/ 11 w 82"/>
                <a:gd name="T53" fmla="*/ 45 h 135"/>
                <a:gd name="T54" fmla="*/ 12 w 82"/>
                <a:gd name="T55" fmla="*/ 43 h 135"/>
                <a:gd name="T56" fmla="*/ 10 w 82"/>
                <a:gd name="T57" fmla="*/ 43 h 135"/>
                <a:gd name="T58" fmla="*/ 11 w 82"/>
                <a:gd name="T59" fmla="*/ 43 h 135"/>
                <a:gd name="T60" fmla="*/ 9 w 82"/>
                <a:gd name="T61" fmla="*/ 42 h 135"/>
                <a:gd name="T62" fmla="*/ 22 w 82"/>
                <a:gd name="T63" fmla="*/ 42 h 135"/>
                <a:gd name="T64" fmla="*/ 12 w 82"/>
                <a:gd name="T65" fmla="*/ 42 h 135"/>
                <a:gd name="T66" fmla="*/ 11 w 82"/>
                <a:gd name="T67" fmla="*/ 41 h 135"/>
                <a:gd name="T68" fmla="*/ 23 w 82"/>
                <a:gd name="T69" fmla="*/ 39 h 135"/>
                <a:gd name="T70" fmla="*/ 1 w 82"/>
                <a:gd name="T71" fmla="*/ 39 h 135"/>
                <a:gd name="T72" fmla="*/ 16 w 82"/>
                <a:gd name="T73" fmla="*/ 38 h 135"/>
                <a:gd name="T74" fmla="*/ 18 w 82"/>
                <a:gd name="T75" fmla="*/ 36 h 135"/>
                <a:gd name="T76" fmla="*/ 26 w 82"/>
                <a:gd name="T77" fmla="*/ 36 h 135"/>
                <a:gd name="T78" fmla="*/ 29 w 82"/>
                <a:gd name="T79" fmla="*/ 32 h 135"/>
                <a:gd name="T80" fmla="*/ 45 w 82"/>
                <a:gd name="T81" fmla="*/ 26 h 135"/>
                <a:gd name="T82" fmla="*/ 44 w 82"/>
                <a:gd name="T83" fmla="*/ 26 h 135"/>
                <a:gd name="T84" fmla="*/ 47 w 82"/>
                <a:gd name="T85" fmla="*/ 23 h 135"/>
                <a:gd name="T86" fmla="*/ 23 w 82"/>
                <a:gd name="T87" fmla="*/ 22 h 135"/>
                <a:gd name="T88" fmla="*/ 49 w 82"/>
                <a:gd name="T89" fmla="*/ 23 h 135"/>
                <a:gd name="T90" fmla="*/ 45 w 82"/>
                <a:gd name="T91" fmla="*/ 21 h 135"/>
                <a:gd name="T92" fmla="*/ 50 w 82"/>
                <a:gd name="T93" fmla="*/ 20 h 135"/>
                <a:gd name="T94" fmla="*/ 49 w 82"/>
                <a:gd name="T95" fmla="*/ 20 h 135"/>
                <a:gd name="T96" fmla="*/ 46 w 82"/>
                <a:gd name="T97" fmla="*/ 20 h 135"/>
                <a:gd name="T98" fmla="*/ 51 w 82"/>
                <a:gd name="T99" fmla="*/ 19 h 135"/>
                <a:gd name="T100" fmla="*/ 59 w 82"/>
                <a:gd name="T101" fmla="*/ 9 h 135"/>
                <a:gd name="T102" fmla="*/ 59 w 82"/>
                <a:gd name="T103" fmla="*/ 9 h 135"/>
                <a:gd name="T104" fmla="*/ 62 w 82"/>
                <a:gd name="T105" fmla="*/ 9 h 135"/>
                <a:gd name="T106" fmla="*/ 56 w 82"/>
                <a:gd name="T107" fmla="*/ 6 h 135"/>
                <a:gd name="T108" fmla="*/ 59 w 82"/>
                <a:gd name="T109" fmla="*/ 5 h 135"/>
                <a:gd name="T110" fmla="*/ 62 w 82"/>
                <a:gd name="T111" fmla="*/ 3 h 135"/>
                <a:gd name="T112" fmla="*/ 63 w 82"/>
                <a:gd name="T113" fmla="*/ 2 h 135"/>
                <a:gd name="T114" fmla="*/ 62 w 82"/>
                <a:gd name="T115" fmla="*/ 3 h 135"/>
                <a:gd name="T116" fmla="*/ 60 w 82"/>
                <a:gd name="T117" fmla="*/ 2 h 135"/>
                <a:gd name="T118" fmla="*/ 63 w 82"/>
                <a:gd name="T119" fmla="*/ 0 h 135"/>
                <a:gd name="T120" fmla="*/ 62 w 82"/>
                <a:gd name="T121" fmla="*/ 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135">
                  <a:moveTo>
                    <a:pt x="19" y="135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close/>
                  <a:moveTo>
                    <a:pt x="19" y="135"/>
                  </a:moveTo>
                  <a:lnTo>
                    <a:pt x="19" y="134"/>
                  </a:lnTo>
                  <a:lnTo>
                    <a:pt x="19" y="135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54" y="126"/>
                  </a:moveTo>
                  <a:lnTo>
                    <a:pt x="54" y="126"/>
                  </a:lnTo>
                  <a:lnTo>
                    <a:pt x="54" y="126"/>
                  </a:lnTo>
                  <a:close/>
                  <a:moveTo>
                    <a:pt x="60" y="126"/>
                  </a:moveTo>
                  <a:lnTo>
                    <a:pt x="59" y="126"/>
                  </a:lnTo>
                  <a:lnTo>
                    <a:pt x="60" y="126"/>
                  </a:lnTo>
                  <a:lnTo>
                    <a:pt x="60" y="125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0" y="126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7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59" y="126"/>
                  </a:lnTo>
                  <a:lnTo>
                    <a:pt x="60" y="126"/>
                  </a:lnTo>
                  <a:close/>
                  <a:moveTo>
                    <a:pt x="62" y="124"/>
                  </a:moveTo>
                  <a:lnTo>
                    <a:pt x="62" y="124"/>
                  </a:lnTo>
                  <a:lnTo>
                    <a:pt x="62" y="124"/>
                  </a:lnTo>
                  <a:close/>
                  <a:moveTo>
                    <a:pt x="33" y="120"/>
                  </a:moveTo>
                  <a:lnTo>
                    <a:pt x="32" y="120"/>
                  </a:lnTo>
                  <a:lnTo>
                    <a:pt x="32" y="120"/>
                  </a:lnTo>
                  <a:lnTo>
                    <a:pt x="33" y="120"/>
                  </a:lnTo>
                  <a:lnTo>
                    <a:pt x="33" y="120"/>
                  </a:lnTo>
                  <a:close/>
                  <a:moveTo>
                    <a:pt x="74" y="118"/>
                  </a:moveTo>
                  <a:lnTo>
                    <a:pt x="75" y="118"/>
                  </a:lnTo>
                  <a:lnTo>
                    <a:pt x="74" y="118"/>
                  </a:lnTo>
                  <a:close/>
                  <a:moveTo>
                    <a:pt x="75" y="117"/>
                  </a:moveTo>
                  <a:lnTo>
                    <a:pt x="75" y="118"/>
                  </a:lnTo>
                  <a:lnTo>
                    <a:pt x="75" y="117"/>
                  </a:lnTo>
                  <a:close/>
                  <a:moveTo>
                    <a:pt x="76" y="117"/>
                  </a:moveTo>
                  <a:lnTo>
                    <a:pt x="77" y="117"/>
                  </a:lnTo>
                  <a:lnTo>
                    <a:pt x="77" y="117"/>
                  </a:lnTo>
                  <a:lnTo>
                    <a:pt x="77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5" y="118"/>
                  </a:lnTo>
                  <a:lnTo>
                    <a:pt x="76" y="118"/>
                  </a:lnTo>
                  <a:lnTo>
                    <a:pt x="76" y="117"/>
                  </a:lnTo>
                  <a:close/>
                  <a:moveTo>
                    <a:pt x="76" y="115"/>
                  </a:moveTo>
                  <a:lnTo>
                    <a:pt x="75" y="115"/>
                  </a:lnTo>
                  <a:lnTo>
                    <a:pt x="76" y="115"/>
                  </a:lnTo>
                  <a:close/>
                  <a:moveTo>
                    <a:pt x="76" y="113"/>
                  </a:moveTo>
                  <a:lnTo>
                    <a:pt x="75" y="113"/>
                  </a:lnTo>
                  <a:lnTo>
                    <a:pt x="76" y="113"/>
                  </a:lnTo>
                  <a:close/>
                  <a:moveTo>
                    <a:pt x="78" y="113"/>
                  </a:moveTo>
                  <a:lnTo>
                    <a:pt x="77" y="113"/>
                  </a:lnTo>
                  <a:lnTo>
                    <a:pt x="78" y="113"/>
                  </a:lnTo>
                  <a:lnTo>
                    <a:pt x="78" y="112"/>
                  </a:lnTo>
                  <a:lnTo>
                    <a:pt x="78" y="113"/>
                  </a:lnTo>
                  <a:close/>
                  <a:moveTo>
                    <a:pt x="27" y="112"/>
                  </a:moveTo>
                  <a:lnTo>
                    <a:pt x="27" y="112"/>
                  </a:lnTo>
                  <a:lnTo>
                    <a:pt x="27" y="112"/>
                  </a:lnTo>
                  <a:close/>
                  <a:moveTo>
                    <a:pt x="82" y="109"/>
                  </a:moveTo>
                  <a:lnTo>
                    <a:pt x="82" y="109"/>
                  </a:lnTo>
                  <a:lnTo>
                    <a:pt x="82" y="109"/>
                  </a:lnTo>
                  <a:close/>
                  <a:moveTo>
                    <a:pt x="32" y="101"/>
                  </a:moveTo>
                  <a:lnTo>
                    <a:pt x="32" y="101"/>
                  </a:lnTo>
                  <a:lnTo>
                    <a:pt x="32" y="101"/>
                  </a:lnTo>
                  <a:close/>
                  <a:moveTo>
                    <a:pt x="33" y="94"/>
                  </a:moveTo>
                  <a:lnTo>
                    <a:pt x="33" y="94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3" y="94"/>
                  </a:lnTo>
                  <a:close/>
                  <a:moveTo>
                    <a:pt x="64" y="90"/>
                  </a:moveTo>
                  <a:lnTo>
                    <a:pt x="64" y="89"/>
                  </a:lnTo>
                  <a:lnTo>
                    <a:pt x="64" y="90"/>
                  </a:lnTo>
                  <a:close/>
                  <a:moveTo>
                    <a:pt x="44" y="85"/>
                  </a:move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4"/>
                  </a:lnTo>
                  <a:lnTo>
                    <a:pt x="44" y="85"/>
                  </a:lnTo>
                  <a:lnTo>
                    <a:pt x="44" y="85"/>
                  </a:lnTo>
                  <a:close/>
                  <a:moveTo>
                    <a:pt x="25" y="81"/>
                  </a:moveTo>
                  <a:lnTo>
                    <a:pt x="25" y="81"/>
                  </a:lnTo>
                  <a:lnTo>
                    <a:pt x="25" y="81"/>
                  </a:lnTo>
                  <a:close/>
                  <a:moveTo>
                    <a:pt x="25" y="81"/>
                  </a:moveTo>
                  <a:lnTo>
                    <a:pt x="25" y="80"/>
                  </a:lnTo>
                  <a:lnTo>
                    <a:pt x="25" y="81"/>
                  </a:lnTo>
                  <a:close/>
                  <a:moveTo>
                    <a:pt x="26" y="78"/>
                  </a:moveTo>
                  <a:lnTo>
                    <a:pt x="25" y="78"/>
                  </a:lnTo>
                  <a:lnTo>
                    <a:pt x="26" y="78"/>
                  </a:lnTo>
                  <a:close/>
                  <a:moveTo>
                    <a:pt x="25" y="70"/>
                  </a:moveTo>
                  <a:lnTo>
                    <a:pt x="25" y="71"/>
                  </a:lnTo>
                  <a:lnTo>
                    <a:pt x="25" y="70"/>
                  </a:lnTo>
                  <a:close/>
                  <a:moveTo>
                    <a:pt x="20" y="70"/>
                  </a:moveTo>
                  <a:lnTo>
                    <a:pt x="21" y="70"/>
                  </a:lnTo>
                  <a:lnTo>
                    <a:pt x="20" y="70"/>
                  </a:lnTo>
                  <a:lnTo>
                    <a:pt x="21" y="71"/>
                  </a:lnTo>
                  <a:lnTo>
                    <a:pt x="20" y="71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20" y="70"/>
                  </a:lnTo>
                  <a:close/>
                  <a:moveTo>
                    <a:pt x="23" y="66"/>
                  </a:moveTo>
                  <a:lnTo>
                    <a:pt x="24" y="66"/>
                  </a:lnTo>
                  <a:lnTo>
                    <a:pt x="23" y="66"/>
                  </a:lnTo>
                  <a:close/>
                  <a:moveTo>
                    <a:pt x="55" y="65"/>
                  </a:moveTo>
                  <a:lnTo>
                    <a:pt x="56" y="65"/>
                  </a:lnTo>
                  <a:lnTo>
                    <a:pt x="55" y="65"/>
                  </a:lnTo>
                  <a:close/>
                  <a:moveTo>
                    <a:pt x="24" y="65"/>
                  </a:moveTo>
                  <a:lnTo>
                    <a:pt x="24" y="65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3" y="65"/>
                  </a:lnTo>
                  <a:lnTo>
                    <a:pt x="24" y="65"/>
                  </a:lnTo>
                  <a:close/>
                  <a:moveTo>
                    <a:pt x="30" y="65"/>
                  </a:moveTo>
                  <a:lnTo>
                    <a:pt x="30" y="65"/>
                  </a:lnTo>
                  <a:lnTo>
                    <a:pt x="30" y="65"/>
                  </a:lnTo>
                  <a:close/>
                  <a:moveTo>
                    <a:pt x="30" y="64"/>
                  </a:moveTo>
                  <a:lnTo>
                    <a:pt x="30" y="64"/>
                  </a:lnTo>
                  <a:lnTo>
                    <a:pt x="30" y="64"/>
                  </a:lnTo>
                  <a:close/>
                  <a:moveTo>
                    <a:pt x="29" y="64"/>
                  </a:moveTo>
                  <a:lnTo>
                    <a:pt x="29" y="64"/>
                  </a:lnTo>
                  <a:lnTo>
                    <a:pt x="29" y="64"/>
                  </a:lnTo>
                  <a:close/>
                  <a:moveTo>
                    <a:pt x="28" y="63"/>
                  </a:move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0" y="65"/>
                  </a:lnTo>
                  <a:lnTo>
                    <a:pt x="29" y="65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3"/>
                  </a:lnTo>
                  <a:lnTo>
                    <a:pt x="28" y="63"/>
                  </a:lnTo>
                  <a:lnTo>
                    <a:pt x="28" y="63"/>
                  </a:lnTo>
                  <a:close/>
                  <a:moveTo>
                    <a:pt x="20" y="61"/>
                  </a:move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20" y="61"/>
                  </a:lnTo>
                  <a:close/>
                  <a:moveTo>
                    <a:pt x="21" y="60"/>
                  </a:moveTo>
                  <a:lnTo>
                    <a:pt x="21" y="60"/>
                  </a:lnTo>
                  <a:lnTo>
                    <a:pt x="20" y="60"/>
                  </a:lnTo>
                  <a:lnTo>
                    <a:pt x="20" y="61"/>
                  </a:lnTo>
                  <a:lnTo>
                    <a:pt x="21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0"/>
                  </a:lnTo>
                  <a:lnTo>
                    <a:pt x="19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close/>
                  <a:moveTo>
                    <a:pt x="25" y="60"/>
                  </a:moveTo>
                  <a:lnTo>
                    <a:pt x="25" y="59"/>
                  </a:lnTo>
                  <a:lnTo>
                    <a:pt x="26" y="59"/>
                  </a:lnTo>
                  <a:lnTo>
                    <a:pt x="25" y="60"/>
                  </a:lnTo>
                  <a:close/>
                  <a:moveTo>
                    <a:pt x="25" y="59"/>
                  </a:moveTo>
                  <a:lnTo>
                    <a:pt x="26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5" y="59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9"/>
                  </a:move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4" y="59"/>
                  </a:lnTo>
                  <a:lnTo>
                    <a:pt x="24" y="59"/>
                  </a:lnTo>
                  <a:close/>
                  <a:moveTo>
                    <a:pt x="24" y="59"/>
                  </a:move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8"/>
                  </a:moveTo>
                  <a:lnTo>
                    <a:pt x="25" y="59"/>
                  </a:lnTo>
                  <a:lnTo>
                    <a:pt x="25" y="58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8"/>
                  </a:lnTo>
                  <a:close/>
                  <a:moveTo>
                    <a:pt x="19" y="57"/>
                  </a:move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9" y="57"/>
                  </a:lnTo>
                  <a:close/>
                  <a:moveTo>
                    <a:pt x="26" y="56"/>
                  </a:moveTo>
                  <a:lnTo>
                    <a:pt x="26" y="57"/>
                  </a:lnTo>
                  <a:lnTo>
                    <a:pt x="25" y="57"/>
                  </a:lnTo>
                  <a:lnTo>
                    <a:pt x="25" y="56"/>
                  </a:lnTo>
                  <a:lnTo>
                    <a:pt x="26" y="56"/>
                  </a:lnTo>
                  <a:close/>
                  <a:moveTo>
                    <a:pt x="19" y="56"/>
                  </a:moveTo>
                  <a:lnTo>
                    <a:pt x="19" y="56"/>
                  </a:lnTo>
                  <a:lnTo>
                    <a:pt x="19" y="56"/>
                  </a:lnTo>
                  <a:close/>
                  <a:moveTo>
                    <a:pt x="21" y="56"/>
                  </a:moveTo>
                  <a:lnTo>
                    <a:pt x="21" y="56"/>
                  </a:lnTo>
                  <a:lnTo>
                    <a:pt x="21" y="56"/>
                  </a:lnTo>
                  <a:close/>
                  <a:moveTo>
                    <a:pt x="20" y="56"/>
                  </a:moveTo>
                  <a:lnTo>
                    <a:pt x="19" y="56"/>
                  </a:lnTo>
                  <a:lnTo>
                    <a:pt x="20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9" y="55"/>
                  </a:moveTo>
                  <a:lnTo>
                    <a:pt x="18" y="55"/>
                  </a:lnTo>
                  <a:lnTo>
                    <a:pt x="19" y="55"/>
                  </a:lnTo>
                  <a:close/>
                  <a:moveTo>
                    <a:pt x="15" y="55"/>
                  </a:moveTo>
                  <a:lnTo>
                    <a:pt x="16" y="55"/>
                  </a:lnTo>
                  <a:lnTo>
                    <a:pt x="15" y="55"/>
                  </a:lnTo>
                  <a:close/>
                  <a:moveTo>
                    <a:pt x="26" y="54"/>
                  </a:moveTo>
                  <a:lnTo>
                    <a:pt x="26" y="55"/>
                  </a:lnTo>
                  <a:lnTo>
                    <a:pt x="26" y="54"/>
                  </a:lnTo>
                  <a:close/>
                  <a:moveTo>
                    <a:pt x="16" y="54"/>
                  </a:moveTo>
                  <a:lnTo>
                    <a:pt x="16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6" y="54"/>
                  </a:lnTo>
                  <a:close/>
                  <a:moveTo>
                    <a:pt x="26" y="54"/>
                  </a:moveTo>
                  <a:lnTo>
                    <a:pt x="26" y="54"/>
                  </a:lnTo>
                  <a:lnTo>
                    <a:pt x="26" y="55"/>
                  </a:lnTo>
                  <a:lnTo>
                    <a:pt x="25" y="56"/>
                  </a:lnTo>
                  <a:lnTo>
                    <a:pt x="25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close/>
                  <a:moveTo>
                    <a:pt x="26" y="54"/>
                  </a:moveTo>
                  <a:lnTo>
                    <a:pt x="27" y="54"/>
                  </a:lnTo>
                  <a:lnTo>
                    <a:pt x="26" y="54"/>
                  </a:lnTo>
                  <a:close/>
                  <a:moveTo>
                    <a:pt x="21" y="54"/>
                  </a:move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close/>
                  <a:moveTo>
                    <a:pt x="18" y="53"/>
                  </a:moveTo>
                  <a:lnTo>
                    <a:pt x="18" y="53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3"/>
                  </a:lnTo>
                  <a:close/>
                  <a:moveTo>
                    <a:pt x="8" y="52"/>
                  </a:move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23" y="52"/>
                  </a:moveTo>
                  <a:lnTo>
                    <a:pt x="23" y="51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1"/>
                  </a:lnTo>
                  <a:lnTo>
                    <a:pt x="23" y="52"/>
                  </a:lnTo>
                  <a:close/>
                  <a:moveTo>
                    <a:pt x="9" y="51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19" y="51"/>
                  </a:moveTo>
                  <a:lnTo>
                    <a:pt x="20" y="51"/>
                  </a:lnTo>
                  <a:lnTo>
                    <a:pt x="19" y="51"/>
                  </a:lnTo>
                  <a:close/>
                  <a:moveTo>
                    <a:pt x="9" y="50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9" y="50"/>
                  </a:moveTo>
                  <a:lnTo>
                    <a:pt x="9" y="50"/>
                  </a:lnTo>
                  <a:lnTo>
                    <a:pt x="9" y="50"/>
                  </a:lnTo>
                  <a:close/>
                  <a:moveTo>
                    <a:pt x="10" y="50"/>
                  </a:move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close/>
                  <a:moveTo>
                    <a:pt x="23" y="50"/>
                  </a:moveTo>
                  <a:lnTo>
                    <a:pt x="22" y="50"/>
                  </a:lnTo>
                  <a:lnTo>
                    <a:pt x="23" y="50"/>
                  </a:lnTo>
                  <a:close/>
                  <a:moveTo>
                    <a:pt x="21" y="50"/>
                  </a:move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0"/>
                  </a:lnTo>
                  <a:close/>
                  <a:moveTo>
                    <a:pt x="9" y="49"/>
                  </a:move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9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0" y="48"/>
                  </a:move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9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8"/>
                  </a:lnTo>
                  <a:close/>
                  <a:moveTo>
                    <a:pt x="19" y="48"/>
                  </a:moveTo>
                  <a:lnTo>
                    <a:pt x="19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19" y="48"/>
                  </a:lnTo>
                  <a:close/>
                  <a:moveTo>
                    <a:pt x="18" y="48"/>
                  </a:moveTo>
                  <a:lnTo>
                    <a:pt x="18" y="48"/>
                  </a:lnTo>
                  <a:lnTo>
                    <a:pt x="18" y="48"/>
                  </a:lnTo>
                  <a:lnTo>
                    <a:pt x="17" y="48"/>
                  </a:lnTo>
                  <a:lnTo>
                    <a:pt x="18" y="48"/>
                  </a:lnTo>
                  <a:close/>
                  <a:moveTo>
                    <a:pt x="11" y="48"/>
                  </a:moveTo>
                  <a:lnTo>
                    <a:pt x="11" y="48"/>
                  </a:lnTo>
                  <a:lnTo>
                    <a:pt x="11" y="48"/>
                  </a:lnTo>
                  <a:close/>
                  <a:moveTo>
                    <a:pt x="20" y="47"/>
                  </a:move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20" y="47"/>
                  </a:lnTo>
                  <a:close/>
                  <a:moveTo>
                    <a:pt x="23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22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8" y="45"/>
                  </a:moveTo>
                  <a:lnTo>
                    <a:pt x="18" y="45"/>
                  </a:lnTo>
                  <a:lnTo>
                    <a:pt x="18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12" y="43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close/>
                  <a:moveTo>
                    <a:pt x="11" y="44"/>
                  </a:moveTo>
                  <a:lnTo>
                    <a:pt x="11" y="44"/>
                  </a:lnTo>
                  <a:lnTo>
                    <a:pt x="11" y="45"/>
                  </a:lnTo>
                  <a:lnTo>
                    <a:pt x="12" y="44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0" y="47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11" y="43"/>
                  </a:move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close/>
                  <a:moveTo>
                    <a:pt x="11" y="43"/>
                  </a:moveTo>
                  <a:lnTo>
                    <a:pt x="11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1" y="43"/>
                  </a:lnTo>
                  <a:close/>
                  <a:moveTo>
                    <a:pt x="12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2" y="42"/>
                  </a:move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1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2" y="42"/>
                  </a:lnTo>
                  <a:lnTo>
                    <a:pt x="11" y="42"/>
                  </a:lnTo>
                  <a:close/>
                  <a:moveTo>
                    <a:pt x="22" y="43"/>
                  </a:moveTo>
                  <a:lnTo>
                    <a:pt x="22" y="43"/>
                  </a:lnTo>
                  <a:lnTo>
                    <a:pt x="22" y="44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3"/>
                  </a:lnTo>
                  <a:close/>
                  <a:moveTo>
                    <a:pt x="9" y="42"/>
                  </a:moveTo>
                  <a:lnTo>
                    <a:pt x="8" y="42"/>
                  </a:lnTo>
                  <a:lnTo>
                    <a:pt x="9" y="42"/>
                  </a:lnTo>
                  <a:close/>
                  <a:moveTo>
                    <a:pt x="11" y="42"/>
                  </a:move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1" y="42"/>
                  </a:lnTo>
                  <a:close/>
                  <a:moveTo>
                    <a:pt x="10" y="42"/>
                  </a:move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0" y="42"/>
                  </a:lnTo>
                  <a:close/>
                  <a:moveTo>
                    <a:pt x="22" y="42"/>
                  </a:move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11" y="41"/>
                  </a:moveTo>
                  <a:lnTo>
                    <a:pt x="10" y="41"/>
                  </a:lnTo>
                  <a:lnTo>
                    <a:pt x="11" y="41"/>
                  </a:lnTo>
                  <a:close/>
                  <a:moveTo>
                    <a:pt x="12" y="40"/>
                  </a:moveTo>
                  <a:lnTo>
                    <a:pt x="11" y="40"/>
                  </a:lnTo>
                  <a:lnTo>
                    <a:pt x="12" y="40"/>
                  </a:lnTo>
                  <a:close/>
                  <a:moveTo>
                    <a:pt x="12" y="40"/>
                  </a:moveTo>
                  <a:lnTo>
                    <a:pt x="12" y="40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close/>
                  <a:moveTo>
                    <a:pt x="19" y="40"/>
                  </a:moveTo>
                  <a:lnTo>
                    <a:pt x="19" y="39"/>
                  </a:lnTo>
                  <a:lnTo>
                    <a:pt x="19" y="40"/>
                  </a:lnTo>
                  <a:close/>
                  <a:moveTo>
                    <a:pt x="23" y="39"/>
                  </a:moveTo>
                  <a:lnTo>
                    <a:pt x="23" y="39"/>
                  </a:lnTo>
                  <a:lnTo>
                    <a:pt x="23" y="39"/>
                  </a:lnTo>
                  <a:close/>
                  <a:moveTo>
                    <a:pt x="12" y="39"/>
                  </a:moveTo>
                  <a:lnTo>
                    <a:pt x="12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9"/>
                  </a:lnTo>
                  <a:close/>
                  <a:moveTo>
                    <a:pt x="13" y="39"/>
                  </a:moveTo>
                  <a:lnTo>
                    <a:pt x="13" y="39"/>
                  </a:lnTo>
                  <a:lnTo>
                    <a:pt x="13" y="39"/>
                  </a:lnTo>
                  <a:close/>
                  <a:moveTo>
                    <a:pt x="12" y="39"/>
                  </a:move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2" y="39"/>
                  </a:move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" y="38"/>
                  </a:moveTo>
                  <a:lnTo>
                    <a:pt x="2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1" y="39"/>
                  </a:lnTo>
                  <a:lnTo>
                    <a:pt x="1" y="38"/>
                  </a:lnTo>
                  <a:close/>
                  <a:moveTo>
                    <a:pt x="0" y="38"/>
                  </a:moveTo>
                  <a:lnTo>
                    <a:pt x="1" y="38"/>
                  </a:lnTo>
                  <a:lnTo>
                    <a:pt x="0" y="38"/>
                  </a:lnTo>
                  <a:close/>
                  <a:moveTo>
                    <a:pt x="25" y="38"/>
                  </a:moveTo>
                  <a:lnTo>
                    <a:pt x="25" y="38"/>
                  </a:lnTo>
                  <a:lnTo>
                    <a:pt x="25" y="38"/>
                  </a:lnTo>
                  <a:close/>
                  <a:moveTo>
                    <a:pt x="2" y="38"/>
                  </a:move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close/>
                  <a:moveTo>
                    <a:pt x="16" y="38"/>
                  </a:moveTo>
                  <a:lnTo>
                    <a:pt x="17" y="38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19" y="38"/>
                  </a:moveTo>
                  <a:lnTo>
                    <a:pt x="19" y="38"/>
                  </a:lnTo>
                  <a:lnTo>
                    <a:pt x="19" y="38"/>
                  </a:lnTo>
                  <a:close/>
                  <a:moveTo>
                    <a:pt x="14" y="37"/>
                  </a:moveTo>
                  <a:lnTo>
                    <a:pt x="14" y="38"/>
                  </a:lnTo>
                  <a:lnTo>
                    <a:pt x="13" y="38"/>
                  </a:lnTo>
                  <a:lnTo>
                    <a:pt x="14" y="37"/>
                  </a:lnTo>
                  <a:close/>
                  <a:moveTo>
                    <a:pt x="14" y="37"/>
                  </a:moveTo>
                  <a:lnTo>
                    <a:pt x="14" y="37"/>
                  </a:lnTo>
                  <a:lnTo>
                    <a:pt x="14" y="37"/>
                  </a:lnTo>
                  <a:close/>
                  <a:moveTo>
                    <a:pt x="18" y="36"/>
                  </a:moveTo>
                  <a:lnTo>
                    <a:pt x="18" y="37"/>
                  </a:lnTo>
                  <a:lnTo>
                    <a:pt x="18" y="36"/>
                  </a:lnTo>
                  <a:close/>
                  <a:moveTo>
                    <a:pt x="16" y="37"/>
                  </a:moveTo>
                  <a:lnTo>
                    <a:pt x="16" y="36"/>
                  </a:lnTo>
                  <a:lnTo>
                    <a:pt x="16" y="37"/>
                  </a:lnTo>
                  <a:close/>
                  <a:moveTo>
                    <a:pt x="26" y="36"/>
                  </a:moveTo>
                  <a:lnTo>
                    <a:pt x="27" y="36"/>
                  </a:lnTo>
                  <a:lnTo>
                    <a:pt x="26" y="36"/>
                  </a:lnTo>
                  <a:close/>
                  <a:moveTo>
                    <a:pt x="12" y="36"/>
                  </a:moveTo>
                  <a:lnTo>
                    <a:pt x="13" y="36"/>
                  </a:lnTo>
                  <a:lnTo>
                    <a:pt x="12" y="36"/>
                  </a:lnTo>
                  <a:close/>
                  <a:moveTo>
                    <a:pt x="26" y="35"/>
                  </a:moveTo>
                  <a:lnTo>
                    <a:pt x="26" y="36"/>
                  </a:lnTo>
                  <a:lnTo>
                    <a:pt x="26" y="35"/>
                  </a:lnTo>
                  <a:close/>
                  <a:moveTo>
                    <a:pt x="26" y="36"/>
                  </a:move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6"/>
                  </a:lnTo>
                  <a:close/>
                  <a:moveTo>
                    <a:pt x="27" y="34"/>
                  </a:moveTo>
                  <a:lnTo>
                    <a:pt x="28" y="34"/>
                  </a:lnTo>
                  <a:lnTo>
                    <a:pt x="27" y="34"/>
                  </a:lnTo>
                  <a:close/>
                  <a:moveTo>
                    <a:pt x="15" y="34"/>
                  </a:moveTo>
                  <a:lnTo>
                    <a:pt x="14" y="34"/>
                  </a:lnTo>
                  <a:lnTo>
                    <a:pt x="15" y="34"/>
                  </a:lnTo>
                  <a:close/>
                  <a:moveTo>
                    <a:pt x="14" y="33"/>
                  </a:moveTo>
                  <a:lnTo>
                    <a:pt x="14" y="34"/>
                  </a:lnTo>
                  <a:lnTo>
                    <a:pt x="14" y="33"/>
                  </a:lnTo>
                  <a:close/>
                  <a:moveTo>
                    <a:pt x="15" y="33"/>
                  </a:moveTo>
                  <a:lnTo>
                    <a:pt x="15" y="33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3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close/>
                  <a:moveTo>
                    <a:pt x="29" y="31"/>
                  </a:moveTo>
                  <a:lnTo>
                    <a:pt x="28" y="31"/>
                  </a:lnTo>
                  <a:lnTo>
                    <a:pt x="29" y="31"/>
                  </a:lnTo>
                  <a:close/>
                  <a:moveTo>
                    <a:pt x="36" y="29"/>
                  </a:moveTo>
                  <a:lnTo>
                    <a:pt x="36" y="30"/>
                  </a:lnTo>
                  <a:lnTo>
                    <a:pt x="36" y="29"/>
                  </a:lnTo>
                  <a:close/>
                  <a:moveTo>
                    <a:pt x="32" y="29"/>
                  </a:moveTo>
                  <a:lnTo>
                    <a:pt x="33" y="29"/>
                  </a:lnTo>
                  <a:lnTo>
                    <a:pt x="32" y="29"/>
                  </a:lnTo>
                  <a:close/>
                  <a:moveTo>
                    <a:pt x="45" y="28"/>
                  </a:moveTo>
                  <a:lnTo>
                    <a:pt x="45" y="27"/>
                  </a:lnTo>
                  <a:lnTo>
                    <a:pt x="45" y="28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44" y="26"/>
                  </a:moveTo>
                  <a:lnTo>
                    <a:pt x="45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close/>
                  <a:moveTo>
                    <a:pt x="44" y="26"/>
                  </a:moveTo>
                  <a:lnTo>
                    <a:pt x="44" y="25"/>
                  </a:lnTo>
                  <a:lnTo>
                    <a:pt x="44" y="26"/>
                  </a:lnTo>
                  <a:close/>
                  <a:moveTo>
                    <a:pt x="44" y="25"/>
                  </a:moveTo>
                  <a:lnTo>
                    <a:pt x="45" y="25"/>
                  </a:lnTo>
                  <a:lnTo>
                    <a:pt x="44" y="25"/>
                  </a:lnTo>
                  <a:close/>
                  <a:moveTo>
                    <a:pt x="43" y="24"/>
                  </a:moveTo>
                  <a:lnTo>
                    <a:pt x="44" y="25"/>
                  </a:lnTo>
                  <a:lnTo>
                    <a:pt x="44" y="25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5"/>
                  </a:lnTo>
                  <a:lnTo>
                    <a:pt x="43" y="24"/>
                  </a:lnTo>
                  <a:lnTo>
                    <a:pt x="43" y="24"/>
                  </a:lnTo>
                  <a:close/>
                  <a:moveTo>
                    <a:pt x="44" y="24"/>
                  </a:moveTo>
                  <a:lnTo>
                    <a:pt x="43" y="24"/>
                  </a:lnTo>
                  <a:lnTo>
                    <a:pt x="44" y="24"/>
                  </a:lnTo>
                  <a:close/>
                  <a:moveTo>
                    <a:pt x="47" y="23"/>
                  </a:moveTo>
                  <a:lnTo>
                    <a:pt x="48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7" y="23"/>
                  </a:lnTo>
                  <a:close/>
                  <a:moveTo>
                    <a:pt x="34" y="23"/>
                  </a:moveTo>
                  <a:lnTo>
                    <a:pt x="34" y="22"/>
                  </a:lnTo>
                  <a:lnTo>
                    <a:pt x="34" y="23"/>
                  </a:lnTo>
                  <a:close/>
                  <a:moveTo>
                    <a:pt x="46" y="23"/>
                  </a:moveTo>
                  <a:lnTo>
                    <a:pt x="46" y="22"/>
                  </a:lnTo>
                  <a:lnTo>
                    <a:pt x="46" y="23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close/>
                  <a:moveTo>
                    <a:pt x="48" y="22"/>
                  </a:moveTo>
                  <a:lnTo>
                    <a:pt x="48" y="22"/>
                  </a:lnTo>
                  <a:lnTo>
                    <a:pt x="48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8" y="23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5" y="21"/>
                  </a:moveTo>
                  <a:lnTo>
                    <a:pt x="45" y="22"/>
                  </a:lnTo>
                  <a:lnTo>
                    <a:pt x="46" y="22"/>
                  </a:lnTo>
                  <a:lnTo>
                    <a:pt x="46" y="21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1"/>
                  </a:lnTo>
                  <a:lnTo>
                    <a:pt x="45" y="21"/>
                  </a:lnTo>
                  <a:close/>
                  <a:moveTo>
                    <a:pt x="47" y="21"/>
                  </a:moveTo>
                  <a:lnTo>
                    <a:pt x="47" y="20"/>
                  </a:lnTo>
                  <a:lnTo>
                    <a:pt x="47" y="21"/>
                  </a:lnTo>
                  <a:close/>
                  <a:moveTo>
                    <a:pt x="48" y="20"/>
                  </a:moveTo>
                  <a:lnTo>
                    <a:pt x="48" y="20"/>
                  </a:lnTo>
                  <a:lnTo>
                    <a:pt x="48" y="20"/>
                  </a:lnTo>
                  <a:close/>
                  <a:moveTo>
                    <a:pt x="48" y="20"/>
                  </a:moveTo>
                  <a:lnTo>
                    <a:pt x="48" y="21"/>
                  </a:lnTo>
                  <a:lnTo>
                    <a:pt x="48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8" y="20"/>
                  </a:lnTo>
                  <a:close/>
                  <a:moveTo>
                    <a:pt x="51" y="20"/>
                  </a:moveTo>
                  <a:lnTo>
                    <a:pt x="50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1" y="19"/>
                  </a:lnTo>
                  <a:lnTo>
                    <a:pt x="51" y="20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46" y="19"/>
                  </a:moveTo>
                  <a:lnTo>
                    <a:pt x="46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6" y="19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51" y="19"/>
                  </a:move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1" y="19"/>
                  </a:lnTo>
                  <a:close/>
                  <a:moveTo>
                    <a:pt x="57" y="16"/>
                  </a:move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7" y="16"/>
                  </a:lnTo>
                  <a:close/>
                  <a:moveTo>
                    <a:pt x="59" y="11"/>
                  </a:moveTo>
                  <a:lnTo>
                    <a:pt x="59" y="11"/>
                  </a:lnTo>
                  <a:lnTo>
                    <a:pt x="59" y="11"/>
                  </a:lnTo>
                  <a:close/>
                  <a:moveTo>
                    <a:pt x="59" y="10"/>
                  </a:moveTo>
                  <a:lnTo>
                    <a:pt x="59" y="11"/>
                  </a:lnTo>
                  <a:lnTo>
                    <a:pt x="59" y="11"/>
                  </a:lnTo>
                  <a:lnTo>
                    <a:pt x="59" y="10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0" y="9"/>
                  </a:moveTo>
                  <a:lnTo>
                    <a:pt x="60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0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2" y="9"/>
                  </a:moveTo>
                  <a:lnTo>
                    <a:pt x="62" y="9"/>
                  </a:lnTo>
                  <a:lnTo>
                    <a:pt x="62" y="9"/>
                  </a:lnTo>
                  <a:close/>
                  <a:moveTo>
                    <a:pt x="54" y="9"/>
                  </a:move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close/>
                  <a:moveTo>
                    <a:pt x="62" y="8"/>
                  </a:move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2" y="8"/>
                  </a:lnTo>
                  <a:close/>
                  <a:moveTo>
                    <a:pt x="58" y="8"/>
                  </a:moveTo>
                  <a:lnTo>
                    <a:pt x="58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56" y="6"/>
                  </a:move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63" y="6"/>
                  </a:move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3" y="6"/>
                  </a:lnTo>
                  <a:close/>
                  <a:moveTo>
                    <a:pt x="59" y="5"/>
                  </a:moveTo>
                  <a:lnTo>
                    <a:pt x="59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close/>
                  <a:moveTo>
                    <a:pt x="64" y="5"/>
                  </a:moveTo>
                  <a:lnTo>
                    <a:pt x="64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close/>
                  <a:moveTo>
                    <a:pt x="61" y="5"/>
                  </a:moveTo>
                  <a:lnTo>
                    <a:pt x="60" y="5"/>
                  </a:lnTo>
                  <a:lnTo>
                    <a:pt x="61" y="5"/>
                  </a:lnTo>
                  <a:close/>
                  <a:moveTo>
                    <a:pt x="60" y="4"/>
                  </a:move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close/>
                  <a:moveTo>
                    <a:pt x="62" y="2"/>
                  </a:move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2"/>
                  </a:lnTo>
                  <a:close/>
                  <a:moveTo>
                    <a:pt x="63" y="2"/>
                  </a:moveTo>
                  <a:lnTo>
                    <a:pt x="63" y="3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3" y="2"/>
                  </a:lnTo>
                  <a:lnTo>
                    <a:pt x="63" y="2"/>
                  </a:lnTo>
                  <a:close/>
                  <a:moveTo>
                    <a:pt x="62" y="1"/>
                  </a:move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2" y="1"/>
                  </a:lnTo>
                  <a:close/>
                  <a:moveTo>
                    <a:pt x="63" y="1"/>
                  </a:moveTo>
                  <a:lnTo>
                    <a:pt x="64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1"/>
                  </a:lnTo>
                  <a:close/>
                  <a:moveTo>
                    <a:pt x="63" y="0"/>
                  </a:move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1" name="Freeform 117"/>
            <p:cNvSpPr>
              <a:spLocks noEditPoints="1"/>
            </p:cNvSpPr>
            <p:nvPr/>
          </p:nvSpPr>
          <p:spPr bwMode="auto">
            <a:xfrm>
              <a:off x="5678237" y="3473751"/>
              <a:ext cx="91373" cy="186007"/>
            </a:xfrm>
            <a:custGeom>
              <a:avLst/>
              <a:gdLst>
                <a:gd name="T0" fmla="*/ 11 w 70"/>
                <a:gd name="T1" fmla="*/ 134 h 135"/>
                <a:gd name="T2" fmla="*/ 46 w 70"/>
                <a:gd name="T3" fmla="*/ 126 h 135"/>
                <a:gd name="T4" fmla="*/ 50 w 70"/>
                <a:gd name="T5" fmla="*/ 126 h 135"/>
                <a:gd name="T6" fmla="*/ 67 w 70"/>
                <a:gd name="T7" fmla="*/ 117 h 135"/>
                <a:gd name="T8" fmla="*/ 66 w 70"/>
                <a:gd name="T9" fmla="*/ 116 h 135"/>
                <a:gd name="T10" fmla="*/ 20 w 70"/>
                <a:gd name="T11" fmla="*/ 113 h 135"/>
                <a:gd name="T12" fmla="*/ 43 w 70"/>
                <a:gd name="T13" fmla="*/ 112 h 135"/>
                <a:gd name="T14" fmla="*/ 18 w 70"/>
                <a:gd name="T15" fmla="*/ 112 h 135"/>
                <a:gd name="T16" fmla="*/ 30 w 70"/>
                <a:gd name="T17" fmla="*/ 94 h 135"/>
                <a:gd name="T18" fmla="*/ 16 w 70"/>
                <a:gd name="T19" fmla="*/ 82 h 135"/>
                <a:gd name="T20" fmla="*/ 17 w 70"/>
                <a:gd name="T21" fmla="*/ 81 h 135"/>
                <a:gd name="T22" fmla="*/ 17 w 70"/>
                <a:gd name="T23" fmla="*/ 79 h 135"/>
                <a:gd name="T24" fmla="*/ 24 w 70"/>
                <a:gd name="T25" fmla="*/ 78 h 135"/>
                <a:gd name="T26" fmla="*/ 28 w 70"/>
                <a:gd name="T27" fmla="*/ 76 h 135"/>
                <a:gd name="T28" fmla="*/ 48 w 70"/>
                <a:gd name="T29" fmla="*/ 66 h 135"/>
                <a:gd name="T30" fmla="*/ 16 w 70"/>
                <a:gd name="T31" fmla="*/ 65 h 135"/>
                <a:gd name="T32" fmla="*/ 14 w 70"/>
                <a:gd name="T33" fmla="*/ 64 h 135"/>
                <a:gd name="T34" fmla="*/ 18 w 70"/>
                <a:gd name="T35" fmla="*/ 63 h 135"/>
                <a:gd name="T36" fmla="*/ 19 w 70"/>
                <a:gd name="T37" fmla="*/ 63 h 135"/>
                <a:gd name="T38" fmla="*/ 21 w 70"/>
                <a:gd name="T39" fmla="*/ 63 h 135"/>
                <a:gd name="T40" fmla="*/ 25 w 70"/>
                <a:gd name="T41" fmla="*/ 62 h 135"/>
                <a:gd name="T42" fmla="*/ 36 w 70"/>
                <a:gd name="T43" fmla="*/ 61 h 135"/>
                <a:gd name="T44" fmla="*/ 17 w 70"/>
                <a:gd name="T45" fmla="*/ 60 h 135"/>
                <a:gd name="T46" fmla="*/ 17 w 70"/>
                <a:gd name="T47" fmla="*/ 60 h 135"/>
                <a:gd name="T48" fmla="*/ 17 w 70"/>
                <a:gd name="T49" fmla="*/ 59 h 135"/>
                <a:gd name="T50" fmla="*/ 11 w 70"/>
                <a:gd name="T51" fmla="*/ 58 h 135"/>
                <a:gd name="T52" fmla="*/ 12 w 70"/>
                <a:gd name="T53" fmla="*/ 57 h 135"/>
                <a:gd name="T54" fmla="*/ 17 w 70"/>
                <a:gd name="T55" fmla="*/ 56 h 135"/>
                <a:gd name="T56" fmla="*/ 18 w 70"/>
                <a:gd name="T57" fmla="*/ 55 h 135"/>
                <a:gd name="T58" fmla="*/ 10 w 70"/>
                <a:gd name="T59" fmla="*/ 53 h 135"/>
                <a:gd name="T60" fmla="*/ 11 w 70"/>
                <a:gd name="T61" fmla="*/ 51 h 135"/>
                <a:gd name="T62" fmla="*/ 14 w 70"/>
                <a:gd name="T63" fmla="*/ 50 h 135"/>
                <a:gd name="T64" fmla="*/ 4 w 70"/>
                <a:gd name="T65" fmla="*/ 47 h 135"/>
                <a:gd name="T66" fmla="*/ 17 w 70"/>
                <a:gd name="T67" fmla="*/ 45 h 135"/>
                <a:gd name="T68" fmla="*/ 4 w 70"/>
                <a:gd name="T69" fmla="*/ 44 h 135"/>
                <a:gd name="T70" fmla="*/ 9 w 70"/>
                <a:gd name="T71" fmla="*/ 43 h 135"/>
                <a:gd name="T72" fmla="*/ 0 w 70"/>
                <a:gd name="T73" fmla="*/ 42 h 135"/>
                <a:gd name="T74" fmla="*/ 10 w 70"/>
                <a:gd name="T75" fmla="*/ 41 h 135"/>
                <a:gd name="T76" fmla="*/ 5 w 70"/>
                <a:gd name="T77" fmla="*/ 41 h 135"/>
                <a:gd name="T78" fmla="*/ 0 w 70"/>
                <a:gd name="T79" fmla="*/ 40 h 135"/>
                <a:gd name="T80" fmla="*/ 5 w 70"/>
                <a:gd name="T81" fmla="*/ 39 h 135"/>
                <a:gd name="T82" fmla="*/ 4 w 70"/>
                <a:gd name="T83" fmla="*/ 39 h 135"/>
                <a:gd name="T84" fmla="*/ 7 w 70"/>
                <a:gd name="T85" fmla="*/ 38 h 135"/>
                <a:gd name="T86" fmla="*/ 8 w 70"/>
                <a:gd name="T87" fmla="*/ 38 h 135"/>
                <a:gd name="T88" fmla="*/ 18 w 70"/>
                <a:gd name="T89" fmla="*/ 37 h 135"/>
                <a:gd name="T90" fmla="*/ 5 w 70"/>
                <a:gd name="T91" fmla="*/ 34 h 135"/>
                <a:gd name="T92" fmla="*/ 1 w 70"/>
                <a:gd name="T93" fmla="*/ 33 h 135"/>
                <a:gd name="T94" fmla="*/ 21 w 70"/>
                <a:gd name="T95" fmla="*/ 32 h 135"/>
                <a:gd name="T96" fmla="*/ 37 w 70"/>
                <a:gd name="T97" fmla="*/ 23 h 135"/>
                <a:gd name="T98" fmla="*/ 39 w 70"/>
                <a:gd name="T99" fmla="*/ 22 h 135"/>
                <a:gd name="T100" fmla="*/ 48 w 70"/>
                <a:gd name="T101" fmla="*/ 17 h 135"/>
                <a:gd name="T102" fmla="*/ 51 w 70"/>
                <a:gd name="T103" fmla="*/ 13 h 135"/>
                <a:gd name="T104" fmla="*/ 51 w 70"/>
                <a:gd name="T105" fmla="*/ 8 h 135"/>
                <a:gd name="T106" fmla="*/ 55 w 70"/>
                <a:gd name="T107" fmla="*/ 6 h 135"/>
                <a:gd name="T108" fmla="*/ 55 w 70"/>
                <a:gd name="T109" fmla="*/ 6 h 135"/>
                <a:gd name="T110" fmla="*/ 53 w 70"/>
                <a:gd name="T111" fmla="*/ 4 h 135"/>
                <a:gd name="T112" fmla="*/ 56 w 70"/>
                <a:gd name="T11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135">
                  <a:moveTo>
                    <a:pt x="11" y="135"/>
                  </a:moveTo>
                  <a:lnTo>
                    <a:pt x="11" y="135"/>
                  </a:lnTo>
                  <a:lnTo>
                    <a:pt x="11" y="135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46" y="126"/>
                  </a:moveTo>
                  <a:lnTo>
                    <a:pt x="46" y="126"/>
                  </a:lnTo>
                  <a:lnTo>
                    <a:pt x="46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38" y="120"/>
                  </a:moveTo>
                  <a:lnTo>
                    <a:pt x="37" y="120"/>
                  </a:lnTo>
                  <a:lnTo>
                    <a:pt x="37" y="119"/>
                  </a:lnTo>
                  <a:lnTo>
                    <a:pt x="38" y="120"/>
                  </a:lnTo>
                  <a:close/>
                  <a:moveTo>
                    <a:pt x="67" y="118"/>
                  </a:moveTo>
                  <a:lnTo>
                    <a:pt x="67" y="117"/>
                  </a:lnTo>
                  <a:lnTo>
                    <a:pt x="67" y="118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27" y="115"/>
                  </a:moveTo>
                  <a:lnTo>
                    <a:pt x="27" y="116"/>
                  </a:lnTo>
                  <a:lnTo>
                    <a:pt x="27" y="115"/>
                  </a:lnTo>
                  <a:close/>
                  <a:moveTo>
                    <a:pt x="21" y="113"/>
                  </a:moveTo>
                  <a:lnTo>
                    <a:pt x="20" y="113"/>
                  </a:lnTo>
                  <a:lnTo>
                    <a:pt x="21" y="113"/>
                  </a:lnTo>
                  <a:close/>
                  <a:moveTo>
                    <a:pt x="70" y="113"/>
                  </a:moveTo>
                  <a:lnTo>
                    <a:pt x="70" y="112"/>
                  </a:lnTo>
                  <a:lnTo>
                    <a:pt x="70" y="113"/>
                  </a:lnTo>
                  <a:close/>
                  <a:moveTo>
                    <a:pt x="43" y="113"/>
                  </a:moveTo>
                  <a:lnTo>
                    <a:pt x="43" y="112"/>
                  </a:lnTo>
                  <a:lnTo>
                    <a:pt x="43" y="113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29" y="99"/>
                  </a:moveTo>
                  <a:lnTo>
                    <a:pt x="29" y="100"/>
                  </a:lnTo>
                  <a:lnTo>
                    <a:pt x="29" y="99"/>
                  </a:lnTo>
                  <a:close/>
                  <a:moveTo>
                    <a:pt x="29" y="94"/>
                  </a:moveTo>
                  <a:lnTo>
                    <a:pt x="30" y="94"/>
                  </a:lnTo>
                  <a:lnTo>
                    <a:pt x="29" y="94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7" y="81"/>
                  </a:moveTo>
                  <a:lnTo>
                    <a:pt x="17" y="81"/>
                  </a:lnTo>
                  <a:lnTo>
                    <a:pt x="17" y="81"/>
                  </a:lnTo>
                  <a:close/>
                  <a:moveTo>
                    <a:pt x="17" y="82"/>
                  </a:moveTo>
                  <a:lnTo>
                    <a:pt x="17" y="81"/>
                  </a:lnTo>
                  <a:lnTo>
                    <a:pt x="17" y="82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7" y="80"/>
                  </a:moveTo>
                  <a:lnTo>
                    <a:pt x="17" y="79"/>
                  </a:lnTo>
                  <a:lnTo>
                    <a:pt x="17" y="80"/>
                  </a:lnTo>
                  <a:close/>
                  <a:moveTo>
                    <a:pt x="17" y="79"/>
                  </a:moveTo>
                  <a:lnTo>
                    <a:pt x="17" y="80"/>
                  </a:lnTo>
                  <a:lnTo>
                    <a:pt x="17" y="79"/>
                  </a:lnTo>
                  <a:close/>
                  <a:moveTo>
                    <a:pt x="24" y="78"/>
                  </a:moveTo>
                  <a:lnTo>
                    <a:pt x="24" y="78"/>
                  </a:lnTo>
                  <a:lnTo>
                    <a:pt x="24" y="78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23" y="66"/>
                  </a:moveTo>
                  <a:lnTo>
                    <a:pt x="23" y="65"/>
                  </a:lnTo>
                  <a:lnTo>
                    <a:pt x="23" y="66"/>
                  </a:lnTo>
                  <a:close/>
                  <a:moveTo>
                    <a:pt x="16" y="66"/>
                  </a:moveTo>
                  <a:lnTo>
                    <a:pt x="16" y="65"/>
                  </a:lnTo>
                  <a:lnTo>
                    <a:pt x="16" y="66"/>
                  </a:lnTo>
                  <a:close/>
                  <a:moveTo>
                    <a:pt x="10" y="65"/>
                  </a:moveTo>
                  <a:lnTo>
                    <a:pt x="10" y="65"/>
                  </a:lnTo>
                  <a:lnTo>
                    <a:pt x="10" y="65"/>
                  </a:lnTo>
                  <a:close/>
                  <a:moveTo>
                    <a:pt x="14" y="64"/>
                  </a:moveTo>
                  <a:lnTo>
                    <a:pt x="14" y="64"/>
                  </a:lnTo>
                  <a:lnTo>
                    <a:pt x="14" y="64"/>
                  </a:lnTo>
                  <a:close/>
                  <a:moveTo>
                    <a:pt x="14" y="64"/>
                  </a:moveTo>
                  <a:lnTo>
                    <a:pt x="13" y="64"/>
                  </a:lnTo>
                  <a:lnTo>
                    <a:pt x="14" y="64"/>
                  </a:lnTo>
                  <a:close/>
                  <a:moveTo>
                    <a:pt x="18" y="63"/>
                  </a:moveTo>
                  <a:lnTo>
                    <a:pt x="18" y="63"/>
                  </a:lnTo>
                  <a:lnTo>
                    <a:pt x="18" y="63"/>
                  </a:lnTo>
                  <a:close/>
                  <a:moveTo>
                    <a:pt x="14" y="64"/>
                  </a:moveTo>
                  <a:lnTo>
                    <a:pt x="14" y="63"/>
                  </a:lnTo>
                  <a:lnTo>
                    <a:pt x="14" y="64"/>
                  </a:lnTo>
                  <a:close/>
                  <a:moveTo>
                    <a:pt x="19" y="63"/>
                  </a:moveTo>
                  <a:lnTo>
                    <a:pt x="19" y="63"/>
                  </a:lnTo>
                  <a:lnTo>
                    <a:pt x="19" y="63"/>
                  </a:lnTo>
                  <a:close/>
                  <a:moveTo>
                    <a:pt x="21" y="63"/>
                  </a:move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1" y="63"/>
                  </a:lnTo>
                  <a:close/>
                  <a:moveTo>
                    <a:pt x="20" y="62"/>
                  </a:moveTo>
                  <a:lnTo>
                    <a:pt x="20" y="63"/>
                  </a:lnTo>
                  <a:lnTo>
                    <a:pt x="20" y="62"/>
                  </a:lnTo>
                  <a:close/>
                  <a:moveTo>
                    <a:pt x="25" y="62"/>
                  </a:moveTo>
                  <a:lnTo>
                    <a:pt x="24" y="62"/>
                  </a:lnTo>
                  <a:lnTo>
                    <a:pt x="25" y="62"/>
                  </a:lnTo>
                  <a:close/>
                  <a:moveTo>
                    <a:pt x="17" y="61"/>
                  </a:move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close/>
                  <a:moveTo>
                    <a:pt x="36" y="61"/>
                  </a:moveTo>
                  <a:lnTo>
                    <a:pt x="35" y="61"/>
                  </a:lnTo>
                  <a:lnTo>
                    <a:pt x="36" y="61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9"/>
                  </a:lnTo>
                  <a:lnTo>
                    <a:pt x="17" y="59"/>
                  </a:lnTo>
                  <a:close/>
                  <a:moveTo>
                    <a:pt x="16" y="59"/>
                  </a:moveTo>
                  <a:lnTo>
                    <a:pt x="16" y="58"/>
                  </a:lnTo>
                  <a:lnTo>
                    <a:pt x="16" y="59"/>
                  </a:lnTo>
                  <a:close/>
                  <a:moveTo>
                    <a:pt x="11" y="58"/>
                  </a:moveTo>
                  <a:lnTo>
                    <a:pt x="11" y="57"/>
                  </a:lnTo>
                  <a:lnTo>
                    <a:pt x="11" y="58"/>
                  </a:lnTo>
                  <a:close/>
                  <a:moveTo>
                    <a:pt x="14" y="57"/>
                  </a:moveTo>
                  <a:lnTo>
                    <a:pt x="14" y="57"/>
                  </a:lnTo>
                  <a:lnTo>
                    <a:pt x="14" y="57"/>
                  </a:lnTo>
                  <a:close/>
                  <a:moveTo>
                    <a:pt x="12" y="57"/>
                  </a:moveTo>
                  <a:lnTo>
                    <a:pt x="11" y="57"/>
                  </a:lnTo>
                  <a:lnTo>
                    <a:pt x="12" y="57"/>
                  </a:lnTo>
                  <a:close/>
                  <a:moveTo>
                    <a:pt x="10" y="57"/>
                  </a:moveTo>
                  <a:lnTo>
                    <a:pt x="10" y="57"/>
                  </a:lnTo>
                  <a:lnTo>
                    <a:pt x="10" y="57"/>
                  </a:lnTo>
                  <a:close/>
                  <a:moveTo>
                    <a:pt x="17" y="56"/>
                  </a:move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5"/>
                  </a:lnTo>
                  <a:lnTo>
                    <a:pt x="18" y="55"/>
                  </a:lnTo>
                  <a:close/>
                  <a:moveTo>
                    <a:pt x="10" y="53"/>
                  </a:moveTo>
                  <a:lnTo>
                    <a:pt x="9" y="53"/>
                  </a:lnTo>
                  <a:lnTo>
                    <a:pt x="10" y="53"/>
                  </a:lnTo>
                  <a:close/>
                  <a:moveTo>
                    <a:pt x="1" y="51"/>
                  </a:moveTo>
                  <a:lnTo>
                    <a:pt x="0" y="51"/>
                  </a:lnTo>
                  <a:lnTo>
                    <a:pt x="1" y="51"/>
                  </a:lnTo>
                  <a:close/>
                  <a:moveTo>
                    <a:pt x="11" y="51"/>
                  </a:moveTo>
                  <a:lnTo>
                    <a:pt x="11" y="50"/>
                  </a:lnTo>
                  <a:lnTo>
                    <a:pt x="11" y="51"/>
                  </a:lnTo>
                  <a:close/>
                  <a:moveTo>
                    <a:pt x="2" y="50"/>
                  </a:moveTo>
                  <a:lnTo>
                    <a:pt x="1" y="50"/>
                  </a:lnTo>
                  <a:lnTo>
                    <a:pt x="2" y="50"/>
                  </a:lnTo>
                  <a:close/>
                  <a:moveTo>
                    <a:pt x="14" y="50"/>
                  </a:moveTo>
                  <a:lnTo>
                    <a:pt x="14" y="50"/>
                  </a:lnTo>
                  <a:lnTo>
                    <a:pt x="14" y="50"/>
                  </a:lnTo>
                  <a:close/>
                  <a:moveTo>
                    <a:pt x="4" y="48"/>
                  </a:moveTo>
                  <a:lnTo>
                    <a:pt x="4" y="48"/>
                  </a:lnTo>
                  <a:lnTo>
                    <a:pt x="4" y="48"/>
                  </a:lnTo>
                  <a:close/>
                  <a:moveTo>
                    <a:pt x="4" y="47"/>
                  </a:moveTo>
                  <a:lnTo>
                    <a:pt x="3" y="47"/>
                  </a:lnTo>
                  <a:lnTo>
                    <a:pt x="4" y="47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4"/>
                  </a:lnTo>
                  <a:lnTo>
                    <a:pt x="10" y="45"/>
                  </a:lnTo>
                  <a:close/>
                  <a:moveTo>
                    <a:pt x="4" y="44"/>
                  </a:moveTo>
                  <a:lnTo>
                    <a:pt x="3" y="44"/>
                  </a:lnTo>
                  <a:lnTo>
                    <a:pt x="4" y="44"/>
                  </a:lnTo>
                  <a:close/>
                  <a:moveTo>
                    <a:pt x="4" y="43"/>
                  </a:moveTo>
                  <a:lnTo>
                    <a:pt x="4" y="43"/>
                  </a:lnTo>
                  <a:lnTo>
                    <a:pt x="4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0" y="42"/>
                  </a:moveTo>
                  <a:lnTo>
                    <a:pt x="0" y="42"/>
                  </a:lnTo>
                  <a:lnTo>
                    <a:pt x="0" y="42"/>
                  </a:lnTo>
                  <a:close/>
                  <a:moveTo>
                    <a:pt x="10" y="42"/>
                  </a:moveTo>
                  <a:lnTo>
                    <a:pt x="10" y="41"/>
                  </a:lnTo>
                  <a:lnTo>
                    <a:pt x="10" y="42"/>
                  </a:lnTo>
                  <a:close/>
                  <a:moveTo>
                    <a:pt x="10" y="41"/>
                  </a:moveTo>
                  <a:lnTo>
                    <a:pt x="9" y="41"/>
                  </a:lnTo>
                  <a:lnTo>
                    <a:pt x="10" y="41"/>
                  </a:lnTo>
                  <a:close/>
                  <a:moveTo>
                    <a:pt x="3" y="41"/>
                  </a:moveTo>
                  <a:lnTo>
                    <a:pt x="2" y="41"/>
                  </a:lnTo>
                  <a:lnTo>
                    <a:pt x="3" y="41"/>
                  </a:lnTo>
                  <a:close/>
                  <a:moveTo>
                    <a:pt x="5" y="41"/>
                  </a:moveTo>
                  <a:lnTo>
                    <a:pt x="4" y="41"/>
                  </a:lnTo>
                  <a:lnTo>
                    <a:pt x="5" y="41"/>
                  </a:lnTo>
                  <a:close/>
                  <a:moveTo>
                    <a:pt x="5" y="40"/>
                  </a:moveTo>
                  <a:lnTo>
                    <a:pt x="5" y="41"/>
                  </a:lnTo>
                  <a:lnTo>
                    <a:pt x="5" y="40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5" y="39"/>
                  </a:moveTo>
                  <a:lnTo>
                    <a:pt x="5" y="40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4" y="39"/>
                  </a:moveTo>
                  <a:lnTo>
                    <a:pt x="3" y="39"/>
                  </a:lnTo>
                  <a:lnTo>
                    <a:pt x="4" y="39"/>
                  </a:lnTo>
                  <a:close/>
                  <a:moveTo>
                    <a:pt x="17" y="39"/>
                  </a:moveTo>
                  <a:lnTo>
                    <a:pt x="17" y="38"/>
                  </a:lnTo>
                  <a:lnTo>
                    <a:pt x="17" y="39"/>
                  </a:lnTo>
                  <a:close/>
                  <a:moveTo>
                    <a:pt x="7" y="38"/>
                  </a:moveTo>
                  <a:lnTo>
                    <a:pt x="7" y="39"/>
                  </a:lnTo>
                  <a:lnTo>
                    <a:pt x="7" y="38"/>
                  </a:lnTo>
                  <a:close/>
                  <a:moveTo>
                    <a:pt x="30" y="38"/>
                  </a:moveTo>
                  <a:lnTo>
                    <a:pt x="30" y="38"/>
                  </a:lnTo>
                  <a:lnTo>
                    <a:pt x="30" y="38"/>
                  </a:lnTo>
                  <a:close/>
                  <a:moveTo>
                    <a:pt x="8" y="38"/>
                  </a:moveTo>
                  <a:lnTo>
                    <a:pt x="8" y="38"/>
                  </a:lnTo>
                  <a:lnTo>
                    <a:pt x="8" y="38"/>
                  </a:lnTo>
                  <a:close/>
                  <a:moveTo>
                    <a:pt x="9" y="38"/>
                  </a:moveTo>
                  <a:lnTo>
                    <a:pt x="9" y="37"/>
                  </a:lnTo>
                  <a:lnTo>
                    <a:pt x="9" y="38"/>
                  </a:lnTo>
                  <a:close/>
                  <a:moveTo>
                    <a:pt x="18" y="37"/>
                  </a:moveTo>
                  <a:lnTo>
                    <a:pt x="18" y="37"/>
                  </a:lnTo>
                  <a:lnTo>
                    <a:pt x="18" y="37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" y="34"/>
                  </a:moveTo>
                  <a:lnTo>
                    <a:pt x="4" y="34"/>
                  </a:lnTo>
                  <a:lnTo>
                    <a:pt x="5" y="34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1" y="33"/>
                  </a:moveTo>
                  <a:lnTo>
                    <a:pt x="1" y="32"/>
                  </a:lnTo>
                  <a:lnTo>
                    <a:pt x="1" y="33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21" y="32"/>
                  </a:moveTo>
                  <a:lnTo>
                    <a:pt x="20" y="32"/>
                  </a:lnTo>
                  <a:lnTo>
                    <a:pt x="21" y="32"/>
                  </a:lnTo>
                  <a:close/>
                  <a:moveTo>
                    <a:pt x="21" y="31"/>
                  </a:moveTo>
                  <a:lnTo>
                    <a:pt x="21" y="31"/>
                  </a:lnTo>
                  <a:lnTo>
                    <a:pt x="21" y="31"/>
                  </a:lnTo>
                  <a:close/>
                  <a:moveTo>
                    <a:pt x="37" y="23"/>
                  </a:moveTo>
                  <a:lnTo>
                    <a:pt x="37" y="23"/>
                  </a:lnTo>
                  <a:lnTo>
                    <a:pt x="37" y="23"/>
                  </a:lnTo>
                  <a:close/>
                  <a:moveTo>
                    <a:pt x="38" y="23"/>
                  </a:moveTo>
                  <a:lnTo>
                    <a:pt x="38" y="22"/>
                  </a:lnTo>
                  <a:lnTo>
                    <a:pt x="38" y="23"/>
                  </a:lnTo>
                  <a:close/>
                  <a:moveTo>
                    <a:pt x="39" y="22"/>
                  </a:moveTo>
                  <a:lnTo>
                    <a:pt x="39" y="21"/>
                  </a:lnTo>
                  <a:lnTo>
                    <a:pt x="39" y="22"/>
                  </a:lnTo>
                  <a:close/>
                  <a:moveTo>
                    <a:pt x="40" y="22"/>
                  </a:moveTo>
                  <a:lnTo>
                    <a:pt x="40" y="21"/>
                  </a:lnTo>
                  <a:lnTo>
                    <a:pt x="40" y="22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9" y="17"/>
                  </a:moveTo>
                  <a:lnTo>
                    <a:pt x="48" y="17"/>
                  </a:lnTo>
                  <a:lnTo>
                    <a:pt x="49" y="17"/>
                  </a:lnTo>
                  <a:close/>
                  <a:moveTo>
                    <a:pt x="51" y="13"/>
                  </a:moveTo>
                  <a:lnTo>
                    <a:pt x="51" y="12"/>
                  </a:lnTo>
                  <a:lnTo>
                    <a:pt x="51" y="13"/>
                  </a:lnTo>
                  <a:close/>
                  <a:moveTo>
                    <a:pt x="51" y="11"/>
                  </a:moveTo>
                  <a:lnTo>
                    <a:pt x="51" y="11"/>
                  </a:lnTo>
                  <a:lnTo>
                    <a:pt x="51" y="11"/>
                  </a:lnTo>
                  <a:close/>
                  <a:moveTo>
                    <a:pt x="51" y="8"/>
                  </a:moveTo>
                  <a:lnTo>
                    <a:pt x="51" y="9"/>
                  </a:lnTo>
                  <a:lnTo>
                    <a:pt x="51" y="8"/>
                  </a:lnTo>
                  <a:close/>
                  <a:moveTo>
                    <a:pt x="52" y="8"/>
                  </a:moveTo>
                  <a:lnTo>
                    <a:pt x="53" y="8"/>
                  </a:lnTo>
                  <a:lnTo>
                    <a:pt x="52" y="8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5"/>
                  </a:lnTo>
                  <a:lnTo>
                    <a:pt x="55" y="6"/>
                  </a:lnTo>
                  <a:close/>
                  <a:moveTo>
                    <a:pt x="52" y="5"/>
                  </a:moveTo>
                  <a:lnTo>
                    <a:pt x="53" y="5"/>
                  </a:lnTo>
                  <a:lnTo>
                    <a:pt x="52" y="5"/>
                  </a:lnTo>
                  <a:close/>
                  <a:moveTo>
                    <a:pt x="53" y="4"/>
                  </a:moveTo>
                  <a:lnTo>
                    <a:pt x="52" y="4"/>
                  </a:lnTo>
                  <a:lnTo>
                    <a:pt x="53" y="4"/>
                  </a:lnTo>
                  <a:close/>
                  <a:moveTo>
                    <a:pt x="51" y="2"/>
                  </a:moveTo>
                  <a:lnTo>
                    <a:pt x="51" y="2"/>
                  </a:lnTo>
                  <a:lnTo>
                    <a:pt x="51" y="2"/>
                  </a:lnTo>
                  <a:close/>
                  <a:moveTo>
                    <a:pt x="56" y="0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2" name="Freeform 118"/>
            <p:cNvSpPr>
              <a:spLocks noEditPoints="1"/>
            </p:cNvSpPr>
            <p:nvPr/>
          </p:nvSpPr>
          <p:spPr bwMode="auto">
            <a:xfrm>
              <a:off x="5569894" y="3973903"/>
              <a:ext cx="48297" cy="20668"/>
            </a:xfrm>
            <a:custGeom>
              <a:avLst/>
              <a:gdLst>
                <a:gd name="T0" fmla="*/ 21 w 37"/>
                <a:gd name="T1" fmla="*/ 11 h 15"/>
                <a:gd name="T2" fmla="*/ 22 w 37"/>
                <a:gd name="T3" fmla="*/ 13 h 15"/>
                <a:gd name="T4" fmla="*/ 21 w 37"/>
                <a:gd name="T5" fmla="*/ 14 h 15"/>
                <a:gd name="T6" fmla="*/ 20 w 37"/>
                <a:gd name="T7" fmla="*/ 15 h 15"/>
                <a:gd name="T8" fmla="*/ 19 w 37"/>
                <a:gd name="T9" fmla="*/ 15 h 15"/>
                <a:gd name="T10" fmla="*/ 18 w 37"/>
                <a:gd name="T11" fmla="*/ 14 h 15"/>
                <a:gd name="T12" fmla="*/ 18 w 37"/>
                <a:gd name="T13" fmla="*/ 13 h 15"/>
                <a:gd name="T14" fmla="*/ 19 w 37"/>
                <a:gd name="T15" fmla="*/ 11 h 15"/>
                <a:gd name="T16" fmla="*/ 20 w 37"/>
                <a:gd name="T17" fmla="*/ 11 h 15"/>
                <a:gd name="T18" fmla="*/ 15 w 37"/>
                <a:gd name="T19" fmla="*/ 6 h 15"/>
                <a:gd name="T20" fmla="*/ 15 w 37"/>
                <a:gd name="T21" fmla="*/ 8 h 15"/>
                <a:gd name="T22" fmla="*/ 14 w 37"/>
                <a:gd name="T23" fmla="*/ 9 h 15"/>
                <a:gd name="T24" fmla="*/ 13 w 37"/>
                <a:gd name="T25" fmla="*/ 10 h 15"/>
                <a:gd name="T26" fmla="*/ 12 w 37"/>
                <a:gd name="T27" fmla="*/ 11 h 15"/>
                <a:gd name="T28" fmla="*/ 11 w 37"/>
                <a:gd name="T29" fmla="*/ 13 h 15"/>
                <a:gd name="T30" fmla="*/ 10 w 37"/>
                <a:gd name="T31" fmla="*/ 11 h 15"/>
                <a:gd name="T32" fmla="*/ 10 w 37"/>
                <a:gd name="T33" fmla="*/ 9 h 15"/>
                <a:gd name="T34" fmla="*/ 10 w 37"/>
                <a:gd name="T35" fmla="*/ 9 h 15"/>
                <a:gd name="T36" fmla="*/ 12 w 37"/>
                <a:gd name="T37" fmla="*/ 8 h 15"/>
                <a:gd name="T38" fmla="*/ 13 w 37"/>
                <a:gd name="T39" fmla="*/ 7 h 15"/>
                <a:gd name="T40" fmla="*/ 15 w 37"/>
                <a:gd name="T41" fmla="*/ 7 h 15"/>
                <a:gd name="T42" fmla="*/ 34 w 37"/>
                <a:gd name="T43" fmla="*/ 5 h 15"/>
                <a:gd name="T44" fmla="*/ 34 w 37"/>
                <a:gd name="T45" fmla="*/ 7 h 15"/>
                <a:gd name="T46" fmla="*/ 33 w 37"/>
                <a:gd name="T47" fmla="*/ 9 h 15"/>
                <a:gd name="T48" fmla="*/ 33 w 37"/>
                <a:gd name="T49" fmla="*/ 10 h 15"/>
                <a:gd name="T50" fmla="*/ 31 w 37"/>
                <a:gd name="T51" fmla="*/ 11 h 15"/>
                <a:gd name="T52" fmla="*/ 30 w 37"/>
                <a:gd name="T53" fmla="*/ 11 h 15"/>
                <a:gd name="T54" fmla="*/ 29 w 37"/>
                <a:gd name="T55" fmla="*/ 12 h 15"/>
                <a:gd name="T56" fmla="*/ 30 w 37"/>
                <a:gd name="T57" fmla="*/ 11 h 15"/>
                <a:gd name="T58" fmla="*/ 31 w 37"/>
                <a:gd name="T59" fmla="*/ 10 h 15"/>
                <a:gd name="T60" fmla="*/ 31 w 37"/>
                <a:gd name="T61" fmla="*/ 8 h 15"/>
                <a:gd name="T62" fmla="*/ 32 w 37"/>
                <a:gd name="T63" fmla="*/ 6 h 15"/>
                <a:gd name="T64" fmla="*/ 33 w 37"/>
                <a:gd name="T65" fmla="*/ 5 h 15"/>
                <a:gd name="T66" fmla="*/ 1 w 37"/>
                <a:gd name="T67" fmla="*/ 4 h 15"/>
                <a:gd name="T68" fmla="*/ 3 w 37"/>
                <a:gd name="T69" fmla="*/ 5 h 15"/>
                <a:gd name="T70" fmla="*/ 3 w 37"/>
                <a:gd name="T71" fmla="*/ 6 h 15"/>
                <a:gd name="T72" fmla="*/ 2 w 37"/>
                <a:gd name="T73" fmla="*/ 8 h 15"/>
                <a:gd name="T74" fmla="*/ 1 w 37"/>
                <a:gd name="T75" fmla="*/ 7 h 15"/>
                <a:gd name="T76" fmla="*/ 0 w 37"/>
                <a:gd name="T77" fmla="*/ 5 h 15"/>
                <a:gd name="T78" fmla="*/ 1 w 37"/>
                <a:gd name="T79" fmla="*/ 4 h 15"/>
                <a:gd name="T80" fmla="*/ 1 w 37"/>
                <a:gd name="T81" fmla="*/ 4 h 15"/>
                <a:gd name="T82" fmla="*/ 37 w 37"/>
                <a:gd name="T83" fmla="*/ 0 h 15"/>
                <a:gd name="T84" fmla="*/ 36 w 37"/>
                <a:gd name="T85" fmla="*/ 2 h 15"/>
                <a:gd name="T86" fmla="*/ 35 w 37"/>
                <a:gd name="T87" fmla="*/ 3 h 15"/>
                <a:gd name="T88" fmla="*/ 35 w 37"/>
                <a:gd name="T89" fmla="*/ 3 h 15"/>
                <a:gd name="T90" fmla="*/ 34 w 37"/>
                <a:gd name="T91" fmla="*/ 3 h 15"/>
                <a:gd name="T92" fmla="*/ 34 w 37"/>
                <a:gd name="T93" fmla="*/ 2 h 15"/>
                <a:gd name="T94" fmla="*/ 35 w 37"/>
                <a:gd name="T95" fmla="*/ 1 h 15"/>
                <a:gd name="T96" fmla="*/ 35 w 37"/>
                <a:gd name="T97" fmla="*/ 1 h 15"/>
                <a:gd name="T98" fmla="*/ 37 w 37"/>
                <a:gd name="T9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" h="15">
                  <a:moveTo>
                    <a:pt x="21" y="11"/>
                  </a:move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close/>
                  <a:moveTo>
                    <a:pt x="15" y="6"/>
                  </a:move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close/>
                  <a:moveTo>
                    <a:pt x="33" y="4"/>
                  </a:moveTo>
                  <a:lnTo>
                    <a:pt x="34" y="4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1" y="4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3" name="Freeform 119"/>
            <p:cNvSpPr>
              <a:spLocks noEditPoints="1"/>
            </p:cNvSpPr>
            <p:nvPr/>
          </p:nvSpPr>
          <p:spPr bwMode="auto">
            <a:xfrm>
              <a:off x="5568589" y="3971147"/>
              <a:ext cx="49602" cy="24801"/>
            </a:xfrm>
            <a:custGeom>
              <a:avLst/>
              <a:gdLst>
                <a:gd name="T0" fmla="*/ 2 w 38"/>
                <a:gd name="T1" fmla="*/ 16 h 18"/>
                <a:gd name="T2" fmla="*/ 2 w 38"/>
                <a:gd name="T3" fmla="*/ 16 h 18"/>
                <a:gd name="T4" fmla="*/ 2 w 38"/>
                <a:gd name="T5" fmla="*/ 17 h 18"/>
                <a:gd name="T6" fmla="*/ 2 w 38"/>
                <a:gd name="T7" fmla="*/ 17 h 18"/>
                <a:gd name="T8" fmla="*/ 2 w 38"/>
                <a:gd name="T9" fmla="*/ 17 h 18"/>
                <a:gd name="T10" fmla="*/ 2 w 38"/>
                <a:gd name="T11" fmla="*/ 17 h 18"/>
                <a:gd name="T12" fmla="*/ 2 w 38"/>
                <a:gd name="T13" fmla="*/ 18 h 18"/>
                <a:gd name="T14" fmla="*/ 1 w 38"/>
                <a:gd name="T15" fmla="*/ 18 h 18"/>
                <a:gd name="T16" fmla="*/ 1 w 38"/>
                <a:gd name="T17" fmla="*/ 18 h 18"/>
                <a:gd name="T18" fmla="*/ 1 w 38"/>
                <a:gd name="T19" fmla="*/ 17 h 18"/>
                <a:gd name="T20" fmla="*/ 1 w 38"/>
                <a:gd name="T21" fmla="*/ 17 h 18"/>
                <a:gd name="T22" fmla="*/ 0 w 38"/>
                <a:gd name="T23" fmla="*/ 17 h 18"/>
                <a:gd name="T24" fmla="*/ 0 w 38"/>
                <a:gd name="T25" fmla="*/ 17 h 18"/>
                <a:gd name="T26" fmla="*/ 0 w 38"/>
                <a:gd name="T27" fmla="*/ 17 h 18"/>
                <a:gd name="T28" fmla="*/ 1 w 38"/>
                <a:gd name="T29" fmla="*/ 17 h 18"/>
                <a:gd name="T30" fmla="*/ 1 w 38"/>
                <a:gd name="T31" fmla="*/ 17 h 18"/>
                <a:gd name="T32" fmla="*/ 1 w 38"/>
                <a:gd name="T33" fmla="*/ 17 h 18"/>
                <a:gd name="T34" fmla="*/ 1 w 38"/>
                <a:gd name="T35" fmla="*/ 16 h 18"/>
                <a:gd name="T36" fmla="*/ 1 w 38"/>
                <a:gd name="T37" fmla="*/ 16 h 18"/>
                <a:gd name="T38" fmla="*/ 2 w 38"/>
                <a:gd name="T39" fmla="*/ 16 h 18"/>
                <a:gd name="T40" fmla="*/ 2 w 38"/>
                <a:gd name="T41" fmla="*/ 16 h 18"/>
                <a:gd name="T42" fmla="*/ 8 w 38"/>
                <a:gd name="T43" fmla="*/ 12 h 18"/>
                <a:gd name="T44" fmla="*/ 8 w 38"/>
                <a:gd name="T45" fmla="*/ 12 h 18"/>
                <a:gd name="T46" fmla="*/ 8 w 38"/>
                <a:gd name="T47" fmla="*/ 12 h 18"/>
                <a:gd name="T48" fmla="*/ 8 w 38"/>
                <a:gd name="T49" fmla="*/ 13 h 18"/>
                <a:gd name="T50" fmla="*/ 8 w 38"/>
                <a:gd name="T51" fmla="*/ 13 h 18"/>
                <a:gd name="T52" fmla="*/ 8 w 38"/>
                <a:gd name="T53" fmla="*/ 13 h 18"/>
                <a:gd name="T54" fmla="*/ 9 w 38"/>
                <a:gd name="T55" fmla="*/ 13 h 18"/>
                <a:gd name="T56" fmla="*/ 9 w 38"/>
                <a:gd name="T57" fmla="*/ 13 h 18"/>
                <a:gd name="T58" fmla="*/ 9 w 38"/>
                <a:gd name="T59" fmla="*/ 13 h 18"/>
                <a:gd name="T60" fmla="*/ 8 w 38"/>
                <a:gd name="T61" fmla="*/ 14 h 18"/>
                <a:gd name="T62" fmla="*/ 8 w 38"/>
                <a:gd name="T63" fmla="*/ 14 h 18"/>
                <a:gd name="T64" fmla="*/ 8 w 38"/>
                <a:gd name="T65" fmla="*/ 14 h 18"/>
                <a:gd name="T66" fmla="*/ 8 w 38"/>
                <a:gd name="T67" fmla="*/ 14 h 18"/>
                <a:gd name="T68" fmla="*/ 8 w 38"/>
                <a:gd name="T69" fmla="*/ 14 h 18"/>
                <a:gd name="T70" fmla="*/ 8 w 38"/>
                <a:gd name="T71" fmla="*/ 14 h 18"/>
                <a:gd name="T72" fmla="*/ 7 w 38"/>
                <a:gd name="T73" fmla="*/ 14 h 18"/>
                <a:gd name="T74" fmla="*/ 7 w 38"/>
                <a:gd name="T75" fmla="*/ 14 h 18"/>
                <a:gd name="T76" fmla="*/ 7 w 38"/>
                <a:gd name="T77" fmla="*/ 14 h 18"/>
                <a:gd name="T78" fmla="*/ 6 w 38"/>
                <a:gd name="T79" fmla="*/ 13 h 18"/>
                <a:gd name="T80" fmla="*/ 6 w 38"/>
                <a:gd name="T81" fmla="*/ 13 h 18"/>
                <a:gd name="T82" fmla="*/ 7 w 38"/>
                <a:gd name="T83" fmla="*/ 13 h 18"/>
                <a:gd name="T84" fmla="*/ 7 w 38"/>
                <a:gd name="T85" fmla="*/ 12 h 18"/>
                <a:gd name="T86" fmla="*/ 7 w 38"/>
                <a:gd name="T87" fmla="*/ 12 h 18"/>
                <a:gd name="T88" fmla="*/ 35 w 38"/>
                <a:gd name="T89" fmla="*/ 6 h 18"/>
                <a:gd name="T90" fmla="*/ 35 w 38"/>
                <a:gd name="T91" fmla="*/ 7 h 18"/>
                <a:gd name="T92" fmla="*/ 35 w 38"/>
                <a:gd name="T93" fmla="*/ 6 h 18"/>
                <a:gd name="T94" fmla="*/ 38 w 38"/>
                <a:gd name="T95" fmla="*/ 1 h 18"/>
                <a:gd name="T96" fmla="*/ 38 w 38"/>
                <a:gd name="T97" fmla="*/ 1 h 18"/>
                <a:gd name="T98" fmla="*/ 38 w 38"/>
                <a:gd name="T99" fmla="*/ 2 h 18"/>
                <a:gd name="T100" fmla="*/ 37 w 38"/>
                <a:gd name="T101" fmla="*/ 2 h 18"/>
                <a:gd name="T102" fmla="*/ 37 w 38"/>
                <a:gd name="T103" fmla="*/ 2 h 18"/>
                <a:gd name="T104" fmla="*/ 37 w 38"/>
                <a:gd name="T105" fmla="*/ 2 h 18"/>
                <a:gd name="T106" fmla="*/ 38 w 38"/>
                <a:gd name="T107" fmla="*/ 1 h 18"/>
                <a:gd name="T108" fmla="*/ 38 w 38"/>
                <a:gd name="T109" fmla="*/ 1 h 18"/>
                <a:gd name="T110" fmla="*/ 37 w 38"/>
                <a:gd name="T111" fmla="*/ 1 h 18"/>
                <a:gd name="T112" fmla="*/ 37 w 38"/>
                <a:gd name="T113" fmla="*/ 1 h 18"/>
                <a:gd name="T114" fmla="*/ 38 w 38"/>
                <a:gd name="T115" fmla="*/ 0 h 18"/>
                <a:gd name="T116" fmla="*/ 37 w 38"/>
                <a:gd name="T117" fmla="*/ 0 h 18"/>
                <a:gd name="T118" fmla="*/ 37 w 38"/>
                <a:gd name="T119" fmla="*/ 0 h 18"/>
                <a:gd name="T120" fmla="*/ 38 w 38"/>
                <a:gd name="T1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" h="18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35" y="6"/>
                  </a:moveTo>
                  <a:lnTo>
                    <a:pt x="35" y="6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close/>
                  <a:moveTo>
                    <a:pt x="38" y="1"/>
                  </a:move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close/>
                  <a:moveTo>
                    <a:pt x="37" y="1"/>
                  </a:move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4" name="Freeform 120"/>
            <p:cNvSpPr>
              <a:spLocks noEditPoints="1"/>
            </p:cNvSpPr>
            <p:nvPr/>
          </p:nvSpPr>
          <p:spPr bwMode="auto">
            <a:xfrm>
              <a:off x="5589474" y="3972525"/>
              <a:ext cx="27411" cy="19290"/>
            </a:xfrm>
            <a:custGeom>
              <a:avLst/>
              <a:gdLst>
                <a:gd name="T0" fmla="*/ 7 w 21"/>
                <a:gd name="T1" fmla="*/ 14 h 14"/>
                <a:gd name="T2" fmla="*/ 7 w 21"/>
                <a:gd name="T3" fmla="*/ 14 h 14"/>
                <a:gd name="T4" fmla="*/ 7 w 21"/>
                <a:gd name="T5" fmla="*/ 14 h 14"/>
                <a:gd name="T6" fmla="*/ 7 w 21"/>
                <a:gd name="T7" fmla="*/ 14 h 14"/>
                <a:gd name="T8" fmla="*/ 7 w 21"/>
                <a:gd name="T9" fmla="*/ 14 h 14"/>
                <a:gd name="T10" fmla="*/ 14 w 21"/>
                <a:gd name="T11" fmla="*/ 13 h 14"/>
                <a:gd name="T12" fmla="*/ 14 w 21"/>
                <a:gd name="T13" fmla="*/ 13 h 14"/>
                <a:gd name="T14" fmla="*/ 14 w 21"/>
                <a:gd name="T15" fmla="*/ 13 h 14"/>
                <a:gd name="T16" fmla="*/ 14 w 21"/>
                <a:gd name="T17" fmla="*/ 13 h 14"/>
                <a:gd name="T18" fmla="*/ 14 w 21"/>
                <a:gd name="T19" fmla="*/ 13 h 14"/>
                <a:gd name="T20" fmla="*/ 6 w 21"/>
                <a:gd name="T21" fmla="*/ 12 h 14"/>
                <a:gd name="T22" fmla="*/ 6 w 21"/>
                <a:gd name="T23" fmla="*/ 12 h 14"/>
                <a:gd name="T24" fmla="*/ 6 w 21"/>
                <a:gd name="T25" fmla="*/ 12 h 14"/>
                <a:gd name="T26" fmla="*/ 6 w 21"/>
                <a:gd name="T27" fmla="*/ 12 h 14"/>
                <a:gd name="T28" fmla="*/ 6 w 21"/>
                <a:gd name="T29" fmla="*/ 12 h 14"/>
                <a:gd name="T30" fmla="*/ 6 w 21"/>
                <a:gd name="T31" fmla="*/ 12 h 14"/>
                <a:gd name="T32" fmla="*/ 6 w 21"/>
                <a:gd name="T33" fmla="*/ 12 h 14"/>
                <a:gd name="T34" fmla="*/ 6 w 21"/>
                <a:gd name="T35" fmla="*/ 12 h 14"/>
                <a:gd name="T36" fmla="*/ 6 w 21"/>
                <a:gd name="T37" fmla="*/ 12 h 14"/>
                <a:gd name="T38" fmla="*/ 6 w 21"/>
                <a:gd name="T39" fmla="*/ 12 h 14"/>
                <a:gd name="T40" fmla="*/ 6 w 21"/>
                <a:gd name="T41" fmla="*/ 12 h 14"/>
                <a:gd name="T42" fmla="*/ 0 w 21"/>
                <a:gd name="T43" fmla="*/ 9 h 14"/>
                <a:gd name="T44" fmla="*/ 0 w 21"/>
                <a:gd name="T45" fmla="*/ 9 h 14"/>
                <a:gd name="T46" fmla="*/ 0 w 21"/>
                <a:gd name="T47" fmla="*/ 9 h 14"/>
                <a:gd name="T48" fmla="*/ 0 w 21"/>
                <a:gd name="T49" fmla="*/ 9 h 14"/>
                <a:gd name="T50" fmla="*/ 0 w 21"/>
                <a:gd name="T51" fmla="*/ 9 h 14"/>
                <a:gd name="T52" fmla="*/ 0 w 21"/>
                <a:gd name="T53" fmla="*/ 8 h 14"/>
                <a:gd name="T54" fmla="*/ 0 w 21"/>
                <a:gd name="T55" fmla="*/ 8 h 14"/>
                <a:gd name="T56" fmla="*/ 0 w 21"/>
                <a:gd name="T57" fmla="*/ 8 h 14"/>
                <a:gd name="T58" fmla="*/ 0 w 21"/>
                <a:gd name="T59" fmla="*/ 8 h 14"/>
                <a:gd name="T60" fmla="*/ 0 w 21"/>
                <a:gd name="T61" fmla="*/ 8 h 14"/>
                <a:gd name="T62" fmla="*/ 0 w 21"/>
                <a:gd name="T63" fmla="*/ 8 h 14"/>
                <a:gd name="T64" fmla="*/ 0 w 21"/>
                <a:gd name="T65" fmla="*/ 7 h 14"/>
                <a:gd name="T66" fmla="*/ 0 w 21"/>
                <a:gd name="T67" fmla="*/ 7 h 14"/>
                <a:gd name="T68" fmla="*/ 0 w 21"/>
                <a:gd name="T69" fmla="*/ 7 h 14"/>
                <a:gd name="T70" fmla="*/ 0 w 21"/>
                <a:gd name="T71" fmla="*/ 7 h 14"/>
                <a:gd name="T72" fmla="*/ 0 w 21"/>
                <a:gd name="T73" fmla="*/ 7 h 14"/>
                <a:gd name="T74" fmla="*/ 21 w 21"/>
                <a:gd name="T75" fmla="*/ 0 h 14"/>
                <a:gd name="T76" fmla="*/ 21 w 21"/>
                <a:gd name="T77" fmla="*/ 0 h 14"/>
                <a:gd name="T78" fmla="*/ 21 w 21"/>
                <a:gd name="T79" fmla="*/ 0 h 14"/>
                <a:gd name="T80" fmla="*/ 21 w 21"/>
                <a:gd name="T81" fmla="*/ 0 h 14"/>
                <a:gd name="T82" fmla="*/ 21 w 21"/>
                <a:gd name="T8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" h="14">
                  <a:moveTo>
                    <a:pt x="7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close/>
                  <a:moveTo>
                    <a:pt x="14" y="13"/>
                  </a:move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21" y="0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5" name="Freeform 121"/>
            <p:cNvSpPr>
              <a:spLocks noEditPoints="1"/>
            </p:cNvSpPr>
            <p:nvPr/>
          </p:nvSpPr>
          <p:spPr bwMode="auto">
            <a:xfrm>
              <a:off x="5733060" y="3887100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1 w 1"/>
                <a:gd name="T9" fmla="*/ 1 w 1"/>
                <a:gd name="T10" fmla="*/ 1 w 1"/>
                <a:gd name="T11" fmla="*/ 1 w 1"/>
                <a:gd name="T12" fmla="*/ 1 w 1"/>
                <a:gd name="T13" fmla="*/ 1 w 1"/>
                <a:gd name="T14" fmla="*/ 1 w 1"/>
                <a:gd name="T15" fmla="*/ 1 w 1"/>
                <a:gd name="T16" fmla="*/ 1 w 1"/>
                <a:gd name="T17" fmla="*/ 1 w 1"/>
                <a:gd name="T18" fmla="*/ 1 w 1"/>
                <a:gd name="T19" fmla="*/ 1 w 1"/>
                <a:gd name="T20" fmla="*/ 1 w 1"/>
                <a:gd name="T21" fmla="*/ 1 w 1"/>
                <a:gd name="T22" fmla="*/ 1 w 1"/>
                <a:gd name="T2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6" name="Freeform 122"/>
            <p:cNvSpPr>
              <a:spLocks noEditPoints="1"/>
            </p:cNvSpPr>
            <p:nvPr/>
          </p:nvSpPr>
          <p:spPr bwMode="auto">
            <a:xfrm>
              <a:off x="5703037" y="3876077"/>
              <a:ext cx="26107" cy="9645"/>
            </a:xfrm>
            <a:custGeom>
              <a:avLst/>
              <a:gdLst>
                <a:gd name="T0" fmla="*/ 20 w 20"/>
                <a:gd name="T1" fmla="*/ 7 h 7"/>
                <a:gd name="T2" fmla="*/ 20 w 20"/>
                <a:gd name="T3" fmla="*/ 7 h 7"/>
                <a:gd name="T4" fmla="*/ 20 w 20"/>
                <a:gd name="T5" fmla="*/ 7 h 7"/>
                <a:gd name="T6" fmla="*/ 20 w 20"/>
                <a:gd name="T7" fmla="*/ 7 h 7"/>
                <a:gd name="T8" fmla="*/ 20 w 20"/>
                <a:gd name="T9" fmla="*/ 7 h 7"/>
                <a:gd name="T10" fmla="*/ 19 w 20"/>
                <a:gd name="T11" fmla="*/ 7 h 7"/>
                <a:gd name="T12" fmla="*/ 19 w 20"/>
                <a:gd name="T13" fmla="*/ 7 h 7"/>
                <a:gd name="T14" fmla="*/ 19 w 20"/>
                <a:gd name="T15" fmla="*/ 7 h 7"/>
                <a:gd name="T16" fmla="*/ 19 w 20"/>
                <a:gd name="T17" fmla="*/ 7 h 7"/>
                <a:gd name="T18" fmla="*/ 19 w 20"/>
                <a:gd name="T19" fmla="*/ 7 h 7"/>
                <a:gd name="T20" fmla="*/ 19 w 20"/>
                <a:gd name="T21" fmla="*/ 7 h 7"/>
                <a:gd name="T22" fmla="*/ 19 w 20"/>
                <a:gd name="T23" fmla="*/ 7 h 7"/>
                <a:gd name="T24" fmla="*/ 19 w 20"/>
                <a:gd name="T25" fmla="*/ 7 h 7"/>
                <a:gd name="T26" fmla="*/ 19 w 20"/>
                <a:gd name="T27" fmla="*/ 7 h 7"/>
                <a:gd name="T28" fmla="*/ 20 w 20"/>
                <a:gd name="T29" fmla="*/ 7 h 7"/>
                <a:gd name="T30" fmla="*/ 20 w 20"/>
                <a:gd name="T31" fmla="*/ 7 h 7"/>
                <a:gd name="T32" fmla="*/ 0 w 20"/>
                <a:gd name="T33" fmla="*/ 0 h 7"/>
                <a:gd name="T34" fmla="*/ 0 w 20"/>
                <a:gd name="T35" fmla="*/ 0 h 7"/>
                <a:gd name="T36" fmla="*/ 0 w 20"/>
                <a:gd name="T37" fmla="*/ 0 h 7"/>
                <a:gd name="T38" fmla="*/ 0 w 20"/>
                <a:gd name="T39" fmla="*/ 1 h 7"/>
                <a:gd name="T40" fmla="*/ 0 w 20"/>
                <a:gd name="T41" fmla="*/ 0 h 7"/>
                <a:gd name="T42" fmla="*/ 0 w 20"/>
                <a:gd name="T43" fmla="*/ 0 h 7"/>
                <a:gd name="T44" fmla="*/ 1 w 20"/>
                <a:gd name="T45" fmla="*/ 0 h 7"/>
                <a:gd name="T46" fmla="*/ 0 w 20"/>
                <a:gd name="T47" fmla="*/ 0 h 7"/>
                <a:gd name="T48" fmla="*/ 0 w 20"/>
                <a:gd name="T49" fmla="*/ 1 h 7"/>
                <a:gd name="T50" fmla="*/ 1 w 20"/>
                <a:gd name="T51" fmla="*/ 1 h 7"/>
                <a:gd name="T52" fmla="*/ 1 w 20"/>
                <a:gd name="T53" fmla="*/ 1 h 7"/>
                <a:gd name="T54" fmla="*/ 1 w 20"/>
                <a:gd name="T55" fmla="*/ 1 h 7"/>
                <a:gd name="T56" fmla="*/ 1 w 20"/>
                <a:gd name="T57" fmla="*/ 1 h 7"/>
                <a:gd name="T58" fmla="*/ 1 w 20"/>
                <a:gd name="T59" fmla="*/ 0 h 7"/>
                <a:gd name="T60" fmla="*/ 1 w 20"/>
                <a:gd name="T61" fmla="*/ 0 h 7"/>
                <a:gd name="T62" fmla="*/ 1 w 20"/>
                <a:gd name="T63" fmla="*/ 0 h 7"/>
                <a:gd name="T64" fmla="*/ 1 w 20"/>
                <a:gd name="T65" fmla="*/ 0 h 7"/>
                <a:gd name="T66" fmla="*/ 1 w 20"/>
                <a:gd name="T67" fmla="*/ 0 h 7"/>
                <a:gd name="T68" fmla="*/ 1 w 20"/>
                <a:gd name="T69" fmla="*/ 1 h 7"/>
                <a:gd name="T70" fmla="*/ 1 w 20"/>
                <a:gd name="T71" fmla="*/ 1 h 7"/>
                <a:gd name="T72" fmla="*/ 1 w 20"/>
                <a:gd name="T73" fmla="*/ 1 h 7"/>
                <a:gd name="T74" fmla="*/ 1 w 20"/>
                <a:gd name="T75" fmla="*/ 1 h 7"/>
                <a:gd name="T76" fmla="*/ 0 w 20"/>
                <a:gd name="T77" fmla="*/ 1 h 7"/>
                <a:gd name="T78" fmla="*/ 0 w 20"/>
                <a:gd name="T79" fmla="*/ 1 h 7"/>
                <a:gd name="T80" fmla="*/ 0 w 20"/>
                <a:gd name="T81" fmla="*/ 1 h 7"/>
                <a:gd name="T82" fmla="*/ 0 w 20"/>
                <a:gd name="T83" fmla="*/ 1 h 7"/>
                <a:gd name="T84" fmla="*/ 0 w 20"/>
                <a:gd name="T85" fmla="*/ 1 h 7"/>
                <a:gd name="T86" fmla="*/ 0 w 20"/>
                <a:gd name="T87" fmla="*/ 1 h 7"/>
                <a:gd name="T88" fmla="*/ 0 w 20"/>
                <a:gd name="T89" fmla="*/ 1 h 7"/>
                <a:gd name="T90" fmla="*/ 0 w 20"/>
                <a:gd name="T91" fmla="*/ 1 h 7"/>
                <a:gd name="T92" fmla="*/ 0 w 20"/>
                <a:gd name="T93" fmla="*/ 1 h 7"/>
                <a:gd name="T94" fmla="*/ 0 w 20"/>
                <a:gd name="T95" fmla="*/ 1 h 7"/>
                <a:gd name="T96" fmla="*/ 0 w 20"/>
                <a:gd name="T97" fmla="*/ 1 h 7"/>
                <a:gd name="T98" fmla="*/ 0 w 20"/>
                <a:gd name="T99" fmla="*/ 0 h 7"/>
                <a:gd name="T100" fmla="*/ 0 w 20"/>
                <a:gd name="T101" fmla="*/ 0 h 7"/>
                <a:gd name="T102" fmla="*/ 0 w 20"/>
                <a:gd name="T103" fmla="*/ 0 h 7"/>
                <a:gd name="T104" fmla="*/ 0 w 20"/>
                <a:gd name="T10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7">
                  <a:moveTo>
                    <a:pt x="20" y="7"/>
                  </a:move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7" name="Freeform 123"/>
            <p:cNvSpPr>
              <a:spLocks noEditPoints="1"/>
            </p:cNvSpPr>
            <p:nvPr/>
          </p:nvSpPr>
          <p:spPr bwMode="auto">
            <a:xfrm>
              <a:off x="5770914" y="3814074"/>
              <a:ext cx="33939" cy="19290"/>
            </a:xfrm>
            <a:custGeom>
              <a:avLst/>
              <a:gdLst>
                <a:gd name="T0" fmla="*/ 3 w 26"/>
                <a:gd name="T1" fmla="*/ 11 h 14"/>
                <a:gd name="T2" fmla="*/ 3 w 26"/>
                <a:gd name="T3" fmla="*/ 12 h 14"/>
                <a:gd name="T4" fmla="*/ 2 w 26"/>
                <a:gd name="T5" fmla="*/ 13 h 14"/>
                <a:gd name="T6" fmla="*/ 2 w 26"/>
                <a:gd name="T7" fmla="*/ 14 h 14"/>
                <a:gd name="T8" fmla="*/ 1 w 26"/>
                <a:gd name="T9" fmla="*/ 13 h 14"/>
                <a:gd name="T10" fmla="*/ 1 w 26"/>
                <a:gd name="T11" fmla="*/ 12 h 14"/>
                <a:gd name="T12" fmla="*/ 1 w 26"/>
                <a:gd name="T13" fmla="*/ 12 h 14"/>
                <a:gd name="T14" fmla="*/ 2 w 26"/>
                <a:gd name="T15" fmla="*/ 11 h 14"/>
                <a:gd name="T16" fmla="*/ 3 w 26"/>
                <a:gd name="T17" fmla="*/ 11 h 14"/>
                <a:gd name="T18" fmla="*/ 17 w 26"/>
                <a:gd name="T19" fmla="*/ 1 h 14"/>
                <a:gd name="T20" fmla="*/ 16 w 26"/>
                <a:gd name="T21" fmla="*/ 2 h 14"/>
                <a:gd name="T22" fmla="*/ 17 w 26"/>
                <a:gd name="T23" fmla="*/ 2 h 14"/>
                <a:gd name="T24" fmla="*/ 16 w 26"/>
                <a:gd name="T25" fmla="*/ 3 h 14"/>
                <a:gd name="T26" fmla="*/ 17 w 26"/>
                <a:gd name="T27" fmla="*/ 4 h 14"/>
                <a:gd name="T28" fmla="*/ 18 w 26"/>
                <a:gd name="T29" fmla="*/ 4 h 14"/>
                <a:gd name="T30" fmla="*/ 19 w 26"/>
                <a:gd name="T31" fmla="*/ 4 h 14"/>
                <a:gd name="T32" fmla="*/ 18 w 26"/>
                <a:gd name="T33" fmla="*/ 5 h 14"/>
                <a:gd name="T34" fmla="*/ 18 w 26"/>
                <a:gd name="T35" fmla="*/ 6 h 14"/>
                <a:gd name="T36" fmla="*/ 17 w 26"/>
                <a:gd name="T37" fmla="*/ 7 h 14"/>
                <a:gd name="T38" fmla="*/ 17 w 26"/>
                <a:gd name="T39" fmla="*/ 8 h 14"/>
                <a:gd name="T40" fmla="*/ 16 w 26"/>
                <a:gd name="T41" fmla="*/ 9 h 14"/>
                <a:gd name="T42" fmla="*/ 15 w 26"/>
                <a:gd name="T43" fmla="*/ 8 h 14"/>
                <a:gd name="T44" fmla="*/ 13 w 26"/>
                <a:gd name="T45" fmla="*/ 8 h 14"/>
                <a:gd name="T46" fmla="*/ 13 w 26"/>
                <a:gd name="T47" fmla="*/ 8 h 14"/>
                <a:gd name="T48" fmla="*/ 13 w 26"/>
                <a:gd name="T49" fmla="*/ 6 h 14"/>
                <a:gd name="T50" fmla="*/ 11 w 26"/>
                <a:gd name="T51" fmla="*/ 6 h 14"/>
                <a:gd name="T52" fmla="*/ 11 w 26"/>
                <a:gd name="T53" fmla="*/ 7 h 14"/>
                <a:gd name="T54" fmla="*/ 11 w 26"/>
                <a:gd name="T55" fmla="*/ 7 h 14"/>
                <a:gd name="T56" fmla="*/ 10 w 26"/>
                <a:gd name="T57" fmla="*/ 6 h 14"/>
                <a:gd name="T58" fmla="*/ 10 w 26"/>
                <a:gd name="T59" fmla="*/ 6 h 14"/>
                <a:gd name="T60" fmla="*/ 10 w 26"/>
                <a:gd name="T61" fmla="*/ 6 h 14"/>
                <a:gd name="T62" fmla="*/ 11 w 26"/>
                <a:gd name="T63" fmla="*/ 5 h 14"/>
                <a:gd name="T64" fmla="*/ 12 w 26"/>
                <a:gd name="T65" fmla="*/ 4 h 14"/>
                <a:gd name="T66" fmla="*/ 13 w 26"/>
                <a:gd name="T67" fmla="*/ 3 h 14"/>
                <a:gd name="T68" fmla="*/ 14 w 26"/>
                <a:gd name="T69" fmla="*/ 2 h 14"/>
                <a:gd name="T70" fmla="*/ 16 w 26"/>
                <a:gd name="T71" fmla="*/ 2 h 14"/>
                <a:gd name="T72" fmla="*/ 16 w 26"/>
                <a:gd name="T73" fmla="*/ 1 h 14"/>
                <a:gd name="T74" fmla="*/ 24 w 26"/>
                <a:gd name="T75" fmla="*/ 1 h 14"/>
                <a:gd name="T76" fmla="*/ 24 w 26"/>
                <a:gd name="T77" fmla="*/ 1 h 14"/>
                <a:gd name="T78" fmla="*/ 25 w 26"/>
                <a:gd name="T79" fmla="*/ 1 h 14"/>
                <a:gd name="T80" fmla="*/ 25 w 26"/>
                <a:gd name="T81" fmla="*/ 1 h 14"/>
                <a:gd name="T82" fmla="*/ 25 w 26"/>
                <a:gd name="T83" fmla="*/ 2 h 14"/>
                <a:gd name="T84" fmla="*/ 25 w 26"/>
                <a:gd name="T85" fmla="*/ 2 h 14"/>
                <a:gd name="T86" fmla="*/ 25 w 26"/>
                <a:gd name="T87" fmla="*/ 3 h 14"/>
                <a:gd name="T88" fmla="*/ 24 w 26"/>
                <a:gd name="T89" fmla="*/ 2 h 14"/>
                <a:gd name="T90" fmla="*/ 22 w 26"/>
                <a:gd name="T91" fmla="*/ 1 h 14"/>
                <a:gd name="T92" fmla="*/ 21 w 26"/>
                <a:gd name="T93" fmla="*/ 1 h 14"/>
                <a:gd name="T94" fmla="*/ 22 w 26"/>
                <a:gd name="T95" fmla="*/ 0 h 14"/>
                <a:gd name="T96" fmla="*/ 22 w 26"/>
                <a:gd name="T9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" h="14">
                  <a:moveTo>
                    <a:pt x="3" y="11"/>
                  </a:moveTo>
                  <a:lnTo>
                    <a:pt x="3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17" y="1"/>
                  </a:moveTo>
                  <a:lnTo>
                    <a:pt x="17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24" y="0"/>
                  </a:moveTo>
                  <a:lnTo>
                    <a:pt x="24" y="1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8" name="Freeform 124"/>
            <p:cNvSpPr>
              <a:spLocks noEditPoints="1"/>
            </p:cNvSpPr>
            <p:nvPr/>
          </p:nvSpPr>
          <p:spPr bwMode="auto">
            <a:xfrm>
              <a:off x="5661267" y="3757584"/>
              <a:ext cx="133144" cy="118493"/>
            </a:xfrm>
            <a:custGeom>
              <a:avLst/>
              <a:gdLst>
                <a:gd name="T0" fmla="*/ 47 w 102"/>
                <a:gd name="T1" fmla="*/ 4 h 86"/>
                <a:gd name="T2" fmla="*/ 50 w 102"/>
                <a:gd name="T3" fmla="*/ 5 h 86"/>
                <a:gd name="T4" fmla="*/ 53 w 102"/>
                <a:gd name="T5" fmla="*/ 4 h 86"/>
                <a:gd name="T6" fmla="*/ 60 w 102"/>
                <a:gd name="T7" fmla="*/ 5 h 86"/>
                <a:gd name="T8" fmla="*/ 64 w 102"/>
                <a:gd name="T9" fmla="*/ 7 h 86"/>
                <a:gd name="T10" fmla="*/ 69 w 102"/>
                <a:gd name="T11" fmla="*/ 9 h 86"/>
                <a:gd name="T12" fmla="*/ 77 w 102"/>
                <a:gd name="T13" fmla="*/ 12 h 86"/>
                <a:gd name="T14" fmla="*/ 84 w 102"/>
                <a:gd name="T15" fmla="*/ 11 h 86"/>
                <a:gd name="T16" fmla="*/ 89 w 102"/>
                <a:gd name="T17" fmla="*/ 14 h 86"/>
                <a:gd name="T18" fmla="*/ 97 w 102"/>
                <a:gd name="T19" fmla="*/ 16 h 86"/>
                <a:gd name="T20" fmla="*/ 101 w 102"/>
                <a:gd name="T21" fmla="*/ 16 h 86"/>
                <a:gd name="T22" fmla="*/ 100 w 102"/>
                <a:gd name="T23" fmla="*/ 22 h 86"/>
                <a:gd name="T24" fmla="*/ 93 w 102"/>
                <a:gd name="T25" fmla="*/ 27 h 86"/>
                <a:gd name="T26" fmla="*/ 85 w 102"/>
                <a:gd name="T27" fmla="*/ 30 h 86"/>
                <a:gd name="T28" fmla="*/ 81 w 102"/>
                <a:gd name="T29" fmla="*/ 34 h 86"/>
                <a:gd name="T30" fmla="*/ 79 w 102"/>
                <a:gd name="T31" fmla="*/ 33 h 86"/>
                <a:gd name="T32" fmla="*/ 80 w 102"/>
                <a:gd name="T33" fmla="*/ 36 h 86"/>
                <a:gd name="T34" fmla="*/ 76 w 102"/>
                <a:gd name="T35" fmla="*/ 41 h 86"/>
                <a:gd name="T36" fmla="*/ 72 w 102"/>
                <a:gd name="T37" fmla="*/ 48 h 86"/>
                <a:gd name="T38" fmla="*/ 76 w 102"/>
                <a:gd name="T39" fmla="*/ 55 h 86"/>
                <a:gd name="T40" fmla="*/ 72 w 102"/>
                <a:gd name="T41" fmla="*/ 60 h 86"/>
                <a:gd name="T42" fmla="*/ 69 w 102"/>
                <a:gd name="T43" fmla="*/ 66 h 86"/>
                <a:gd name="T44" fmla="*/ 67 w 102"/>
                <a:gd name="T45" fmla="*/ 69 h 86"/>
                <a:gd name="T46" fmla="*/ 63 w 102"/>
                <a:gd name="T47" fmla="*/ 70 h 86"/>
                <a:gd name="T48" fmla="*/ 58 w 102"/>
                <a:gd name="T49" fmla="*/ 77 h 86"/>
                <a:gd name="T50" fmla="*/ 48 w 102"/>
                <a:gd name="T51" fmla="*/ 78 h 86"/>
                <a:gd name="T52" fmla="*/ 39 w 102"/>
                <a:gd name="T53" fmla="*/ 78 h 86"/>
                <a:gd name="T54" fmla="*/ 33 w 102"/>
                <a:gd name="T55" fmla="*/ 82 h 86"/>
                <a:gd name="T56" fmla="*/ 27 w 102"/>
                <a:gd name="T57" fmla="*/ 83 h 86"/>
                <a:gd name="T58" fmla="*/ 24 w 102"/>
                <a:gd name="T59" fmla="*/ 80 h 86"/>
                <a:gd name="T60" fmla="*/ 23 w 102"/>
                <a:gd name="T61" fmla="*/ 75 h 86"/>
                <a:gd name="T62" fmla="*/ 19 w 102"/>
                <a:gd name="T63" fmla="*/ 72 h 86"/>
                <a:gd name="T64" fmla="*/ 18 w 102"/>
                <a:gd name="T65" fmla="*/ 72 h 86"/>
                <a:gd name="T66" fmla="*/ 15 w 102"/>
                <a:gd name="T67" fmla="*/ 69 h 86"/>
                <a:gd name="T68" fmla="*/ 19 w 102"/>
                <a:gd name="T69" fmla="*/ 63 h 86"/>
                <a:gd name="T70" fmla="*/ 17 w 102"/>
                <a:gd name="T71" fmla="*/ 55 h 86"/>
                <a:gd name="T72" fmla="*/ 16 w 102"/>
                <a:gd name="T73" fmla="*/ 47 h 86"/>
                <a:gd name="T74" fmla="*/ 20 w 102"/>
                <a:gd name="T75" fmla="*/ 43 h 86"/>
                <a:gd name="T76" fmla="*/ 20 w 102"/>
                <a:gd name="T77" fmla="*/ 35 h 86"/>
                <a:gd name="T78" fmla="*/ 21 w 102"/>
                <a:gd name="T79" fmla="*/ 30 h 86"/>
                <a:gd name="T80" fmla="*/ 24 w 102"/>
                <a:gd name="T81" fmla="*/ 23 h 86"/>
                <a:gd name="T82" fmla="*/ 18 w 102"/>
                <a:gd name="T83" fmla="*/ 20 h 86"/>
                <a:gd name="T84" fmla="*/ 11 w 102"/>
                <a:gd name="T85" fmla="*/ 22 h 86"/>
                <a:gd name="T86" fmla="*/ 6 w 102"/>
                <a:gd name="T87" fmla="*/ 19 h 86"/>
                <a:gd name="T88" fmla="*/ 6 w 102"/>
                <a:gd name="T89" fmla="*/ 17 h 86"/>
                <a:gd name="T90" fmla="*/ 5 w 102"/>
                <a:gd name="T91" fmla="*/ 16 h 86"/>
                <a:gd name="T92" fmla="*/ 4 w 102"/>
                <a:gd name="T93" fmla="*/ 14 h 86"/>
                <a:gd name="T94" fmla="*/ 4 w 102"/>
                <a:gd name="T95" fmla="*/ 13 h 86"/>
                <a:gd name="T96" fmla="*/ 4 w 102"/>
                <a:gd name="T97" fmla="*/ 10 h 86"/>
                <a:gd name="T98" fmla="*/ 1 w 102"/>
                <a:gd name="T99" fmla="*/ 9 h 86"/>
                <a:gd name="T100" fmla="*/ 2 w 102"/>
                <a:gd name="T101" fmla="*/ 6 h 86"/>
                <a:gd name="T102" fmla="*/ 7 w 102"/>
                <a:gd name="T103" fmla="*/ 4 h 86"/>
                <a:gd name="T104" fmla="*/ 8 w 102"/>
                <a:gd name="T105" fmla="*/ 4 h 86"/>
                <a:gd name="T106" fmla="*/ 10 w 102"/>
                <a:gd name="T107" fmla="*/ 1 h 86"/>
                <a:gd name="T108" fmla="*/ 12 w 102"/>
                <a:gd name="T109" fmla="*/ 1 h 86"/>
                <a:gd name="T110" fmla="*/ 16 w 102"/>
                <a:gd name="T111" fmla="*/ 2 h 86"/>
                <a:gd name="T112" fmla="*/ 21 w 102"/>
                <a:gd name="T113" fmla="*/ 2 h 86"/>
                <a:gd name="T114" fmla="*/ 27 w 102"/>
                <a:gd name="T115" fmla="*/ 2 h 86"/>
                <a:gd name="T116" fmla="*/ 34 w 102"/>
                <a:gd name="T117" fmla="*/ 4 h 86"/>
                <a:gd name="T118" fmla="*/ 42 w 102"/>
                <a:gd name="T119" fmla="*/ 4 h 86"/>
                <a:gd name="T120" fmla="*/ 45 w 102"/>
                <a:gd name="T121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2" h="86">
                  <a:moveTo>
                    <a:pt x="91" y="15"/>
                  </a:moveTo>
                  <a:lnTo>
                    <a:pt x="91" y="15"/>
                  </a:lnTo>
                  <a:lnTo>
                    <a:pt x="91" y="15"/>
                  </a:lnTo>
                  <a:close/>
                  <a:moveTo>
                    <a:pt x="46" y="3"/>
                  </a:moveTo>
                  <a:lnTo>
                    <a:pt x="46" y="3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5" y="9"/>
                  </a:lnTo>
                  <a:lnTo>
                    <a:pt x="66" y="9"/>
                  </a:lnTo>
                  <a:lnTo>
                    <a:pt x="66" y="8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0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7" y="14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2" y="16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1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2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1" y="19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3"/>
                  </a:lnTo>
                  <a:lnTo>
                    <a:pt x="99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6" y="24"/>
                  </a:lnTo>
                  <a:lnTo>
                    <a:pt x="95" y="24"/>
                  </a:lnTo>
                  <a:lnTo>
                    <a:pt x="95" y="25"/>
                  </a:lnTo>
                  <a:lnTo>
                    <a:pt x="94" y="2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8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3" y="30"/>
                  </a:lnTo>
                  <a:lnTo>
                    <a:pt x="83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2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1" y="33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1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1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7" y="39"/>
                  </a:lnTo>
                  <a:lnTo>
                    <a:pt x="77" y="40"/>
                  </a:lnTo>
                  <a:lnTo>
                    <a:pt x="76" y="40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4" y="43"/>
                  </a:lnTo>
                  <a:lnTo>
                    <a:pt x="74" y="44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6" y="54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6"/>
                  </a:lnTo>
                  <a:lnTo>
                    <a:pt x="77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3" y="58"/>
                  </a:lnTo>
                  <a:lnTo>
                    <a:pt x="72" y="58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2"/>
                  </a:lnTo>
                  <a:lnTo>
                    <a:pt x="70" y="62"/>
                  </a:lnTo>
                  <a:lnTo>
                    <a:pt x="70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8" y="66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8"/>
                  </a:lnTo>
                  <a:lnTo>
                    <a:pt x="69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6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9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3" y="69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0" y="72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8" y="78"/>
                  </a:lnTo>
                  <a:lnTo>
                    <a:pt x="57" y="78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5" y="76"/>
                  </a:lnTo>
                  <a:lnTo>
                    <a:pt x="54" y="76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4" y="78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1" y="78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4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0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6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1"/>
                  </a:lnTo>
                  <a:lnTo>
                    <a:pt x="33" y="81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1" y="83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5"/>
                  </a:lnTo>
                  <a:lnTo>
                    <a:pt x="28" y="84"/>
                  </a:lnTo>
                  <a:lnTo>
                    <a:pt x="28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9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7"/>
                  </a:lnTo>
                  <a:lnTo>
                    <a:pt x="24" y="77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7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2" y="75"/>
                  </a:lnTo>
                  <a:lnTo>
                    <a:pt x="22" y="74"/>
                  </a:lnTo>
                  <a:lnTo>
                    <a:pt x="21" y="74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3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7" y="65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8" y="63"/>
                  </a:lnTo>
                  <a:lnTo>
                    <a:pt x="18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2"/>
                  </a:lnTo>
                  <a:lnTo>
                    <a:pt x="18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9" name="Freeform 125"/>
            <p:cNvSpPr>
              <a:spLocks noEditPoints="1"/>
            </p:cNvSpPr>
            <p:nvPr/>
          </p:nvSpPr>
          <p:spPr bwMode="auto">
            <a:xfrm>
              <a:off x="5665183" y="3764473"/>
              <a:ext cx="125312" cy="95071"/>
            </a:xfrm>
            <a:custGeom>
              <a:avLst/>
              <a:gdLst>
                <a:gd name="T0" fmla="*/ 17 w 96"/>
                <a:gd name="T1" fmla="*/ 68 h 69"/>
                <a:gd name="T2" fmla="*/ 17 w 96"/>
                <a:gd name="T3" fmla="*/ 68 h 69"/>
                <a:gd name="T4" fmla="*/ 16 w 96"/>
                <a:gd name="T5" fmla="*/ 68 h 69"/>
                <a:gd name="T6" fmla="*/ 16 w 96"/>
                <a:gd name="T7" fmla="*/ 67 h 69"/>
                <a:gd name="T8" fmla="*/ 16 w 96"/>
                <a:gd name="T9" fmla="*/ 68 h 69"/>
                <a:gd name="T10" fmla="*/ 16 w 96"/>
                <a:gd name="T11" fmla="*/ 67 h 69"/>
                <a:gd name="T12" fmla="*/ 16 w 96"/>
                <a:gd name="T13" fmla="*/ 67 h 69"/>
                <a:gd name="T14" fmla="*/ 83 w 96"/>
                <a:gd name="T15" fmla="*/ 50 h 69"/>
                <a:gd name="T16" fmla="*/ 84 w 96"/>
                <a:gd name="T17" fmla="*/ 51 h 69"/>
                <a:gd name="T18" fmla="*/ 84 w 96"/>
                <a:gd name="T19" fmla="*/ 52 h 69"/>
                <a:gd name="T20" fmla="*/ 84 w 96"/>
                <a:gd name="T21" fmla="*/ 52 h 69"/>
                <a:gd name="T22" fmla="*/ 84 w 96"/>
                <a:gd name="T23" fmla="*/ 51 h 69"/>
                <a:gd name="T24" fmla="*/ 83 w 96"/>
                <a:gd name="T25" fmla="*/ 52 h 69"/>
                <a:gd name="T26" fmla="*/ 83 w 96"/>
                <a:gd name="T27" fmla="*/ 51 h 69"/>
                <a:gd name="T28" fmla="*/ 83 w 96"/>
                <a:gd name="T29" fmla="*/ 51 h 69"/>
                <a:gd name="T30" fmla="*/ 81 w 96"/>
                <a:gd name="T31" fmla="*/ 48 h 69"/>
                <a:gd name="T32" fmla="*/ 81 w 96"/>
                <a:gd name="T33" fmla="*/ 48 h 69"/>
                <a:gd name="T34" fmla="*/ 96 w 96"/>
                <a:gd name="T35" fmla="*/ 46 h 69"/>
                <a:gd name="T36" fmla="*/ 95 w 96"/>
                <a:gd name="T37" fmla="*/ 47 h 69"/>
                <a:gd name="T38" fmla="*/ 95 w 96"/>
                <a:gd name="T39" fmla="*/ 47 h 69"/>
                <a:gd name="T40" fmla="*/ 95 w 96"/>
                <a:gd name="T41" fmla="*/ 47 h 69"/>
                <a:gd name="T42" fmla="*/ 95 w 96"/>
                <a:gd name="T43" fmla="*/ 47 h 69"/>
                <a:gd name="T44" fmla="*/ 96 w 96"/>
                <a:gd name="T45" fmla="*/ 46 h 69"/>
                <a:gd name="T46" fmla="*/ 96 w 96"/>
                <a:gd name="T47" fmla="*/ 46 h 69"/>
                <a:gd name="T48" fmla="*/ 91 w 96"/>
                <a:gd name="T49" fmla="*/ 42 h 69"/>
                <a:gd name="T50" fmla="*/ 90 w 96"/>
                <a:gd name="T51" fmla="*/ 41 h 69"/>
                <a:gd name="T52" fmla="*/ 1 w 96"/>
                <a:gd name="T53" fmla="*/ 12 h 69"/>
                <a:gd name="T54" fmla="*/ 1 w 96"/>
                <a:gd name="T55" fmla="*/ 12 h 69"/>
                <a:gd name="T56" fmla="*/ 1 w 96"/>
                <a:gd name="T57" fmla="*/ 12 h 69"/>
                <a:gd name="T58" fmla="*/ 0 w 96"/>
                <a:gd name="T59" fmla="*/ 12 h 69"/>
                <a:gd name="T60" fmla="*/ 0 w 96"/>
                <a:gd name="T61" fmla="*/ 12 h 69"/>
                <a:gd name="T62" fmla="*/ 1 w 96"/>
                <a:gd name="T63" fmla="*/ 12 h 69"/>
                <a:gd name="T64" fmla="*/ 0 w 96"/>
                <a:gd name="T65" fmla="*/ 10 h 69"/>
                <a:gd name="T66" fmla="*/ 1 w 96"/>
                <a:gd name="T67" fmla="*/ 10 h 69"/>
                <a:gd name="T68" fmla="*/ 1 w 96"/>
                <a:gd name="T69" fmla="*/ 10 h 69"/>
                <a:gd name="T70" fmla="*/ 1 w 96"/>
                <a:gd name="T71" fmla="*/ 10 h 69"/>
                <a:gd name="T72" fmla="*/ 1 w 96"/>
                <a:gd name="T73" fmla="*/ 9 h 69"/>
                <a:gd name="T74" fmla="*/ 1 w 96"/>
                <a:gd name="T75" fmla="*/ 0 h 69"/>
                <a:gd name="T76" fmla="*/ 1 w 96"/>
                <a:gd name="T7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69">
                  <a:moveTo>
                    <a:pt x="16" y="68"/>
                  </a:moveTo>
                  <a:lnTo>
                    <a:pt x="17" y="68"/>
                  </a:lnTo>
                  <a:lnTo>
                    <a:pt x="17" y="69"/>
                  </a:lnTo>
                  <a:lnTo>
                    <a:pt x="17" y="68"/>
                  </a:lnTo>
                  <a:lnTo>
                    <a:pt x="16" y="68"/>
                  </a:lnTo>
                  <a:close/>
                  <a:moveTo>
                    <a:pt x="16" y="68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8"/>
                  </a:lnTo>
                  <a:close/>
                  <a:moveTo>
                    <a:pt x="16" y="67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close/>
                  <a:moveTo>
                    <a:pt x="83" y="50"/>
                  </a:moveTo>
                  <a:lnTo>
                    <a:pt x="83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3" y="51"/>
                  </a:lnTo>
                  <a:lnTo>
                    <a:pt x="83" y="52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0"/>
                  </a:lnTo>
                  <a:close/>
                  <a:moveTo>
                    <a:pt x="81" y="48"/>
                  </a:moveTo>
                  <a:lnTo>
                    <a:pt x="81" y="48"/>
                  </a:lnTo>
                  <a:lnTo>
                    <a:pt x="81" y="48"/>
                  </a:lnTo>
                  <a:close/>
                  <a:moveTo>
                    <a:pt x="95" y="46"/>
                  </a:moveTo>
                  <a:lnTo>
                    <a:pt x="96" y="46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close/>
                  <a:moveTo>
                    <a:pt x="96" y="46"/>
                  </a:moveTo>
                  <a:lnTo>
                    <a:pt x="95" y="46"/>
                  </a:lnTo>
                  <a:lnTo>
                    <a:pt x="96" y="46"/>
                  </a:lnTo>
                  <a:close/>
                  <a:moveTo>
                    <a:pt x="91" y="41"/>
                  </a:moveTo>
                  <a:lnTo>
                    <a:pt x="91" y="42"/>
                  </a:lnTo>
                  <a:lnTo>
                    <a:pt x="90" y="42"/>
                  </a:lnTo>
                  <a:lnTo>
                    <a:pt x="90" y="41"/>
                  </a:lnTo>
                  <a:lnTo>
                    <a:pt x="91" y="41"/>
                  </a:lnTo>
                  <a:close/>
                  <a:moveTo>
                    <a:pt x="1" y="12"/>
                  </a:move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close/>
                  <a:moveTo>
                    <a:pt x="1" y="12"/>
                  </a:moveTo>
                  <a:lnTo>
                    <a:pt x="0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2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1" y="8"/>
                  </a:moveTo>
                  <a:lnTo>
                    <a:pt x="1" y="9"/>
                  </a:lnTo>
                  <a:lnTo>
                    <a:pt x="1" y="8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0" name="Freeform 126"/>
            <p:cNvSpPr>
              <a:spLocks noEditPoints="1"/>
            </p:cNvSpPr>
            <p:nvPr/>
          </p:nvSpPr>
          <p:spPr bwMode="auto">
            <a:xfrm>
              <a:off x="5662573" y="3758961"/>
              <a:ext cx="127922" cy="111605"/>
            </a:xfrm>
            <a:custGeom>
              <a:avLst/>
              <a:gdLst>
                <a:gd name="T0" fmla="*/ 24 w 98"/>
                <a:gd name="T1" fmla="*/ 80 h 81"/>
                <a:gd name="T2" fmla="*/ 24 w 98"/>
                <a:gd name="T3" fmla="*/ 81 h 81"/>
                <a:gd name="T4" fmla="*/ 24 w 98"/>
                <a:gd name="T5" fmla="*/ 80 h 81"/>
                <a:gd name="T6" fmla="*/ 18 w 98"/>
                <a:gd name="T7" fmla="*/ 71 h 81"/>
                <a:gd name="T8" fmla="*/ 18 w 98"/>
                <a:gd name="T9" fmla="*/ 71 h 81"/>
                <a:gd name="T10" fmla="*/ 18 w 98"/>
                <a:gd name="T11" fmla="*/ 71 h 81"/>
                <a:gd name="T12" fmla="*/ 18 w 98"/>
                <a:gd name="T13" fmla="*/ 71 h 81"/>
                <a:gd name="T14" fmla="*/ 18 w 98"/>
                <a:gd name="T15" fmla="*/ 71 h 81"/>
                <a:gd name="T16" fmla="*/ 18 w 98"/>
                <a:gd name="T17" fmla="*/ 71 h 81"/>
                <a:gd name="T18" fmla="*/ 66 w 98"/>
                <a:gd name="T19" fmla="*/ 67 h 81"/>
                <a:gd name="T20" fmla="*/ 66 w 98"/>
                <a:gd name="T21" fmla="*/ 68 h 81"/>
                <a:gd name="T22" fmla="*/ 66 w 98"/>
                <a:gd name="T23" fmla="*/ 67 h 81"/>
                <a:gd name="T24" fmla="*/ 68 w 98"/>
                <a:gd name="T25" fmla="*/ 66 h 81"/>
                <a:gd name="T26" fmla="*/ 68 w 98"/>
                <a:gd name="T27" fmla="*/ 67 h 81"/>
                <a:gd name="T28" fmla="*/ 68 w 98"/>
                <a:gd name="T29" fmla="*/ 66 h 81"/>
                <a:gd name="T30" fmla="*/ 85 w 98"/>
                <a:gd name="T31" fmla="*/ 53 h 81"/>
                <a:gd name="T32" fmla="*/ 85 w 98"/>
                <a:gd name="T33" fmla="*/ 53 h 81"/>
                <a:gd name="T34" fmla="*/ 85 w 98"/>
                <a:gd name="T35" fmla="*/ 53 h 81"/>
                <a:gd name="T36" fmla="*/ 83 w 98"/>
                <a:gd name="T37" fmla="*/ 52 h 81"/>
                <a:gd name="T38" fmla="*/ 83 w 98"/>
                <a:gd name="T39" fmla="*/ 52 h 81"/>
                <a:gd name="T40" fmla="*/ 83 w 98"/>
                <a:gd name="T41" fmla="*/ 52 h 81"/>
                <a:gd name="T42" fmla="*/ 98 w 98"/>
                <a:gd name="T43" fmla="*/ 50 h 81"/>
                <a:gd name="T44" fmla="*/ 98 w 98"/>
                <a:gd name="T45" fmla="*/ 49 h 81"/>
                <a:gd name="T46" fmla="*/ 98 w 98"/>
                <a:gd name="T47" fmla="*/ 50 h 81"/>
                <a:gd name="T48" fmla="*/ 93 w 98"/>
                <a:gd name="T49" fmla="*/ 46 h 81"/>
                <a:gd name="T50" fmla="*/ 94 w 98"/>
                <a:gd name="T51" fmla="*/ 46 h 81"/>
                <a:gd name="T52" fmla="*/ 93 w 98"/>
                <a:gd name="T53" fmla="*/ 46 h 81"/>
                <a:gd name="T54" fmla="*/ 93 w 98"/>
                <a:gd name="T55" fmla="*/ 46 h 81"/>
                <a:gd name="T56" fmla="*/ 93 w 98"/>
                <a:gd name="T57" fmla="*/ 45 h 81"/>
                <a:gd name="T58" fmla="*/ 93 w 98"/>
                <a:gd name="T59" fmla="*/ 46 h 81"/>
                <a:gd name="T60" fmla="*/ 2 w 98"/>
                <a:gd name="T61" fmla="*/ 15 h 81"/>
                <a:gd name="T62" fmla="*/ 2 w 98"/>
                <a:gd name="T63" fmla="*/ 15 h 81"/>
                <a:gd name="T64" fmla="*/ 2 w 98"/>
                <a:gd name="T65" fmla="*/ 15 h 81"/>
                <a:gd name="T66" fmla="*/ 3 w 98"/>
                <a:gd name="T67" fmla="*/ 13 h 81"/>
                <a:gd name="T68" fmla="*/ 2 w 98"/>
                <a:gd name="T69" fmla="*/ 13 h 81"/>
                <a:gd name="T70" fmla="*/ 3 w 98"/>
                <a:gd name="T71" fmla="*/ 13 h 81"/>
                <a:gd name="T72" fmla="*/ 0 w 98"/>
                <a:gd name="T73" fmla="*/ 10 h 81"/>
                <a:gd name="T74" fmla="*/ 0 w 98"/>
                <a:gd name="T75" fmla="*/ 9 h 81"/>
                <a:gd name="T76" fmla="*/ 0 w 98"/>
                <a:gd name="T77" fmla="*/ 10 h 81"/>
                <a:gd name="T78" fmla="*/ 0 w 98"/>
                <a:gd name="T79" fmla="*/ 9 h 81"/>
                <a:gd name="T80" fmla="*/ 0 w 98"/>
                <a:gd name="T81" fmla="*/ 9 h 81"/>
                <a:gd name="T82" fmla="*/ 0 w 98"/>
                <a:gd name="T83" fmla="*/ 9 h 81"/>
                <a:gd name="T84" fmla="*/ 6 w 98"/>
                <a:gd name="T85" fmla="*/ 4 h 81"/>
                <a:gd name="T86" fmla="*/ 6 w 98"/>
                <a:gd name="T87" fmla="*/ 3 h 81"/>
                <a:gd name="T88" fmla="*/ 6 w 98"/>
                <a:gd name="T89" fmla="*/ 4 h 81"/>
                <a:gd name="T90" fmla="*/ 42 w 98"/>
                <a:gd name="T91" fmla="*/ 3 h 81"/>
                <a:gd name="T92" fmla="*/ 41 w 98"/>
                <a:gd name="T93" fmla="*/ 3 h 81"/>
                <a:gd name="T94" fmla="*/ 42 w 98"/>
                <a:gd name="T95" fmla="*/ 3 h 81"/>
                <a:gd name="T96" fmla="*/ 7 w 98"/>
                <a:gd name="T97" fmla="*/ 2 h 81"/>
                <a:gd name="T98" fmla="*/ 7 w 98"/>
                <a:gd name="T99" fmla="*/ 2 h 81"/>
                <a:gd name="T100" fmla="*/ 7 w 98"/>
                <a:gd name="T101" fmla="*/ 2 h 81"/>
                <a:gd name="T102" fmla="*/ 11 w 98"/>
                <a:gd name="T103" fmla="*/ 0 h 81"/>
                <a:gd name="T104" fmla="*/ 11 w 98"/>
                <a:gd name="T105" fmla="*/ 0 h 81"/>
                <a:gd name="T106" fmla="*/ 11 w 98"/>
                <a:gd name="T10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8" h="81">
                  <a:moveTo>
                    <a:pt x="24" y="80"/>
                  </a:moveTo>
                  <a:lnTo>
                    <a:pt x="24" y="81"/>
                  </a:lnTo>
                  <a:lnTo>
                    <a:pt x="24" y="80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66" y="67"/>
                  </a:moveTo>
                  <a:lnTo>
                    <a:pt x="66" y="68"/>
                  </a:lnTo>
                  <a:lnTo>
                    <a:pt x="66" y="67"/>
                  </a:lnTo>
                  <a:close/>
                  <a:moveTo>
                    <a:pt x="68" y="66"/>
                  </a:moveTo>
                  <a:lnTo>
                    <a:pt x="68" y="67"/>
                  </a:lnTo>
                  <a:lnTo>
                    <a:pt x="68" y="66"/>
                  </a:lnTo>
                  <a:close/>
                  <a:moveTo>
                    <a:pt x="85" y="53"/>
                  </a:moveTo>
                  <a:lnTo>
                    <a:pt x="85" y="53"/>
                  </a:lnTo>
                  <a:lnTo>
                    <a:pt x="85" y="53"/>
                  </a:lnTo>
                  <a:close/>
                  <a:moveTo>
                    <a:pt x="83" y="52"/>
                  </a:moveTo>
                  <a:lnTo>
                    <a:pt x="83" y="52"/>
                  </a:lnTo>
                  <a:lnTo>
                    <a:pt x="83" y="52"/>
                  </a:lnTo>
                  <a:close/>
                  <a:moveTo>
                    <a:pt x="98" y="50"/>
                  </a:moveTo>
                  <a:lnTo>
                    <a:pt x="98" y="49"/>
                  </a:lnTo>
                  <a:lnTo>
                    <a:pt x="98" y="50"/>
                  </a:lnTo>
                  <a:close/>
                  <a:moveTo>
                    <a:pt x="93" y="46"/>
                  </a:moveTo>
                  <a:lnTo>
                    <a:pt x="94" y="46"/>
                  </a:lnTo>
                  <a:lnTo>
                    <a:pt x="93" y="46"/>
                  </a:lnTo>
                  <a:close/>
                  <a:moveTo>
                    <a:pt x="93" y="46"/>
                  </a:moveTo>
                  <a:lnTo>
                    <a:pt x="93" y="45"/>
                  </a:lnTo>
                  <a:lnTo>
                    <a:pt x="93" y="46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0" y="10"/>
                  </a:moveTo>
                  <a:lnTo>
                    <a:pt x="0" y="9"/>
                  </a:lnTo>
                  <a:lnTo>
                    <a:pt x="0" y="10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6" y="4"/>
                  </a:moveTo>
                  <a:lnTo>
                    <a:pt x="6" y="3"/>
                  </a:lnTo>
                  <a:lnTo>
                    <a:pt x="6" y="4"/>
                  </a:lnTo>
                  <a:close/>
                  <a:moveTo>
                    <a:pt x="42" y="3"/>
                  </a:moveTo>
                  <a:lnTo>
                    <a:pt x="41" y="3"/>
                  </a:lnTo>
                  <a:lnTo>
                    <a:pt x="42" y="3"/>
                  </a:lnTo>
                  <a:close/>
                  <a:moveTo>
                    <a:pt x="7" y="2"/>
                  </a:moveTo>
                  <a:lnTo>
                    <a:pt x="7" y="2"/>
                  </a:lnTo>
                  <a:lnTo>
                    <a:pt x="7" y="2"/>
                  </a:lnTo>
                  <a:close/>
                  <a:moveTo>
                    <a:pt x="11" y="0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1" name="Freeform 127"/>
            <p:cNvSpPr>
              <a:spLocks noEditPoints="1"/>
            </p:cNvSpPr>
            <p:nvPr/>
          </p:nvSpPr>
          <p:spPr bwMode="auto">
            <a:xfrm>
              <a:off x="5431529" y="3822341"/>
              <a:ext cx="67877" cy="38579"/>
            </a:xfrm>
            <a:custGeom>
              <a:avLst/>
              <a:gdLst>
                <a:gd name="T0" fmla="*/ 49 w 52"/>
                <a:gd name="T1" fmla="*/ 28 h 28"/>
                <a:gd name="T2" fmla="*/ 48 w 52"/>
                <a:gd name="T3" fmla="*/ 28 h 28"/>
                <a:gd name="T4" fmla="*/ 49 w 52"/>
                <a:gd name="T5" fmla="*/ 28 h 28"/>
                <a:gd name="T6" fmla="*/ 50 w 52"/>
                <a:gd name="T7" fmla="*/ 28 h 28"/>
                <a:gd name="T8" fmla="*/ 50 w 52"/>
                <a:gd name="T9" fmla="*/ 28 h 28"/>
                <a:gd name="T10" fmla="*/ 52 w 52"/>
                <a:gd name="T11" fmla="*/ 25 h 28"/>
                <a:gd name="T12" fmla="*/ 52 w 52"/>
                <a:gd name="T13" fmla="*/ 25 h 28"/>
                <a:gd name="T14" fmla="*/ 52 w 52"/>
                <a:gd name="T15" fmla="*/ 25 h 28"/>
                <a:gd name="T16" fmla="*/ 47 w 52"/>
                <a:gd name="T17" fmla="*/ 20 h 28"/>
                <a:gd name="T18" fmla="*/ 47 w 52"/>
                <a:gd name="T19" fmla="*/ 20 h 28"/>
                <a:gd name="T20" fmla="*/ 47 w 52"/>
                <a:gd name="T21" fmla="*/ 20 h 28"/>
                <a:gd name="T22" fmla="*/ 22 w 52"/>
                <a:gd name="T23" fmla="*/ 11 h 28"/>
                <a:gd name="T24" fmla="*/ 22 w 52"/>
                <a:gd name="T25" fmla="*/ 11 h 28"/>
                <a:gd name="T26" fmla="*/ 22 w 52"/>
                <a:gd name="T27" fmla="*/ 11 h 28"/>
                <a:gd name="T28" fmla="*/ 28 w 52"/>
                <a:gd name="T29" fmla="*/ 11 h 28"/>
                <a:gd name="T30" fmla="*/ 28 w 52"/>
                <a:gd name="T31" fmla="*/ 11 h 28"/>
                <a:gd name="T32" fmla="*/ 28 w 52"/>
                <a:gd name="T33" fmla="*/ 11 h 28"/>
                <a:gd name="T34" fmla="*/ 28 w 52"/>
                <a:gd name="T35" fmla="*/ 11 h 28"/>
                <a:gd name="T36" fmla="*/ 33 w 52"/>
                <a:gd name="T37" fmla="*/ 10 h 28"/>
                <a:gd name="T38" fmla="*/ 33 w 52"/>
                <a:gd name="T39" fmla="*/ 10 h 28"/>
                <a:gd name="T40" fmla="*/ 33 w 52"/>
                <a:gd name="T41" fmla="*/ 10 h 28"/>
                <a:gd name="T42" fmla="*/ 33 w 52"/>
                <a:gd name="T43" fmla="*/ 10 h 28"/>
                <a:gd name="T44" fmla="*/ 27 w 52"/>
                <a:gd name="T45" fmla="*/ 6 h 28"/>
                <a:gd name="T46" fmla="*/ 27 w 52"/>
                <a:gd name="T47" fmla="*/ 6 h 28"/>
                <a:gd name="T48" fmla="*/ 27 w 52"/>
                <a:gd name="T49" fmla="*/ 6 h 28"/>
                <a:gd name="T50" fmla="*/ 27 w 52"/>
                <a:gd name="T51" fmla="*/ 5 h 28"/>
                <a:gd name="T52" fmla="*/ 27 w 52"/>
                <a:gd name="T53" fmla="*/ 5 h 28"/>
                <a:gd name="T54" fmla="*/ 27 w 52"/>
                <a:gd name="T55" fmla="*/ 5 h 28"/>
                <a:gd name="T56" fmla="*/ 27 w 52"/>
                <a:gd name="T57" fmla="*/ 5 h 28"/>
                <a:gd name="T58" fmla="*/ 27 w 52"/>
                <a:gd name="T59" fmla="*/ 5 h 28"/>
                <a:gd name="T60" fmla="*/ 1 w 52"/>
                <a:gd name="T61" fmla="*/ 0 h 28"/>
                <a:gd name="T62" fmla="*/ 1 w 52"/>
                <a:gd name="T63" fmla="*/ 0 h 28"/>
                <a:gd name="T64" fmla="*/ 0 w 52"/>
                <a:gd name="T65" fmla="*/ 0 h 28"/>
                <a:gd name="T66" fmla="*/ 0 w 52"/>
                <a:gd name="T67" fmla="*/ 0 h 28"/>
                <a:gd name="T68" fmla="*/ 0 w 52"/>
                <a:gd name="T69" fmla="*/ 0 h 28"/>
                <a:gd name="T70" fmla="*/ 0 w 52"/>
                <a:gd name="T7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28">
                  <a:moveTo>
                    <a:pt x="49" y="28"/>
                  </a:moveTo>
                  <a:lnTo>
                    <a:pt x="49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  <a:moveTo>
                    <a:pt x="50" y="28"/>
                  </a:move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close/>
                  <a:moveTo>
                    <a:pt x="52" y="25"/>
                  </a:move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22" y="11"/>
                  </a:move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close/>
                  <a:moveTo>
                    <a:pt x="28" y="11"/>
                  </a:move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close/>
                  <a:moveTo>
                    <a:pt x="33" y="10"/>
                  </a:move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close/>
                  <a:moveTo>
                    <a:pt x="27" y="6"/>
                  </a:move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close/>
                  <a:moveTo>
                    <a:pt x="27" y="5"/>
                  </a:move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2" name="Freeform 128"/>
            <p:cNvSpPr>
              <a:spLocks noEditPoints="1"/>
            </p:cNvSpPr>
            <p:nvPr/>
          </p:nvSpPr>
          <p:spPr bwMode="auto">
            <a:xfrm>
              <a:off x="5431529" y="3819586"/>
              <a:ext cx="65266" cy="41335"/>
            </a:xfrm>
            <a:custGeom>
              <a:avLst/>
              <a:gdLst>
                <a:gd name="T0" fmla="*/ 50 w 50"/>
                <a:gd name="T1" fmla="*/ 30 h 30"/>
                <a:gd name="T2" fmla="*/ 50 w 50"/>
                <a:gd name="T3" fmla="*/ 30 h 30"/>
                <a:gd name="T4" fmla="*/ 49 w 50"/>
                <a:gd name="T5" fmla="*/ 30 h 30"/>
                <a:gd name="T6" fmla="*/ 48 w 50"/>
                <a:gd name="T7" fmla="*/ 30 h 30"/>
                <a:gd name="T8" fmla="*/ 50 w 50"/>
                <a:gd name="T9" fmla="*/ 30 h 30"/>
                <a:gd name="T10" fmla="*/ 24 w 50"/>
                <a:gd name="T11" fmla="*/ 13 h 30"/>
                <a:gd name="T12" fmla="*/ 24 w 50"/>
                <a:gd name="T13" fmla="*/ 13 h 30"/>
                <a:gd name="T14" fmla="*/ 25 w 50"/>
                <a:gd name="T15" fmla="*/ 14 h 30"/>
                <a:gd name="T16" fmla="*/ 26 w 50"/>
                <a:gd name="T17" fmla="*/ 15 h 30"/>
                <a:gd name="T18" fmla="*/ 25 w 50"/>
                <a:gd name="T19" fmla="*/ 15 h 30"/>
                <a:gd name="T20" fmla="*/ 24 w 50"/>
                <a:gd name="T21" fmla="*/ 14 h 30"/>
                <a:gd name="T22" fmla="*/ 24 w 50"/>
                <a:gd name="T23" fmla="*/ 14 h 30"/>
                <a:gd name="T24" fmla="*/ 24 w 50"/>
                <a:gd name="T25" fmla="*/ 14 h 30"/>
                <a:gd name="T26" fmla="*/ 23 w 50"/>
                <a:gd name="T27" fmla="*/ 14 h 30"/>
                <a:gd name="T28" fmla="*/ 22 w 50"/>
                <a:gd name="T29" fmla="*/ 13 h 30"/>
                <a:gd name="T30" fmla="*/ 23 w 50"/>
                <a:gd name="T31" fmla="*/ 13 h 30"/>
                <a:gd name="T32" fmla="*/ 20 w 50"/>
                <a:gd name="T33" fmla="*/ 12 h 30"/>
                <a:gd name="T34" fmla="*/ 21 w 50"/>
                <a:gd name="T35" fmla="*/ 12 h 30"/>
                <a:gd name="T36" fmla="*/ 21 w 50"/>
                <a:gd name="T37" fmla="*/ 13 h 30"/>
                <a:gd name="T38" fmla="*/ 21 w 50"/>
                <a:gd name="T39" fmla="*/ 13 h 30"/>
                <a:gd name="T40" fmla="*/ 21 w 50"/>
                <a:gd name="T41" fmla="*/ 13 h 30"/>
                <a:gd name="T42" fmla="*/ 20 w 50"/>
                <a:gd name="T43" fmla="*/ 13 h 30"/>
                <a:gd name="T44" fmla="*/ 20 w 50"/>
                <a:gd name="T45" fmla="*/ 12 h 30"/>
                <a:gd name="T46" fmla="*/ 20 w 50"/>
                <a:gd name="T47" fmla="*/ 12 h 30"/>
                <a:gd name="T48" fmla="*/ 24 w 50"/>
                <a:gd name="T49" fmla="*/ 11 h 30"/>
                <a:gd name="T50" fmla="*/ 25 w 50"/>
                <a:gd name="T51" fmla="*/ 11 h 30"/>
                <a:gd name="T52" fmla="*/ 26 w 50"/>
                <a:gd name="T53" fmla="*/ 11 h 30"/>
                <a:gd name="T54" fmla="*/ 27 w 50"/>
                <a:gd name="T55" fmla="*/ 12 h 30"/>
                <a:gd name="T56" fmla="*/ 27 w 50"/>
                <a:gd name="T57" fmla="*/ 12 h 30"/>
                <a:gd name="T58" fmla="*/ 28 w 50"/>
                <a:gd name="T59" fmla="*/ 13 h 30"/>
                <a:gd name="T60" fmla="*/ 28 w 50"/>
                <a:gd name="T61" fmla="*/ 13 h 30"/>
                <a:gd name="T62" fmla="*/ 27 w 50"/>
                <a:gd name="T63" fmla="*/ 12 h 30"/>
                <a:gd name="T64" fmla="*/ 25 w 50"/>
                <a:gd name="T65" fmla="*/ 12 h 30"/>
                <a:gd name="T66" fmla="*/ 25 w 50"/>
                <a:gd name="T67" fmla="*/ 12 h 30"/>
                <a:gd name="T68" fmla="*/ 24 w 50"/>
                <a:gd name="T69" fmla="*/ 11 h 30"/>
                <a:gd name="T70" fmla="*/ 24 w 50"/>
                <a:gd name="T71" fmla="*/ 11 h 30"/>
                <a:gd name="T72" fmla="*/ 24 w 50"/>
                <a:gd name="T73" fmla="*/ 11 h 30"/>
                <a:gd name="T74" fmla="*/ 33 w 50"/>
                <a:gd name="T75" fmla="*/ 10 h 30"/>
                <a:gd name="T76" fmla="*/ 33 w 50"/>
                <a:gd name="T77" fmla="*/ 10 h 30"/>
                <a:gd name="T78" fmla="*/ 33 w 50"/>
                <a:gd name="T79" fmla="*/ 10 h 30"/>
                <a:gd name="T80" fmla="*/ 34 w 50"/>
                <a:gd name="T81" fmla="*/ 11 h 30"/>
                <a:gd name="T82" fmla="*/ 33 w 50"/>
                <a:gd name="T83" fmla="*/ 11 h 30"/>
                <a:gd name="T84" fmla="*/ 33 w 50"/>
                <a:gd name="T85" fmla="*/ 11 h 30"/>
                <a:gd name="T86" fmla="*/ 33 w 50"/>
                <a:gd name="T87" fmla="*/ 11 h 30"/>
                <a:gd name="T88" fmla="*/ 33 w 50"/>
                <a:gd name="T89" fmla="*/ 11 h 30"/>
                <a:gd name="T90" fmla="*/ 33 w 50"/>
                <a:gd name="T91" fmla="*/ 12 h 30"/>
                <a:gd name="T92" fmla="*/ 32 w 50"/>
                <a:gd name="T93" fmla="*/ 12 h 30"/>
                <a:gd name="T94" fmla="*/ 31 w 50"/>
                <a:gd name="T95" fmla="*/ 11 h 30"/>
                <a:gd name="T96" fmla="*/ 32 w 50"/>
                <a:gd name="T97" fmla="*/ 10 h 30"/>
                <a:gd name="T98" fmla="*/ 26 w 50"/>
                <a:gd name="T99" fmla="*/ 7 h 30"/>
                <a:gd name="T100" fmla="*/ 27 w 50"/>
                <a:gd name="T101" fmla="*/ 8 h 30"/>
                <a:gd name="T102" fmla="*/ 25 w 50"/>
                <a:gd name="T103" fmla="*/ 8 h 30"/>
                <a:gd name="T104" fmla="*/ 26 w 50"/>
                <a:gd name="T105" fmla="*/ 7 h 30"/>
                <a:gd name="T106" fmla="*/ 1 w 50"/>
                <a:gd name="T107" fmla="*/ 2 h 30"/>
                <a:gd name="T108" fmla="*/ 1 w 50"/>
                <a:gd name="T109" fmla="*/ 3 h 30"/>
                <a:gd name="T110" fmla="*/ 1 w 50"/>
                <a:gd name="T111" fmla="*/ 3 h 30"/>
                <a:gd name="T112" fmla="*/ 1 w 50"/>
                <a:gd name="T113" fmla="*/ 4 h 30"/>
                <a:gd name="T114" fmla="*/ 0 w 50"/>
                <a:gd name="T115" fmla="*/ 3 h 30"/>
                <a:gd name="T116" fmla="*/ 1 w 50"/>
                <a:gd name="T117" fmla="*/ 2 h 30"/>
                <a:gd name="T118" fmla="*/ 1 w 50"/>
                <a:gd name="T119" fmla="*/ 0 h 30"/>
                <a:gd name="T120" fmla="*/ 1 w 50"/>
                <a:gd name="T1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" h="30">
                  <a:moveTo>
                    <a:pt x="50" y="30"/>
                  </a:move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49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50" y="30"/>
                  </a:lnTo>
                  <a:close/>
                  <a:moveTo>
                    <a:pt x="23" y="13"/>
                  </a:move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3"/>
                  </a:lnTo>
                  <a:close/>
                  <a:moveTo>
                    <a:pt x="20" y="12"/>
                  </a:move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24" y="11"/>
                  </a:moveTo>
                  <a:lnTo>
                    <a:pt x="24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close/>
                  <a:moveTo>
                    <a:pt x="32" y="10"/>
                  </a:move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close/>
                  <a:moveTo>
                    <a:pt x="26" y="7"/>
                  </a:move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6" y="7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0"/>
                  </a:move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3" name="Freeform 129"/>
            <p:cNvSpPr>
              <a:spLocks noEditPoints="1"/>
            </p:cNvSpPr>
            <p:nvPr/>
          </p:nvSpPr>
          <p:spPr bwMode="auto">
            <a:xfrm>
              <a:off x="5584253" y="3917412"/>
              <a:ext cx="6526" cy="45469"/>
            </a:xfrm>
            <a:custGeom>
              <a:avLst/>
              <a:gdLst>
                <a:gd name="T0" fmla="*/ 5 w 5"/>
                <a:gd name="T1" fmla="*/ 33 h 33"/>
                <a:gd name="T2" fmla="*/ 5 w 5"/>
                <a:gd name="T3" fmla="*/ 32 h 33"/>
                <a:gd name="T4" fmla="*/ 5 w 5"/>
                <a:gd name="T5" fmla="*/ 32 h 33"/>
                <a:gd name="T6" fmla="*/ 5 w 5"/>
                <a:gd name="T7" fmla="*/ 32 h 33"/>
                <a:gd name="T8" fmla="*/ 5 w 5"/>
                <a:gd name="T9" fmla="*/ 33 h 33"/>
                <a:gd name="T10" fmla="*/ 5 w 5"/>
                <a:gd name="T11" fmla="*/ 32 h 33"/>
                <a:gd name="T12" fmla="*/ 5 w 5"/>
                <a:gd name="T13" fmla="*/ 32 h 33"/>
                <a:gd name="T14" fmla="*/ 5 w 5"/>
                <a:gd name="T15" fmla="*/ 32 h 33"/>
                <a:gd name="T16" fmla="*/ 5 w 5"/>
                <a:gd name="T17" fmla="*/ 32 h 33"/>
                <a:gd name="T18" fmla="*/ 5 w 5"/>
                <a:gd name="T19" fmla="*/ 32 h 33"/>
                <a:gd name="T20" fmla="*/ 5 w 5"/>
                <a:gd name="T21" fmla="*/ 32 h 33"/>
                <a:gd name="T22" fmla="*/ 5 w 5"/>
                <a:gd name="T23" fmla="*/ 32 h 33"/>
                <a:gd name="T24" fmla="*/ 5 w 5"/>
                <a:gd name="T25" fmla="*/ 32 h 33"/>
                <a:gd name="T26" fmla="*/ 5 w 5"/>
                <a:gd name="T27" fmla="*/ 32 h 33"/>
                <a:gd name="T28" fmla="*/ 5 w 5"/>
                <a:gd name="T29" fmla="*/ 32 h 33"/>
                <a:gd name="T30" fmla="*/ 5 w 5"/>
                <a:gd name="T31" fmla="*/ 32 h 33"/>
                <a:gd name="T32" fmla="*/ 5 w 5"/>
                <a:gd name="T33" fmla="*/ 32 h 33"/>
                <a:gd name="T34" fmla="*/ 0 w 5"/>
                <a:gd name="T35" fmla="*/ 4 h 33"/>
                <a:gd name="T36" fmla="*/ 0 w 5"/>
                <a:gd name="T37" fmla="*/ 4 h 33"/>
                <a:gd name="T38" fmla="*/ 0 w 5"/>
                <a:gd name="T39" fmla="*/ 4 h 33"/>
                <a:gd name="T40" fmla="*/ 0 w 5"/>
                <a:gd name="T41" fmla="*/ 4 h 33"/>
                <a:gd name="T42" fmla="*/ 2 w 5"/>
                <a:gd name="T43" fmla="*/ 3 h 33"/>
                <a:gd name="T44" fmla="*/ 2 w 5"/>
                <a:gd name="T45" fmla="*/ 3 h 33"/>
                <a:gd name="T46" fmla="*/ 2 w 5"/>
                <a:gd name="T47" fmla="*/ 3 h 33"/>
                <a:gd name="T48" fmla="*/ 3 w 5"/>
                <a:gd name="T49" fmla="*/ 0 h 33"/>
                <a:gd name="T50" fmla="*/ 3 w 5"/>
                <a:gd name="T51" fmla="*/ 0 h 33"/>
                <a:gd name="T52" fmla="*/ 3 w 5"/>
                <a:gd name="T53" fmla="*/ 0 h 33"/>
                <a:gd name="T54" fmla="*/ 3 w 5"/>
                <a:gd name="T55" fmla="*/ 0 h 33"/>
                <a:gd name="T56" fmla="*/ 3 w 5"/>
                <a:gd name="T57" fmla="*/ 0 h 33"/>
                <a:gd name="T58" fmla="*/ 3 w 5"/>
                <a:gd name="T59" fmla="*/ 0 h 33"/>
                <a:gd name="T60" fmla="*/ 3 w 5"/>
                <a:gd name="T61" fmla="*/ 0 h 33"/>
                <a:gd name="T62" fmla="*/ 3 w 5"/>
                <a:gd name="T63" fmla="*/ 0 h 33"/>
                <a:gd name="T64" fmla="*/ 3 w 5"/>
                <a:gd name="T65" fmla="*/ 0 h 33"/>
                <a:gd name="T66" fmla="*/ 3 w 5"/>
                <a:gd name="T67" fmla="*/ 0 h 33"/>
                <a:gd name="T68" fmla="*/ 3 w 5"/>
                <a:gd name="T69" fmla="*/ 0 h 33"/>
                <a:gd name="T70" fmla="*/ 3 w 5"/>
                <a:gd name="T7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33">
                  <a:moveTo>
                    <a:pt x="5" y="33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4" name="Freeform 130"/>
            <p:cNvSpPr>
              <a:spLocks noEditPoints="1"/>
            </p:cNvSpPr>
            <p:nvPr/>
          </p:nvSpPr>
          <p:spPr bwMode="auto">
            <a:xfrm>
              <a:off x="5584253" y="3917412"/>
              <a:ext cx="9137" cy="45469"/>
            </a:xfrm>
            <a:custGeom>
              <a:avLst/>
              <a:gdLst>
                <a:gd name="T0" fmla="*/ 5 w 7"/>
                <a:gd name="T1" fmla="*/ 32 h 33"/>
                <a:gd name="T2" fmla="*/ 5 w 7"/>
                <a:gd name="T3" fmla="*/ 33 h 33"/>
                <a:gd name="T4" fmla="*/ 5 w 7"/>
                <a:gd name="T5" fmla="*/ 32 h 33"/>
                <a:gd name="T6" fmla="*/ 7 w 7"/>
                <a:gd name="T7" fmla="*/ 32 h 33"/>
                <a:gd name="T8" fmla="*/ 7 w 7"/>
                <a:gd name="T9" fmla="*/ 32 h 33"/>
                <a:gd name="T10" fmla="*/ 7 w 7"/>
                <a:gd name="T11" fmla="*/ 32 h 33"/>
                <a:gd name="T12" fmla="*/ 7 w 7"/>
                <a:gd name="T13" fmla="*/ 31 h 33"/>
                <a:gd name="T14" fmla="*/ 7 w 7"/>
                <a:gd name="T15" fmla="*/ 31 h 33"/>
                <a:gd name="T16" fmla="*/ 2 w 7"/>
                <a:gd name="T17" fmla="*/ 8 h 33"/>
                <a:gd name="T18" fmla="*/ 1 w 7"/>
                <a:gd name="T19" fmla="*/ 7 h 33"/>
                <a:gd name="T20" fmla="*/ 1 w 7"/>
                <a:gd name="T21" fmla="*/ 7 h 33"/>
                <a:gd name="T22" fmla="*/ 1 w 7"/>
                <a:gd name="T23" fmla="*/ 7 h 33"/>
                <a:gd name="T24" fmla="*/ 1 w 7"/>
                <a:gd name="T25" fmla="*/ 7 h 33"/>
                <a:gd name="T26" fmla="*/ 2 w 7"/>
                <a:gd name="T27" fmla="*/ 8 h 33"/>
                <a:gd name="T28" fmla="*/ 1 w 7"/>
                <a:gd name="T29" fmla="*/ 6 h 33"/>
                <a:gd name="T30" fmla="*/ 1 w 7"/>
                <a:gd name="T31" fmla="*/ 6 h 33"/>
                <a:gd name="T32" fmla="*/ 1 w 7"/>
                <a:gd name="T33" fmla="*/ 6 h 33"/>
                <a:gd name="T34" fmla="*/ 1 w 7"/>
                <a:gd name="T35" fmla="*/ 7 h 33"/>
                <a:gd name="T36" fmla="*/ 1 w 7"/>
                <a:gd name="T37" fmla="*/ 7 h 33"/>
                <a:gd name="T38" fmla="*/ 1 w 7"/>
                <a:gd name="T39" fmla="*/ 7 h 33"/>
                <a:gd name="T40" fmla="*/ 1 w 7"/>
                <a:gd name="T41" fmla="*/ 7 h 33"/>
                <a:gd name="T42" fmla="*/ 1 w 7"/>
                <a:gd name="T43" fmla="*/ 6 h 33"/>
                <a:gd name="T44" fmla="*/ 1 w 7"/>
                <a:gd name="T45" fmla="*/ 6 h 33"/>
                <a:gd name="T46" fmla="*/ 1 w 7"/>
                <a:gd name="T47" fmla="*/ 6 h 33"/>
                <a:gd name="T48" fmla="*/ 1 w 7"/>
                <a:gd name="T49" fmla="*/ 6 h 33"/>
                <a:gd name="T50" fmla="*/ 1 w 7"/>
                <a:gd name="T51" fmla="*/ 6 h 33"/>
                <a:gd name="T52" fmla="*/ 1 w 7"/>
                <a:gd name="T53" fmla="*/ 6 h 33"/>
                <a:gd name="T54" fmla="*/ 1 w 7"/>
                <a:gd name="T55" fmla="*/ 6 h 33"/>
                <a:gd name="T56" fmla="*/ 1 w 7"/>
                <a:gd name="T57" fmla="*/ 6 h 33"/>
                <a:gd name="T58" fmla="*/ 1 w 7"/>
                <a:gd name="T59" fmla="*/ 6 h 33"/>
                <a:gd name="T60" fmla="*/ 0 w 7"/>
                <a:gd name="T61" fmla="*/ 4 h 33"/>
                <a:gd name="T62" fmla="*/ 0 w 7"/>
                <a:gd name="T63" fmla="*/ 4 h 33"/>
                <a:gd name="T64" fmla="*/ 0 w 7"/>
                <a:gd name="T65" fmla="*/ 4 h 33"/>
                <a:gd name="T66" fmla="*/ 3 w 7"/>
                <a:gd name="T67" fmla="*/ 1 h 33"/>
                <a:gd name="T68" fmla="*/ 3 w 7"/>
                <a:gd name="T69" fmla="*/ 1 h 33"/>
                <a:gd name="T70" fmla="*/ 3 w 7"/>
                <a:gd name="T71" fmla="*/ 1 h 33"/>
                <a:gd name="T72" fmla="*/ 3 w 7"/>
                <a:gd name="T73" fmla="*/ 1 h 33"/>
                <a:gd name="T74" fmla="*/ 2 w 7"/>
                <a:gd name="T75" fmla="*/ 1 h 33"/>
                <a:gd name="T76" fmla="*/ 2 w 7"/>
                <a:gd name="T77" fmla="*/ 1 h 33"/>
                <a:gd name="T78" fmla="*/ 3 w 7"/>
                <a:gd name="T79" fmla="*/ 1 h 33"/>
                <a:gd name="T80" fmla="*/ 3 w 7"/>
                <a:gd name="T81" fmla="*/ 0 h 33"/>
                <a:gd name="T82" fmla="*/ 3 w 7"/>
                <a:gd name="T83" fmla="*/ 0 h 33"/>
                <a:gd name="T84" fmla="*/ 3 w 7"/>
                <a:gd name="T85" fmla="*/ 0 h 33"/>
                <a:gd name="T86" fmla="*/ 3 w 7"/>
                <a:gd name="T87" fmla="*/ 0 h 33"/>
                <a:gd name="T88" fmla="*/ 3 w 7"/>
                <a:gd name="T89" fmla="*/ 1 h 33"/>
                <a:gd name="T90" fmla="*/ 3 w 7"/>
                <a:gd name="T91" fmla="*/ 1 h 33"/>
                <a:gd name="T92" fmla="*/ 3 w 7"/>
                <a:gd name="T93" fmla="*/ 1 h 33"/>
                <a:gd name="T94" fmla="*/ 3 w 7"/>
                <a:gd name="T95" fmla="*/ 1 h 33"/>
                <a:gd name="T96" fmla="*/ 3 w 7"/>
                <a:gd name="T97" fmla="*/ 1 h 33"/>
                <a:gd name="T98" fmla="*/ 3 w 7"/>
                <a:gd name="T99" fmla="*/ 1 h 33"/>
                <a:gd name="T100" fmla="*/ 2 w 7"/>
                <a:gd name="T101" fmla="*/ 1 h 33"/>
                <a:gd name="T102" fmla="*/ 3 w 7"/>
                <a:gd name="T103" fmla="*/ 1 h 33"/>
                <a:gd name="T104" fmla="*/ 3 w 7"/>
                <a:gd name="T105" fmla="*/ 0 h 33"/>
                <a:gd name="T106" fmla="*/ 3 w 7"/>
                <a:gd name="T107" fmla="*/ 0 h 33"/>
                <a:gd name="T108" fmla="*/ 3 w 7"/>
                <a:gd name="T10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" h="33"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7" y="31"/>
                  </a:move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8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2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5" name="Freeform 131"/>
            <p:cNvSpPr>
              <a:spLocks noEditPoints="1"/>
            </p:cNvSpPr>
            <p:nvPr/>
          </p:nvSpPr>
          <p:spPr bwMode="auto">
            <a:xfrm>
              <a:off x="5658656" y="3789273"/>
              <a:ext cx="20885" cy="71647"/>
            </a:xfrm>
            <a:custGeom>
              <a:avLst/>
              <a:gdLst>
                <a:gd name="T0" fmla="*/ 14 w 16"/>
                <a:gd name="T1" fmla="*/ 52 h 52"/>
                <a:gd name="T2" fmla="*/ 13 w 16"/>
                <a:gd name="T3" fmla="*/ 52 h 52"/>
                <a:gd name="T4" fmla="*/ 13 w 16"/>
                <a:gd name="T5" fmla="*/ 52 h 52"/>
                <a:gd name="T6" fmla="*/ 14 w 16"/>
                <a:gd name="T7" fmla="*/ 52 h 52"/>
                <a:gd name="T8" fmla="*/ 14 w 16"/>
                <a:gd name="T9" fmla="*/ 52 h 52"/>
                <a:gd name="T10" fmla="*/ 14 w 16"/>
                <a:gd name="T11" fmla="*/ 52 h 52"/>
                <a:gd name="T12" fmla="*/ 5 w 16"/>
                <a:gd name="T13" fmla="*/ 52 h 52"/>
                <a:gd name="T14" fmla="*/ 16 w 16"/>
                <a:gd name="T15" fmla="*/ 51 h 52"/>
                <a:gd name="T16" fmla="*/ 16 w 16"/>
                <a:gd name="T17" fmla="*/ 51 h 52"/>
                <a:gd name="T18" fmla="*/ 16 w 16"/>
                <a:gd name="T19" fmla="*/ 51 h 52"/>
                <a:gd name="T20" fmla="*/ 16 w 16"/>
                <a:gd name="T21" fmla="*/ 51 h 52"/>
                <a:gd name="T22" fmla="*/ 16 w 16"/>
                <a:gd name="T23" fmla="*/ 50 h 52"/>
                <a:gd name="T24" fmla="*/ 16 w 16"/>
                <a:gd name="T25" fmla="*/ 50 h 52"/>
                <a:gd name="T26" fmla="*/ 16 w 16"/>
                <a:gd name="T27" fmla="*/ 50 h 52"/>
                <a:gd name="T28" fmla="*/ 6 w 16"/>
                <a:gd name="T29" fmla="*/ 42 h 52"/>
                <a:gd name="T30" fmla="*/ 6 w 16"/>
                <a:gd name="T31" fmla="*/ 42 h 52"/>
                <a:gd name="T32" fmla="*/ 7 w 16"/>
                <a:gd name="T33" fmla="*/ 36 h 52"/>
                <a:gd name="T34" fmla="*/ 7 w 16"/>
                <a:gd name="T35" fmla="*/ 36 h 52"/>
                <a:gd name="T36" fmla="*/ 7 w 16"/>
                <a:gd name="T37" fmla="*/ 36 h 52"/>
                <a:gd name="T38" fmla="*/ 7 w 16"/>
                <a:gd name="T39" fmla="*/ 35 h 52"/>
                <a:gd name="T40" fmla="*/ 7 w 16"/>
                <a:gd name="T41" fmla="*/ 35 h 52"/>
                <a:gd name="T42" fmla="*/ 7 w 16"/>
                <a:gd name="T43" fmla="*/ 35 h 52"/>
                <a:gd name="T44" fmla="*/ 7 w 16"/>
                <a:gd name="T45" fmla="*/ 35 h 52"/>
                <a:gd name="T46" fmla="*/ 7 w 16"/>
                <a:gd name="T47" fmla="*/ 35 h 52"/>
                <a:gd name="T48" fmla="*/ 6 w 16"/>
                <a:gd name="T49" fmla="*/ 35 h 52"/>
                <a:gd name="T50" fmla="*/ 6 w 16"/>
                <a:gd name="T51" fmla="*/ 35 h 52"/>
                <a:gd name="T52" fmla="*/ 4 w 16"/>
                <a:gd name="T53" fmla="*/ 34 h 52"/>
                <a:gd name="T54" fmla="*/ 4 w 16"/>
                <a:gd name="T55" fmla="*/ 34 h 52"/>
                <a:gd name="T56" fmla="*/ 2 w 16"/>
                <a:gd name="T57" fmla="*/ 34 h 52"/>
                <a:gd name="T58" fmla="*/ 2 w 16"/>
                <a:gd name="T59" fmla="*/ 34 h 52"/>
                <a:gd name="T60" fmla="*/ 4 w 16"/>
                <a:gd name="T61" fmla="*/ 33 h 52"/>
                <a:gd name="T62" fmla="*/ 4 w 16"/>
                <a:gd name="T63" fmla="*/ 33 h 52"/>
                <a:gd name="T64" fmla="*/ 5 w 16"/>
                <a:gd name="T65" fmla="*/ 32 h 52"/>
                <a:gd name="T66" fmla="*/ 5 w 16"/>
                <a:gd name="T67" fmla="*/ 32 h 52"/>
                <a:gd name="T68" fmla="*/ 5 w 16"/>
                <a:gd name="T69" fmla="*/ 32 h 52"/>
                <a:gd name="T70" fmla="*/ 0 w 16"/>
                <a:gd name="T71" fmla="*/ 24 h 52"/>
                <a:gd name="T72" fmla="*/ 0 w 16"/>
                <a:gd name="T73" fmla="*/ 24 h 52"/>
                <a:gd name="T74" fmla="*/ 0 w 16"/>
                <a:gd name="T75" fmla="*/ 24 h 52"/>
                <a:gd name="T76" fmla="*/ 0 w 16"/>
                <a:gd name="T77" fmla="*/ 24 h 52"/>
                <a:gd name="T78" fmla="*/ 7 w 16"/>
                <a:gd name="T79" fmla="*/ 11 h 52"/>
                <a:gd name="T80" fmla="*/ 7 w 16"/>
                <a:gd name="T81" fmla="*/ 11 h 52"/>
                <a:gd name="T82" fmla="*/ 7 w 16"/>
                <a:gd name="T83" fmla="*/ 11 h 52"/>
                <a:gd name="T84" fmla="*/ 7 w 16"/>
                <a:gd name="T85" fmla="*/ 11 h 52"/>
                <a:gd name="T86" fmla="*/ 7 w 16"/>
                <a:gd name="T87" fmla="*/ 11 h 52"/>
                <a:gd name="T88" fmla="*/ 7 w 16"/>
                <a:gd name="T89" fmla="*/ 11 h 52"/>
                <a:gd name="T90" fmla="*/ 7 w 16"/>
                <a:gd name="T91" fmla="*/ 11 h 52"/>
                <a:gd name="T92" fmla="*/ 7 w 16"/>
                <a:gd name="T93" fmla="*/ 11 h 52"/>
                <a:gd name="T94" fmla="*/ 7 w 16"/>
                <a:gd name="T95" fmla="*/ 11 h 52"/>
                <a:gd name="T96" fmla="*/ 7 w 16"/>
                <a:gd name="T97" fmla="*/ 11 h 52"/>
                <a:gd name="T98" fmla="*/ 7 w 16"/>
                <a:gd name="T99" fmla="*/ 11 h 52"/>
                <a:gd name="T100" fmla="*/ 6 w 16"/>
                <a:gd name="T101" fmla="*/ 0 h 52"/>
                <a:gd name="T102" fmla="*/ 7 w 16"/>
                <a:gd name="T10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52"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3" y="52"/>
                  </a:move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5" y="52"/>
                  </a:move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6" y="42"/>
                  </a:move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6" y="35"/>
                  </a:move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2" y="34"/>
                  </a:move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5" y="32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6" name="Freeform 132"/>
            <p:cNvSpPr>
              <a:spLocks noEditPoints="1"/>
            </p:cNvSpPr>
            <p:nvPr/>
          </p:nvSpPr>
          <p:spPr bwMode="auto">
            <a:xfrm>
              <a:off x="5658656" y="3786518"/>
              <a:ext cx="18275" cy="74403"/>
            </a:xfrm>
            <a:custGeom>
              <a:avLst/>
              <a:gdLst>
                <a:gd name="T0" fmla="*/ 14 w 14"/>
                <a:gd name="T1" fmla="*/ 54 h 54"/>
                <a:gd name="T2" fmla="*/ 14 w 14"/>
                <a:gd name="T3" fmla="*/ 54 h 54"/>
                <a:gd name="T4" fmla="*/ 14 w 14"/>
                <a:gd name="T5" fmla="*/ 54 h 54"/>
                <a:gd name="T6" fmla="*/ 14 w 14"/>
                <a:gd name="T7" fmla="*/ 54 h 54"/>
                <a:gd name="T8" fmla="*/ 14 w 14"/>
                <a:gd name="T9" fmla="*/ 54 h 54"/>
                <a:gd name="T10" fmla="*/ 14 w 14"/>
                <a:gd name="T11" fmla="*/ 54 h 54"/>
                <a:gd name="T12" fmla="*/ 14 w 14"/>
                <a:gd name="T13" fmla="*/ 54 h 54"/>
                <a:gd name="T14" fmla="*/ 14 w 14"/>
                <a:gd name="T15" fmla="*/ 54 h 54"/>
                <a:gd name="T16" fmla="*/ 13 w 14"/>
                <a:gd name="T17" fmla="*/ 54 h 54"/>
                <a:gd name="T18" fmla="*/ 13 w 14"/>
                <a:gd name="T19" fmla="*/ 54 h 54"/>
                <a:gd name="T20" fmla="*/ 13 w 14"/>
                <a:gd name="T21" fmla="*/ 54 h 54"/>
                <a:gd name="T22" fmla="*/ 14 w 14"/>
                <a:gd name="T23" fmla="*/ 54 h 54"/>
                <a:gd name="T24" fmla="*/ 14 w 14"/>
                <a:gd name="T25" fmla="*/ 54 h 54"/>
                <a:gd name="T26" fmla="*/ 14 w 14"/>
                <a:gd name="T27" fmla="*/ 54 h 54"/>
                <a:gd name="T28" fmla="*/ 14 w 14"/>
                <a:gd name="T29" fmla="*/ 54 h 54"/>
                <a:gd name="T30" fmla="*/ 14 w 14"/>
                <a:gd name="T31" fmla="*/ 54 h 54"/>
                <a:gd name="T32" fmla="*/ 13 w 14"/>
                <a:gd name="T33" fmla="*/ 54 h 54"/>
                <a:gd name="T34" fmla="*/ 13 w 14"/>
                <a:gd name="T35" fmla="*/ 54 h 54"/>
                <a:gd name="T36" fmla="*/ 13 w 14"/>
                <a:gd name="T37" fmla="*/ 54 h 54"/>
                <a:gd name="T38" fmla="*/ 13 w 14"/>
                <a:gd name="T39" fmla="*/ 54 h 54"/>
                <a:gd name="T40" fmla="*/ 13 w 14"/>
                <a:gd name="T41" fmla="*/ 54 h 54"/>
                <a:gd name="T42" fmla="*/ 13 w 14"/>
                <a:gd name="T43" fmla="*/ 54 h 54"/>
                <a:gd name="T44" fmla="*/ 14 w 14"/>
                <a:gd name="T45" fmla="*/ 54 h 54"/>
                <a:gd name="T46" fmla="*/ 14 w 14"/>
                <a:gd name="T47" fmla="*/ 54 h 54"/>
                <a:gd name="T48" fmla="*/ 14 w 14"/>
                <a:gd name="T49" fmla="*/ 53 h 54"/>
                <a:gd name="T50" fmla="*/ 7 w 14"/>
                <a:gd name="T51" fmla="*/ 38 h 54"/>
                <a:gd name="T52" fmla="*/ 7 w 14"/>
                <a:gd name="T53" fmla="*/ 38 h 54"/>
                <a:gd name="T54" fmla="*/ 7 w 14"/>
                <a:gd name="T55" fmla="*/ 38 h 54"/>
                <a:gd name="T56" fmla="*/ 7 w 14"/>
                <a:gd name="T57" fmla="*/ 38 h 54"/>
                <a:gd name="T58" fmla="*/ 7 w 14"/>
                <a:gd name="T59" fmla="*/ 38 h 54"/>
                <a:gd name="T60" fmla="*/ 7 w 14"/>
                <a:gd name="T61" fmla="*/ 38 h 54"/>
                <a:gd name="T62" fmla="*/ 7 w 14"/>
                <a:gd name="T63" fmla="*/ 38 h 54"/>
                <a:gd name="T64" fmla="*/ 6 w 14"/>
                <a:gd name="T65" fmla="*/ 37 h 54"/>
                <a:gd name="T66" fmla="*/ 7 w 14"/>
                <a:gd name="T67" fmla="*/ 37 h 54"/>
                <a:gd name="T68" fmla="*/ 4 w 14"/>
                <a:gd name="T69" fmla="*/ 34 h 54"/>
                <a:gd name="T70" fmla="*/ 4 w 14"/>
                <a:gd name="T71" fmla="*/ 33 h 54"/>
                <a:gd name="T72" fmla="*/ 4 w 14"/>
                <a:gd name="T73" fmla="*/ 33 h 54"/>
                <a:gd name="T74" fmla="*/ 4 w 14"/>
                <a:gd name="T75" fmla="*/ 33 h 54"/>
                <a:gd name="T76" fmla="*/ 4 w 14"/>
                <a:gd name="T77" fmla="*/ 33 h 54"/>
                <a:gd name="T78" fmla="*/ 4 w 14"/>
                <a:gd name="T79" fmla="*/ 33 h 54"/>
                <a:gd name="T80" fmla="*/ 5 w 14"/>
                <a:gd name="T81" fmla="*/ 33 h 54"/>
                <a:gd name="T82" fmla="*/ 5 w 14"/>
                <a:gd name="T83" fmla="*/ 33 h 54"/>
                <a:gd name="T84" fmla="*/ 4 w 14"/>
                <a:gd name="T85" fmla="*/ 33 h 54"/>
                <a:gd name="T86" fmla="*/ 4 w 14"/>
                <a:gd name="T87" fmla="*/ 33 h 54"/>
                <a:gd name="T88" fmla="*/ 4 w 14"/>
                <a:gd name="T89" fmla="*/ 33 h 54"/>
                <a:gd name="T90" fmla="*/ 0 w 14"/>
                <a:gd name="T91" fmla="*/ 28 h 54"/>
                <a:gd name="T92" fmla="*/ 0 w 14"/>
                <a:gd name="T93" fmla="*/ 27 h 54"/>
                <a:gd name="T94" fmla="*/ 0 w 14"/>
                <a:gd name="T95" fmla="*/ 28 h 54"/>
                <a:gd name="T96" fmla="*/ 7 w 14"/>
                <a:gd name="T97" fmla="*/ 13 h 54"/>
                <a:gd name="T98" fmla="*/ 7 w 14"/>
                <a:gd name="T99" fmla="*/ 13 h 54"/>
                <a:gd name="T100" fmla="*/ 7 w 14"/>
                <a:gd name="T101" fmla="*/ 14 h 54"/>
                <a:gd name="T102" fmla="*/ 7 w 14"/>
                <a:gd name="T103" fmla="*/ 13 h 54"/>
                <a:gd name="T104" fmla="*/ 7 w 14"/>
                <a:gd name="T105" fmla="*/ 13 h 54"/>
                <a:gd name="T106" fmla="*/ 7 w 14"/>
                <a:gd name="T107" fmla="*/ 13 h 54"/>
                <a:gd name="T108" fmla="*/ 7 w 14"/>
                <a:gd name="T109" fmla="*/ 0 h 54"/>
                <a:gd name="T110" fmla="*/ 7 w 14"/>
                <a:gd name="T1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" h="54"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3" y="54"/>
                  </a:move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7" y="38"/>
                  </a:move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close/>
                  <a:moveTo>
                    <a:pt x="7" y="37"/>
                  </a:move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  <a:moveTo>
                    <a:pt x="7" y="13"/>
                  </a:move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7" name="Freeform 133"/>
            <p:cNvSpPr>
              <a:spLocks/>
            </p:cNvSpPr>
            <p:nvPr/>
          </p:nvSpPr>
          <p:spPr bwMode="auto">
            <a:xfrm>
              <a:off x="5847929" y="3769984"/>
              <a:ext cx="11748" cy="24801"/>
            </a:xfrm>
            <a:custGeom>
              <a:avLst/>
              <a:gdLst>
                <a:gd name="T0" fmla="*/ 8 w 9"/>
                <a:gd name="T1" fmla="*/ 0 h 18"/>
                <a:gd name="T2" fmla="*/ 8 w 9"/>
                <a:gd name="T3" fmla="*/ 2 h 18"/>
                <a:gd name="T4" fmla="*/ 8 w 9"/>
                <a:gd name="T5" fmla="*/ 4 h 18"/>
                <a:gd name="T6" fmla="*/ 9 w 9"/>
                <a:gd name="T7" fmla="*/ 5 h 18"/>
                <a:gd name="T8" fmla="*/ 9 w 9"/>
                <a:gd name="T9" fmla="*/ 7 h 18"/>
                <a:gd name="T10" fmla="*/ 9 w 9"/>
                <a:gd name="T11" fmla="*/ 8 h 18"/>
                <a:gd name="T12" fmla="*/ 9 w 9"/>
                <a:gd name="T13" fmla="*/ 10 h 18"/>
                <a:gd name="T14" fmla="*/ 7 w 9"/>
                <a:gd name="T15" fmla="*/ 11 h 18"/>
                <a:gd name="T16" fmla="*/ 7 w 9"/>
                <a:gd name="T17" fmla="*/ 13 h 18"/>
                <a:gd name="T18" fmla="*/ 7 w 9"/>
                <a:gd name="T19" fmla="*/ 15 h 18"/>
                <a:gd name="T20" fmla="*/ 7 w 9"/>
                <a:gd name="T21" fmla="*/ 15 h 18"/>
                <a:gd name="T22" fmla="*/ 7 w 9"/>
                <a:gd name="T23" fmla="*/ 15 h 18"/>
                <a:gd name="T24" fmla="*/ 7 w 9"/>
                <a:gd name="T25" fmla="*/ 15 h 18"/>
                <a:gd name="T26" fmla="*/ 7 w 9"/>
                <a:gd name="T27" fmla="*/ 15 h 18"/>
                <a:gd name="T28" fmla="*/ 6 w 9"/>
                <a:gd name="T29" fmla="*/ 15 h 18"/>
                <a:gd name="T30" fmla="*/ 7 w 9"/>
                <a:gd name="T31" fmla="*/ 15 h 18"/>
                <a:gd name="T32" fmla="*/ 6 w 9"/>
                <a:gd name="T33" fmla="*/ 17 h 18"/>
                <a:gd name="T34" fmla="*/ 7 w 9"/>
                <a:gd name="T35" fmla="*/ 17 h 18"/>
                <a:gd name="T36" fmla="*/ 6 w 9"/>
                <a:gd name="T37" fmla="*/ 17 h 18"/>
                <a:gd name="T38" fmla="*/ 6 w 9"/>
                <a:gd name="T39" fmla="*/ 17 h 18"/>
                <a:gd name="T40" fmla="*/ 6 w 9"/>
                <a:gd name="T41" fmla="*/ 18 h 18"/>
                <a:gd name="T42" fmla="*/ 5 w 9"/>
                <a:gd name="T43" fmla="*/ 17 h 18"/>
                <a:gd name="T44" fmla="*/ 4 w 9"/>
                <a:gd name="T45" fmla="*/ 17 h 18"/>
                <a:gd name="T46" fmla="*/ 4 w 9"/>
                <a:gd name="T47" fmla="*/ 17 h 18"/>
                <a:gd name="T48" fmla="*/ 4 w 9"/>
                <a:gd name="T49" fmla="*/ 17 h 18"/>
                <a:gd name="T50" fmla="*/ 3 w 9"/>
                <a:gd name="T51" fmla="*/ 16 h 18"/>
                <a:gd name="T52" fmla="*/ 3 w 9"/>
                <a:gd name="T53" fmla="*/ 16 h 18"/>
                <a:gd name="T54" fmla="*/ 3 w 9"/>
                <a:gd name="T55" fmla="*/ 15 h 18"/>
                <a:gd name="T56" fmla="*/ 3 w 9"/>
                <a:gd name="T57" fmla="*/ 14 h 18"/>
                <a:gd name="T58" fmla="*/ 3 w 9"/>
                <a:gd name="T59" fmla="*/ 14 h 18"/>
                <a:gd name="T60" fmla="*/ 3 w 9"/>
                <a:gd name="T61" fmla="*/ 14 h 18"/>
                <a:gd name="T62" fmla="*/ 2 w 9"/>
                <a:gd name="T63" fmla="*/ 14 h 18"/>
                <a:gd name="T64" fmla="*/ 2 w 9"/>
                <a:gd name="T65" fmla="*/ 13 h 18"/>
                <a:gd name="T66" fmla="*/ 3 w 9"/>
                <a:gd name="T67" fmla="*/ 12 h 18"/>
                <a:gd name="T68" fmla="*/ 2 w 9"/>
                <a:gd name="T69" fmla="*/ 12 h 18"/>
                <a:gd name="T70" fmla="*/ 2 w 9"/>
                <a:gd name="T71" fmla="*/ 12 h 18"/>
                <a:gd name="T72" fmla="*/ 2 w 9"/>
                <a:gd name="T73" fmla="*/ 11 h 18"/>
                <a:gd name="T74" fmla="*/ 1 w 9"/>
                <a:gd name="T75" fmla="*/ 12 h 18"/>
                <a:gd name="T76" fmla="*/ 2 w 9"/>
                <a:gd name="T77" fmla="*/ 11 h 18"/>
                <a:gd name="T78" fmla="*/ 2 w 9"/>
                <a:gd name="T79" fmla="*/ 10 h 18"/>
                <a:gd name="T80" fmla="*/ 1 w 9"/>
                <a:gd name="T81" fmla="*/ 9 h 18"/>
                <a:gd name="T82" fmla="*/ 0 w 9"/>
                <a:gd name="T83" fmla="*/ 9 h 18"/>
                <a:gd name="T84" fmla="*/ 0 w 9"/>
                <a:gd name="T85" fmla="*/ 8 h 18"/>
                <a:gd name="T86" fmla="*/ 1 w 9"/>
                <a:gd name="T87" fmla="*/ 8 h 18"/>
                <a:gd name="T88" fmla="*/ 1 w 9"/>
                <a:gd name="T89" fmla="*/ 8 h 18"/>
                <a:gd name="T90" fmla="*/ 1 w 9"/>
                <a:gd name="T91" fmla="*/ 7 h 18"/>
                <a:gd name="T92" fmla="*/ 1 w 9"/>
                <a:gd name="T93" fmla="*/ 7 h 18"/>
                <a:gd name="T94" fmla="*/ 0 w 9"/>
                <a:gd name="T95" fmla="*/ 7 h 18"/>
                <a:gd name="T96" fmla="*/ 2 w 9"/>
                <a:gd name="T97" fmla="*/ 6 h 18"/>
                <a:gd name="T98" fmla="*/ 2 w 9"/>
                <a:gd name="T99" fmla="*/ 5 h 18"/>
                <a:gd name="T100" fmla="*/ 2 w 9"/>
                <a:gd name="T101" fmla="*/ 4 h 18"/>
                <a:gd name="T102" fmla="*/ 2 w 9"/>
                <a:gd name="T103" fmla="*/ 4 h 18"/>
                <a:gd name="T104" fmla="*/ 3 w 9"/>
                <a:gd name="T105" fmla="*/ 4 h 18"/>
                <a:gd name="T106" fmla="*/ 3 w 9"/>
                <a:gd name="T107" fmla="*/ 4 h 18"/>
                <a:gd name="T108" fmla="*/ 4 w 9"/>
                <a:gd name="T109" fmla="*/ 3 h 18"/>
                <a:gd name="T110" fmla="*/ 6 w 9"/>
                <a:gd name="T111" fmla="*/ 3 h 18"/>
                <a:gd name="T112" fmla="*/ 7 w 9"/>
                <a:gd name="T113" fmla="*/ 3 h 18"/>
                <a:gd name="T114" fmla="*/ 7 w 9"/>
                <a:gd name="T115" fmla="*/ 1 h 18"/>
                <a:gd name="T116" fmla="*/ 7 w 9"/>
                <a:gd name="T117" fmla="*/ 0 h 18"/>
                <a:gd name="T118" fmla="*/ 7 w 9"/>
                <a:gd name="T1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" h="18">
                  <a:moveTo>
                    <a:pt x="7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8" name="Freeform 134"/>
            <p:cNvSpPr>
              <a:spLocks noEditPoints="1"/>
            </p:cNvSpPr>
            <p:nvPr/>
          </p:nvSpPr>
          <p:spPr bwMode="auto">
            <a:xfrm>
              <a:off x="5709564" y="3640468"/>
              <a:ext cx="135754" cy="139161"/>
            </a:xfrm>
            <a:custGeom>
              <a:avLst/>
              <a:gdLst>
                <a:gd name="T0" fmla="*/ 80 w 104"/>
                <a:gd name="T1" fmla="*/ 91 h 101"/>
                <a:gd name="T2" fmla="*/ 63 w 104"/>
                <a:gd name="T3" fmla="*/ 93 h 101"/>
                <a:gd name="T4" fmla="*/ 62 w 104"/>
                <a:gd name="T5" fmla="*/ 95 h 101"/>
                <a:gd name="T6" fmla="*/ 59 w 104"/>
                <a:gd name="T7" fmla="*/ 101 h 101"/>
                <a:gd name="T8" fmla="*/ 50 w 104"/>
                <a:gd name="T9" fmla="*/ 98 h 101"/>
                <a:gd name="T10" fmla="*/ 41 w 104"/>
                <a:gd name="T11" fmla="*/ 97 h 101"/>
                <a:gd name="T12" fmla="*/ 30 w 104"/>
                <a:gd name="T13" fmla="*/ 94 h 101"/>
                <a:gd name="T14" fmla="*/ 24 w 104"/>
                <a:gd name="T15" fmla="*/ 89 h 101"/>
                <a:gd name="T16" fmla="*/ 27 w 104"/>
                <a:gd name="T17" fmla="*/ 80 h 101"/>
                <a:gd name="T18" fmla="*/ 28 w 104"/>
                <a:gd name="T19" fmla="*/ 66 h 101"/>
                <a:gd name="T20" fmla="*/ 35 w 104"/>
                <a:gd name="T21" fmla="*/ 75 h 101"/>
                <a:gd name="T22" fmla="*/ 36 w 104"/>
                <a:gd name="T23" fmla="*/ 73 h 101"/>
                <a:gd name="T24" fmla="*/ 28 w 104"/>
                <a:gd name="T25" fmla="*/ 64 h 101"/>
                <a:gd name="T26" fmla="*/ 30 w 104"/>
                <a:gd name="T27" fmla="*/ 60 h 101"/>
                <a:gd name="T28" fmla="*/ 24 w 104"/>
                <a:gd name="T29" fmla="*/ 54 h 101"/>
                <a:gd name="T30" fmla="*/ 22 w 104"/>
                <a:gd name="T31" fmla="*/ 45 h 101"/>
                <a:gd name="T32" fmla="*/ 23 w 104"/>
                <a:gd name="T33" fmla="*/ 46 h 101"/>
                <a:gd name="T34" fmla="*/ 19 w 104"/>
                <a:gd name="T35" fmla="*/ 45 h 101"/>
                <a:gd name="T36" fmla="*/ 16 w 104"/>
                <a:gd name="T37" fmla="*/ 42 h 101"/>
                <a:gd name="T38" fmla="*/ 16 w 104"/>
                <a:gd name="T39" fmla="*/ 41 h 101"/>
                <a:gd name="T40" fmla="*/ 13 w 104"/>
                <a:gd name="T41" fmla="*/ 43 h 101"/>
                <a:gd name="T42" fmla="*/ 12 w 104"/>
                <a:gd name="T43" fmla="*/ 40 h 101"/>
                <a:gd name="T44" fmla="*/ 8 w 104"/>
                <a:gd name="T45" fmla="*/ 39 h 101"/>
                <a:gd name="T46" fmla="*/ 3 w 104"/>
                <a:gd name="T47" fmla="*/ 39 h 101"/>
                <a:gd name="T48" fmla="*/ 2 w 104"/>
                <a:gd name="T49" fmla="*/ 34 h 101"/>
                <a:gd name="T50" fmla="*/ 4 w 104"/>
                <a:gd name="T51" fmla="*/ 34 h 101"/>
                <a:gd name="T52" fmla="*/ 2 w 104"/>
                <a:gd name="T53" fmla="*/ 32 h 101"/>
                <a:gd name="T54" fmla="*/ 1 w 104"/>
                <a:gd name="T55" fmla="*/ 30 h 101"/>
                <a:gd name="T56" fmla="*/ 6 w 104"/>
                <a:gd name="T57" fmla="*/ 29 h 101"/>
                <a:gd name="T58" fmla="*/ 9 w 104"/>
                <a:gd name="T59" fmla="*/ 27 h 101"/>
                <a:gd name="T60" fmla="*/ 13 w 104"/>
                <a:gd name="T61" fmla="*/ 27 h 101"/>
                <a:gd name="T62" fmla="*/ 18 w 104"/>
                <a:gd name="T63" fmla="*/ 30 h 101"/>
                <a:gd name="T64" fmla="*/ 22 w 104"/>
                <a:gd name="T65" fmla="*/ 30 h 101"/>
                <a:gd name="T66" fmla="*/ 26 w 104"/>
                <a:gd name="T67" fmla="*/ 27 h 101"/>
                <a:gd name="T68" fmla="*/ 23 w 104"/>
                <a:gd name="T69" fmla="*/ 19 h 101"/>
                <a:gd name="T70" fmla="*/ 28 w 104"/>
                <a:gd name="T71" fmla="*/ 19 h 101"/>
                <a:gd name="T72" fmla="*/ 40 w 104"/>
                <a:gd name="T73" fmla="*/ 20 h 101"/>
                <a:gd name="T74" fmla="*/ 40 w 104"/>
                <a:gd name="T75" fmla="*/ 20 h 101"/>
                <a:gd name="T76" fmla="*/ 44 w 104"/>
                <a:gd name="T77" fmla="*/ 14 h 101"/>
                <a:gd name="T78" fmla="*/ 50 w 104"/>
                <a:gd name="T79" fmla="*/ 9 h 101"/>
                <a:gd name="T80" fmla="*/ 55 w 104"/>
                <a:gd name="T81" fmla="*/ 1 h 101"/>
                <a:gd name="T82" fmla="*/ 61 w 104"/>
                <a:gd name="T83" fmla="*/ 5 h 101"/>
                <a:gd name="T84" fmla="*/ 68 w 104"/>
                <a:gd name="T85" fmla="*/ 9 h 101"/>
                <a:gd name="T86" fmla="*/ 75 w 104"/>
                <a:gd name="T87" fmla="*/ 13 h 101"/>
                <a:gd name="T88" fmla="*/ 80 w 104"/>
                <a:gd name="T89" fmla="*/ 17 h 101"/>
                <a:gd name="T90" fmla="*/ 90 w 104"/>
                <a:gd name="T91" fmla="*/ 20 h 101"/>
                <a:gd name="T92" fmla="*/ 97 w 104"/>
                <a:gd name="T93" fmla="*/ 23 h 101"/>
                <a:gd name="T94" fmla="*/ 101 w 104"/>
                <a:gd name="T95" fmla="*/ 29 h 101"/>
                <a:gd name="T96" fmla="*/ 98 w 104"/>
                <a:gd name="T97" fmla="*/ 43 h 101"/>
                <a:gd name="T98" fmla="*/ 93 w 104"/>
                <a:gd name="T99" fmla="*/ 46 h 101"/>
                <a:gd name="T100" fmla="*/ 87 w 104"/>
                <a:gd name="T101" fmla="*/ 56 h 101"/>
                <a:gd name="T102" fmla="*/ 93 w 104"/>
                <a:gd name="T103" fmla="*/ 56 h 101"/>
                <a:gd name="T104" fmla="*/ 94 w 104"/>
                <a:gd name="T105" fmla="*/ 65 h 101"/>
                <a:gd name="T106" fmla="*/ 94 w 104"/>
                <a:gd name="T107" fmla="*/ 73 h 101"/>
                <a:gd name="T108" fmla="*/ 99 w 104"/>
                <a:gd name="T109" fmla="*/ 81 h 101"/>
                <a:gd name="T110" fmla="*/ 95 w 104"/>
                <a:gd name="T111" fmla="*/ 86 h 101"/>
                <a:gd name="T112" fmla="*/ 91 w 104"/>
                <a:gd name="T113" fmla="*/ 90 h 101"/>
                <a:gd name="T114" fmla="*/ 85 w 104"/>
                <a:gd name="T115" fmla="*/ 93 h 101"/>
                <a:gd name="T116" fmla="*/ 80 w 104"/>
                <a:gd name="T117" fmla="*/ 90 h 101"/>
                <a:gd name="T118" fmla="*/ 78 w 104"/>
                <a:gd name="T119" fmla="*/ 89 h 101"/>
                <a:gd name="T120" fmla="*/ 75 w 104"/>
                <a:gd name="T121" fmla="*/ 85 h 101"/>
                <a:gd name="T122" fmla="*/ 75 w 104"/>
                <a:gd name="T123" fmla="*/ 8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" h="101">
                  <a:moveTo>
                    <a:pt x="90" y="94"/>
                  </a:moveTo>
                  <a:lnTo>
                    <a:pt x="89" y="94"/>
                  </a:lnTo>
                  <a:lnTo>
                    <a:pt x="90" y="94"/>
                  </a:lnTo>
                  <a:close/>
                  <a:moveTo>
                    <a:pt x="88" y="94"/>
                  </a:moveTo>
                  <a:lnTo>
                    <a:pt x="87" y="94"/>
                  </a:lnTo>
                  <a:lnTo>
                    <a:pt x="88" y="94"/>
                  </a:lnTo>
                  <a:lnTo>
                    <a:pt x="88" y="93"/>
                  </a:lnTo>
                  <a:lnTo>
                    <a:pt x="88" y="94"/>
                  </a:lnTo>
                  <a:close/>
                  <a:moveTo>
                    <a:pt x="90" y="93"/>
                  </a:moveTo>
                  <a:lnTo>
                    <a:pt x="90" y="93"/>
                  </a:lnTo>
                  <a:lnTo>
                    <a:pt x="90" y="94"/>
                  </a:lnTo>
                  <a:lnTo>
                    <a:pt x="90" y="93"/>
                  </a:lnTo>
                  <a:lnTo>
                    <a:pt x="90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3" y="92"/>
                  </a:moveTo>
                  <a:lnTo>
                    <a:pt x="83" y="92"/>
                  </a:lnTo>
                  <a:lnTo>
                    <a:pt x="83" y="92"/>
                  </a:lnTo>
                  <a:close/>
                  <a:moveTo>
                    <a:pt x="81" y="92"/>
                  </a:moveTo>
                  <a:lnTo>
                    <a:pt x="81" y="91"/>
                  </a:lnTo>
                  <a:lnTo>
                    <a:pt x="81" y="92"/>
                  </a:lnTo>
                  <a:close/>
                  <a:moveTo>
                    <a:pt x="81" y="91"/>
                  </a:moveTo>
                  <a:lnTo>
                    <a:pt x="80" y="91"/>
                  </a:lnTo>
                  <a:lnTo>
                    <a:pt x="81" y="91"/>
                  </a:lnTo>
                  <a:close/>
                  <a:moveTo>
                    <a:pt x="80" y="90"/>
                  </a:moveTo>
                  <a:lnTo>
                    <a:pt x="80" y="91"/>
                  </a:lnTo>
                  <a:lnTo>
                    <a:pt x="80" y="90"/>
                  </a:lnTo>
                  <a:lnTo>
                    <a:pt x="80" y="91"/>
                  </a:lnTo>
                  <a:lnTo>
                    <a:pt x="80" y="90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1" y="90"/>
                  </a:lnTo>
                  <a:close/>
                  <a:moveTo>
                    <a:pt x="95" y="88"/>
                  </a:moveTo>
                  <a:lnTo>
                    <a:pt x="94" y="88"/>
                  </a:lnTo>
                  <a:lnTo>
                    <a:pt x="95" y="88"/>
                  </a:lnTo>
                  <a:close/>
                  <a:moveTo>
                    <a:pt x="68" y="89"/>
                  </a:moveTo>
                  <a:lnTo>
                    <a:pt x="67" y="89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2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2"/>
                  </a:lnTo>
                  <a:lnTo>
                    <a:pt x="62" y="93"/>
                  </a:lnTo>
                  <a:lnTo>
                    <a:pt x="61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2" y="95"/>
                  </a:lnTo>
                  <a:lnTo>
                    <a:pt x="62" y="94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1" y="95"/>
                  </a:lnTo>
                  <a:lnTo>
                    <a:pt x="62" y="95"/>
                  </a:lnTo>
                  <a:lnTo>
                    <a:pt x="62" y="96"/>
                  </a:lnTo>
                  <a:lnTo>
                    <a:pt x="62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6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4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7" y="101"/>
                  </a:lnTo>
                  <a:lnTo>
                    <a:pt x="57" y="100"/>
                  </a:lnTo>
                  <a:lnTo>
                    <a:pt x="57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5" y="100"/>
                  </a:lnTo>
                  <a:lnTo>
                    <a:pt x="55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8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4" y="95"/>
                  </a:lnTo>
                  <a:lnTo>
                    <a:pt x="43" y="95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7" y="97"/>
                  </a:lnTo>
                  <a:lnTo>
                    <a:pt x="37" y="96"/>
                  </a:lnTo>
                  <a:lnTo>
                    <a:pt x="36" y="96"/>
                  </a:lnTo>
                  <a:lnTo>
                    <a:pt x="36" y="95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5" y="96"/>
                  </a:lnTo>
                  <a:lnTo>
                    <a:pt x="34" y="96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9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7" y="93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6" y="91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1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7" y="85"/>
                  </a:lnTo>
                  <a:lnTo>
                    <a:pt x="27" y="84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7" y="80"/>
                  </a:lnTo>
                  <a:lnTo>
                    <a:pt x="28" y="78"/>
                  </a:lnTo>
                  <a:lnTo>
                    <a:pt x="28" y="77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8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29" y="74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8" y="71"/>
                  </a:lnTo>
                  <a:lnTo>
                    <a:pt x="28" y="70"/>
                  </a:lnTo>
                  <a:lnTo>
                    <a:pt x="28" y="68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0"/>
                  </a:lnTo>
                  <a:lnTo>
                    <a:pt x="32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4" y="75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3"/>
                  </a:lnTo>
                  <a:lnTo>
                    <a:pt x="37" y="73"/>
                  </a:lnTo>
                  <a:lnTo>
                    <a:pt x="36" y="73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0"/>
                  </a:lnTo>
                  <a:lnTo>
                    <a:pt x="32" y="70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1" y="66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0" y="65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0" y="62"/>
                  </a:lnTo>
                  <a:lnTo>
                    <a:pt x="30" y="63"/>
                  </a:lnTo>
                  <a:lnTo>
                    <a:pt x="30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8" y="62"/>
                  </a:lnTo>
                  <a:lnTo>
                    <a:pt x="28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0" y="61"/>
                  </a:lnTo>
                  <a:lnTo>
                    <a:pt x="29" y="61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7"/>
                  </a:lnTo>
                  <a:lnTo>
                    <a:pt x="29" y="56"/>
                  </a:lnTo>
                  <a:lnTo>
                    <a:pt x="28" y="56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9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3" y="40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4" y="22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8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1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9" y="18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3" y="15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0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7" y="11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7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2" y="18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7" y="20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1" y="20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2"/>
                  </a:lnTo>
                  <a:lnTo>
                    <a:pt x="91" y="23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4" y="23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4" y="24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6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6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99" y="33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7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8" y="39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41"/>
                  </a:lnTo>
                  <a:lnTo>
                    <a:pt x="99" y="41"/>
                  </a:lnTo>
                  <a:lnTo>
                    <a:pt x="99" y="42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5" y="43"/>
                  </a:lnTo>
                  <a:lnTo>
                    <a:pt x="96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2" y="47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8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7" y="57"/>
                  </a:lnTo>
                  <a:lnTo>
                    <a:pt x="88" y="57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8" y="57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90" y="55"/>
                  </a:lnTo>
                  <a:lnTo>
                    <a:pt x="90" y="54"/>
                  </a:lnTo>
                  <a:lnTo>
                    <a:pt x="91" y="54"/>
                  </a:lnTo>
                  <a:lnTo>
                    <a:pt x="93" y="55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9"/>
                  </a:lnTo>
                  <a:lnTo>
                    <a:pt x="94" y="59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6"/>
                  </a:lnTo>
                  <a:lnTo>
                    <a:pt x="95" y="66"/>
                  </a:lnTo>
                  <a:lnTo>
                    <a:pt x="95" y="66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9"/>
                  </a:lnTo>
                  <a:lnTo>
                    <a:pt x="94" y="68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2" y="69"/>
                  </a:lnTo>
                  <a:lnTo>
                    <a:pt x="91" y="69"/>
                  </a:lnTo>
                  <a:lnTo>
                    <a:pt x="91" y="70"/>
                  </a:lnTo>
                  <a:lnTo>
                    <a:pt x="91" y="71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4"/>
                  </a:lnTo>
                  <a:lnTo>
                    <a:pt x="95" y="74"/>
                  </a:lnTo>
                  <a:lnTo>
                    <a:pt x="95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3" y="77"/>
                  </a:lnTo>
                  <a:lnTo>
                    <a:pt x="94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6" y="81"/>
                  </a:lnTo>
                  <a:lnTo>
                    <a:pt x="97" y="81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0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2"/>
                  </a:lnTo>
                  <a:lnTo>
                    <a:pt x="100" y="82"/>
                  </a:lnTo>
                  <a:lnTo>
                    <a:pt x="99" y="82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8" y="83"/>
                  </a:lnTo>
                  <a:lnTo>
                    <a:pt x="99" y="83"/>
                  </a:lnTo>
                  <a:lnTo>
                    <a:pt x="98" y="84"/>
                  </a:lnTo>
                  <a:lnTo>
                    <a:pt x="98" y="84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7" y="86"/>
                  </a:lnTo>
                  <a:lnTo>
                    <a:pt x="98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2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89" y="92"/>
                  </a:lnTo>
                  <a:lnTo>
                    <a:pt x="89" y="93"/>
                  </a:lnTo>
                  <a:lnTo>
                    <a:pt x="89" y="93"/>
                  </a:lnTo>
                  <a:lnTo>
                    <a:pt x="88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4" y="92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92"/>
                  </a:lnTo>
                  <a:lnTo>
                    <a:pt x="83" y="91"/>
                  </a:lnTo>
                  <a:lnTo>
                    <a:pt x="82" y="91"/>
                  </a:lnTo>
                  <a:lnTo>
                    <a:pt x="82" y="91"/>
                  </a:lnTo>
                  <a:lnTo>
                    <a:pt x="81" y="91"/>
                  </a:lnTo>
                  <a:lnTo>
                    <a:pt x="81" y="91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0" y="89"/>
                  </a:lnTo>
                  <a:lnTo>
                    <a:pt x="80" y="88"/>
                  </a:lnTo>
                  <a:lnTo>
                    <a:pt x="79" y="89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8" y="87"/>
                  </a:lnTo>
                  <a:lnTo>
                    <a:pt x="78" y="88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6" y="89"/>
                  </a:lnTo>
                  <a:lnTo>
                    <a:pt x="77" y="89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5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6" y="87"/>
                  </a:lnTo>
                  <a:lnTo>
                    <a:pt x="76" y="88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5" y="89"/>
                  </a:lnTo>
                  <a:lnTo>
                    <a:pt x="74" y="89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2" y="89"/>
                  </a:lnTo>
                  <a:lnTo>
                    <a:pt x="72" y="89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0" y="87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9"/>
                  </a:lnTo>
                  <a:lnTo>
                    <a:pt x="68" y="89"/>
                  </a:ln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54" y="100"/>
                  </a:moveTo>
                  <a:lnTo>
                    <a:pt x="54" y="100"/>
                  </a:lnTo>
                  <a:lnTo>
                    <a:pt x="54" y="1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9" name="Freeform 135"/>
            <p:cNvSpPr>
              <a:spLocks noEditPoints="1"/>
            </p:cNvSpPr>
            <p:nvPr/>
          </p:nvSpPr>
          <p:spPr bwMode="auto">
            <a:xfrm>
              <a:off x="5705648" y="3676291"/>
              <a:ext cx="143586" cy="110226"/>
            </a:xfrm>
            <a:custGeom>
              <a:avLst/>
              <a:gdLst>
                <a:gd name="T0" fmla="*/ 110 w 110"/>
                <a:gd name="T1" fmla="*/ 80 h 80"/>
                <a:gd name="T2" fmla="*/ 78 w 110"/>
                <a:gd name="T3" fmla="*/ 58 h 80"/>
                <a:gd name="T4" fmla="*/ 35 w 110"/>
                <a:gd name="T5" fmla="*/ 45 h 80"/>
                <a:gd name="T6" fmla="*/ 36 w 110"/>
                <a:gd name="T7" fmla="*/ 45 h 80"/>
                <a:gd name="T8" fmla="*/ 35 w 110"/>
                <a:gd name="T9" fmla="*/ 43 h 80"/>
                <a:gd name="T10" fmla="*/ 35 w 110"/>
                <a:gd name="T11" fmla="*/ 43 h 80"/>
                <a:gd name="T12" fmla="*/ 35 w 110"/>
                <a:gd name="T13" fmla="*/ 43 h 80"/>
                <a:gd name="T14" fmla="*/ 30 w 110"/>
                <a:gd name="T15" fmla="*/ 34 h 80"/>
                <a:gd name="T16" fmla="*/ 31 w 110"/>
                <a:gd name="T17" fmla="*/ 35 h 80"/>
                <a:gd name="T18" fmla="*/ 31 w 110"/>
                <a:gd name="T19" fmla="*/ 36 h 80"/>
                <a:gd name="T20" fmla="*/ 31 w 110"/>
                <a:gd name="T21" fmla="*/ 35 h 80"/>
                <a:gd name="T22" fmla="*/ 30 w 110"/>
                <a:gd name="T23" fmla="*/ 34 h 80"/>
                <a:gd name="T24" fmla="*/ 29 w 110"/>
                <a:gd name="T25" fmla="*/ 31 h 80"/>
                <a:gd name="T26" fmla="*/ 29 w 110"/>
                <a:gd name="T27" fmla="*/ 31 h 80"/>
                <a:gd name="T28" fmla="*/ 30 w 110"/>
                <a:gd name="T29" fmla="*/ 31 h 80"/>
                <a:gd name="T30" fmla="*/ 30 w 110"/>
                <a:gd name="T31" fmla="*/ 31 h 80"/>
                <a:gd name="T32" fmla="*/ 30 w 110"/>
                <a:gd name="T33" fmla="*/ 32 h 80"/>
                <a:gd name="T34" fmla="*/ 29 w 110"/>
                <a:gd name="T35" fmla="*/ 31 h 80"/>
                <a:gd name="T36" fmla="*/ 22 w 110"/>
                <a:gd name="T37" fmla="*/ 25 h 80"/>
                <a:gd name="T38" fmla="*/ 22 w 110"/>
                <a:gd name="T39" fmla="*/ 26 h 80"/>
                <a:gd name="T40" fmla="*/ 23 w 110"/>
                <a:gd name="T41" fmla="*/ 22 h 80"/>
                <a:gd name="T42" fmla="*/ 23 w 110"/>
                <a:gd name="T43" fmla="*/ 23 h 80"/>
                <a:gd name="T44" fmla="*/ 24 w 110"/>
                <a:gd name="T45" fmla="*/ 23 h 80"/>
                <a:gd name="T46" fmla="*/ 23 w 110"/>
                <a:gd name="T47" fmla="*/ 23 h 80"/>
                <a:gd name="T48" fmla="*/ 22 w 110"/>
                <a:gd name="T49" fmla="*/ 22 h 80"/>
                <a:gd name="T50" fmla="*/ 23 w 110"/>
                <a:gd name="T51" fmla="*/ 22 h 80"/>
                <a:gd name="T52" fmla="*/ 29 w 110"/>
                <a:gd name="T53" fmla="*/ 20 h 80"/>
                <a:gd name="T54" fmla="*/ 29 w 110"/>
                <a:gd name="T55" fmla="*/ 19 h 80"/>
                <a:gd name="T56" fmla="*/ 30 w 110"/>
                <a:gd name="T57" fmla="*/ 19 h 80"/>
                <a:gd name="T58" fmla="*/ 18 w 110"/>
                <a:gd name="T59" fmla="*/ 19 h 80"/>
                <a:gd name="T60" fmla="*/ 31 w 110"/>
                <a:gd name="T61" fmla="*/ 18 h 80"/>
                <a:gd name="T62" fmla="*/ 15 w 110"/>
                <a:gd name="T63" fmla="*/ 17 h 80"/>
                <a:gd name="T64" fmla="*/ 15 w 110"/>
                <a:gd name="T65" fmla="*/ 18 h 80"/>
                <a:gd name="T66" fmla="*/ 16 w 110"/>
                <a:gd name="T67" fmla="*/ 19 h 80"/>
                <a:gd name="T68" fmla="*/ 16 w 110"/>
                <a:gd name="T69" fmla="*/ 19 h 80"/>
                <a:gd name="T70" fmla="*/ 15 w 110"/>
                <a:gd name="T71" fmla="*/ 19 h 80"/>
                <a:gd name="T72" fmla="*/ 17 w 110"/>
                <a:gd name="T73" fmla="*/ 17 h 80"/>
                <a:gd name="T74" fmla="*/ 17 w 110"/>
                <a:gd name="T75" fmla="*/ 17 h 80"/>
                <a:gd name="T76" fmla="*/ 19 w 110"/>
                <a:gd name="T77" fmla="*/ 16 h 80"/>
                <a:gd name="T78" fmla="*/ 19 w 110"/>
                <a:gd name="T79" fmla="*/ 15 h 80"/>
                <a:gd name="T80" fmla="*/ 19 w 110"/>
                <a:gd name="T81" fmla="*/ 15 h 80"/>
                <a:gd name="T82" fmla="*/ 18 w 110"/>
                <a:gd name="T83" fmla="*/ 15 h 80"/>
                <a:gd name="T84" fmla="*/ 13 w 110"/>
                <a:gd name="T85" fmla="*/ 15 h 80"/>
                <a:gd name="T86" fmla="*/ 13 w 110"/>
                <a:gd name="T87" fmla="*/ 15 h 80"/>
                <a:gd name="T88" fmla="*/ 9 w 110"/>
                <a:gd name="T89" fmla="*/ 14 h 80"/>
                <a:gd name="T90" fmla="*/ 2 w 110"/>
                <a:gd name="T91" fmla="*/ 10 h 80"/>
                <a:gd name="T92" fmla="*/ 1 w 110"/>
                <a:gd name="T93" fmla="*/ 6 h 80"/>
                <a:gd name="T94" fmla="*/ 0 w 110"/>
                <a:gd name="T95" fmla="*/ 5 h 80"/>
                <a:gd name="T96" fmla="*/ 0 w 110"/>
                <a:gd name="T97" fmla="*/ 5 h 80"/>
                <a:gd name="T98" fmla="*/ 0 w 110"/>
                <a:gd name="T99" fmla="*/ 5 h 80"/>
                <a:gd name="T100" fmla="*/ 0 w 110"/>
                <a:gd name="T101" fmla="*/ 5 h 80"/>
                <a:gd name="T102" fmla="*/ 23 w 110"/>
                <a:gd name="T103" fmla="*/ 4 h 80"/>
                <a:gd name="T104" fmla="*/ 9 w 110"/>
                <a:gd name="T105" fmla="*/ 2 h 80"/>
                <a:gd name="T106" fmla="*/ 12 w 110"/>
                <a:gd name="T107" fmla="*/ 1 h 80"/>
                <a:gd name="T108" fmla="*/ 17 w 110"/>
                <a:gd name="T109" fmla="*/ 1 h 80"/>
                <a:gd name="T110" fmla="*/ 14 w 110"/>
                <a:gd name="T111" fmla="*/ 1 h 80"/>
                <a:gd name="T112" fmla="*/ 15 w 110"/>
                <a:gd name="T113" fmla="*/ 1 h 80"/>
                <a:gd name="T114" fmla="*/ 26 w 110"/>
                <a:gd name="T115" fmla="*/ 1 h 80"/>
                <a:gd name="T116" fmla="*/ 26 w 110"/>
                <a:gd name="T117" fmla="*/ 0 h 80"/>
                <a:gd name="T118" fmla="*/ 13 w 110"/>
                <a:gd name="T119" fmla="*/ 0 h 80"/>
                <a:gd name="T120" fmla="*/ 26 w 110"/>
                <a:gd name="T121" fmla="*/ 0 h 80"/>
                <a:gd name="T122" fmla="*/ 26 w 110"/>
                <a:gd name="T12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0" h="80">
                  <a:moveTo>
                    <a:pt x="110" y="80"/>
                  </a:moveTo>
                  <a:lnTo>
                    <a:pt x="110" y="80"/>
                  </a:lnTo>
                  <a:lnTo>
                    <a:pt x="110" y="80"/>
                  </a:lnTo>
                  <a:close/>
                  <a:moveTo>
                    <a:pt x="78" y="58"/>
                  </a:moveTo>
                  <a:lnTo>
                    <a:pt x="78" y="58"/>
                  </a:lnTo>
                  <a:lnTo>
                    <a:pt x="78" y="58"/>
                  </a:lnTo>
                  <a:close/>
                  <a:moveTo>
                    <a:pt x="36" y="45"/>
                  </a:moveTo>
                  <a:lnTo>
                    <a:pt x="36" y="45"/>
                  </a:lnTo>
                  <a:lnTo>
                    <a:pt x="35" y="45"/>
                  </a:lnTo>
                  <a:lnTo>
                    <a:pt x="35" y="44"/>
                  </a:lnTo>
                  <a:lnTo>
                    <a:pt x="36" y="45"/>
                  </a:lnTo>
                  <a:lnTo>
                    <a:pt x="36" y="45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0" y="33"/>
                  </a:moveTo>
                  <a:lnTo>
                    <a:pt x="30" y="34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3"/>
                  </a:lnTo>
                  <a:close/>
                  <a:moveTo>
                    <a:pt x="29" y="31"/>
                  </a:move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close/>
                  <a:moveTo>
                    <a:pt x="22" y="25"/>
                  </a:move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29" y="20"/>
                  </a:lnTo>
                  <a:close/>
                  <a:moveTo>
                    <a:pt x="29" y="19"/>
                  </a:moveTo>
                  <a:lnTo>
                    <a:pt x="30" y="19"/>
                  </a:lnTo>
                  <a:lnTo>
                    <a:pt x="29" y="19"/>
                  </a:lnTo>
                  <a:close/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8" y="18"/>
                  </a:moveTo>
                  <a:lnTo>
                    <a:pt x="18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8" y="18"/>
                  </a:lnTo>
                  <a:close/>
                  <a:moveTo>
                    <a:pt x="31" y="18"/>
                  </a:moveTo>
                  <a:lnTo>
                    <a:pt x="31" y="18"/>
                  </a:lnTo>
                  <a:lnTo>
                    <a:pt x="31" y="18"/>
                  </a:lnTo>
                  <a:close/>
                  <a:moveTo>
                    <a:pt x="15" y="17"/>
                  </a:moveTo>
                  <a:lnTo>
                    <a:pt x="15" y="18"/>
                  </a:lnTo>
                  <a:lnTo>
                    <a:pt x="15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5" y="17"/>
                  </a:lnTo>
                  <a:close/>
                  <a:moveTo>
                    <a:pt x="17" y="17"/>
                  </a:moveTo>
                  <a:lnTo>
                    <a:pt x="18" y="17"/>
                  </a:lnTo>
                  <a:lnTo>
                    <a:pt x="17" y="18"/>
                  </a:lnTo>
                  <a:lnTo>
                    <a:pt x="17" y="17"/>
                  </a:lnTo>
                  <a:close/>
                  <a:moveTo>
                    <a:pt x="19" y="16"/>
                  </a:moveTo>
                  <a:lnTo>
                    <a:pt x="19" y="16"/>
                  </a:lnTo>
                  <a:lnTo>
                    <a:pt x="19" y="16"/>
                  </a:lnTo>
                  <a:close/>
                  <a:moveTo>
                    <a:pt x="19" y="15"/>
                  </a:moveTo>
                  <a:lnTo>
                    <a:pt x="19" y="16"/>
                  </a:lnTo>
                  <a:lnTo>
                    <a:pt x="19" y="15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19" y="15"/>
                  </a:lnTo>
                  <a:close/>
                  <a:moveTo>
                    <a:pt x="18" y="15"/>
                  </a:moveTo>
                  <a:lnTo>
                    <a:pt x="18" y="16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5"/>
                  </a:lnTo>
                  <a:close/>
                  <a:moveTo>
                    <a:pt x="13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2" y="10"/>
                  </a:moveTo>
                  <a:lnTo>
                    <a:pt x="2" y="10"/>
                  </a:lnTo>
                  <a:lnTo>
                    <a:pt x="2" y="10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3" y="4"/>
                  </a:moveTo>
                  <a:lnTo>
                    <a:pt x="23" y="3"/>
                  </a:lnTo>
                  <a:lnTo>
                    <a:pt x="23" y="4"/>
                  </a:lnTo>
                  <a:close/>
                  <a:moveTo>
                    <a:pt x="9" y="2"/>
                  </a:moveTo>
                  <a:lnTo>
                    <a:pt x="8" y="2"/>
                  </a:lnTo>
                  <a:lnTo>
                    <a:pt x="9" y="2"/>
                  </a:lnTo>
                  <a:close/>
                  <a:moveTo>
                    <a:pt x="12" y="1"/>
                  </a:moveTo>
                  <a:lnTo>
                    <a:pt x="12" y="1"/>
                  </a:lnTo>
                  <a:lnTo>
                    <a:pt x="12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5" y="1"/>
                  </a:lnTo>
                  <a:lnTo>
                    <a:pt x="14" y="1"/>
                  </a:lnTo>
                  <a:close/>
                  <a:moveTo>
                    <a:pt x="15" y="1"/>
                  </a:moveTo>
                  <a:lnTo>
                    <a:pt x="15" y="0"/>
                  </a:lnTo>
                  <a:lnTo>
                    <a:pt x="15" y="1"/>
                  </a:lnTo>
                  <a:close/>
                  <a:moveTo>
                    <a:pt x="26" y="1"/>
                  </a:moveTo>
                  <a:lnTo>
                    <a:pt x="26" y="0"/>
                  </a:lnTo>
                  <a:lnTo>
                    <a:pt x="26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close/>
                  <a:moveTo>
                    <a:pt x="13" y="0"/>
                  </a:moveTo>
                  <a:lnTo>
                    <a:pt x="13" y="1"/>
                  </a:lnTo>
                  <a:lnTo>
                    <a:pt x="13" y="0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0" name="Freeform 136"/>
            <p:cNvSpPr>
              <a:spLocks noEditPoints="1"/>
            </p:cNvSpPr>
            <p:nvPr/>
          </p:nvSpPr>
          <p:spPr bwMode="auto">
            <a:xfrm>
              <a:off x="5706954" y="3663891"/>
              <a:ext cx="100510" cy="93692"/>
            </a:xfrm>
            <a:custGeom>
              <a:avLst/>
              <a:gdLst>
                <a:gd name="T0" fmla="*/ 77 w 77"/>
                <a:gd name="T1" fmla="*/ 68 h 68"/>
                <a:gd name="T2" fmla="*/ 36 w 77"/>
                <a:gd name="T3" fmla="*/ 54 h 68"/>
                <a:gd name="T4" fmla="*/ 36 w 77"/>
                <a:gd name="T5" fmla="*/ 54 h 68"/>
                <a:gd name="T6" fmla="*/ 34 w 77"/>
                <a:gd name="T7" fmla="*/ 52 h 68"/>
                <a:gd name="T8" fmla="*/ 21 w 77"/>
                <a:gd name="T9" fmla="*/ 28 h 68"/>
                <a:gd name="T10" fmla="*/ 20 w 77"/>
                <a:gd name="T11" fmla="*/ 28 h 68"/>
                <a:gd name="T12" fmla="*/ 21 w 77"/>
                <a:gd name="T13" fmla="*/ 28 h 68"/>
                <a:gd name="T14" fmla="*/ 23 w 77"/>
                <a:gd name="T15" fmla="*/ 28 h 68"/>
                <a:gd name="T16" fmla="*/ 16 w 77"/>
                <a:gd name="T17" fmla="*/ 26 h 68"/>
                <a:gd name="T18" fmla="*/ 16 w 77"/>
                <a:gd name="T19" fmla="*/ 26 h 68"/>
                <a:gd name="T20" fmla="*/ 17 w 77"/>
                <a:gd name="T21" fmla="*/ 25 h 68"/>
                <a:gd name="T22" fmla="*/ 14 w 77"/>
                <a:gd name="T23" fmla="*/ 24 h 68"/>
                <a:gd name="T24" fmla="*/ 14 w 77"/>
                <a:gd name="T25" fmla="*/ 24 h 68"/>
                <a:gd name="T26" fmla="*/ 14 w 77"/>
                <a:gd name="T27" fmla="*/ 23 h 68"/>
                <a:gd name="T28" fmla="*/ 14 w 77"/>
                <a:gd name="T29" fmla="*/ 24 h 68"/>
                <a:gd name="T30" fmla="*/ 14 w 77"/>
                <a:gd name="T31" fmla="*/ 24 h 68"/>
                <a:gd name="T32" fmla="*/ 14 w 77"/>
                <a:gd name="T33" fmla="*/ 23 h 68"/>
                <a:gd name="T34" fmla="*/ 8 w 77"/>
                <a:gd name="T35" fmla="*/ 23 h 68"/>
                <a:gd name="T36" fmla="*/ 8 w 77"/>
                <a:gd name="T37" fmla="*/ 23 h 68"/>
                <a:gd name="T38" fmla="*/ 8 w 77"/>
                <a:gd name="T39" fmla="*/ 22 h 68"/>
                <a:gd name="T40" fmla="*/ 1 w 77"/>
                <a:gd name="T41" fmla="*/ 15 h 68"/>
                <a:gd name="T42" fmla="*/ 1 w 77"/>
                <a:gd name="T43" fmla="*/ 15 h 68"/>
                <a:gd name="T44" fmla="*/ 0 w 77"/>
                <a:gd name="T45" fmla="*/ 15 h 68"/>
                <a:gd name="T46" fmla="*/ 3 w 77"/>
                <a:gd name="T47" fmla="*/ 13 h 68"/>
                <a:gd name="T48" fmla="*/ 2 w 77"/>
                <a:gd name="T49" fmla="*/ 13 h 68"/>
                <a:gd name="T50" fmla="*/ 3 w 77"/>
                <a:gd name="T51" fmla="*/ 13 h 68"/>
                <a:gd name="T52" fmla="*/ 3 w 77"/>
                <a:gd name="T53" fmla="*/ 13 h 68"/>
                <a:gd name="T54" fmla="*/ 4 w 77"/>
                <a:gd name="T55" fmla="*/ 13 h 68"/>
                <a:gd name="T56" fmla="*/ 5 w 77"/>
                <a:gd name="T57" fmla="*/ 12 h 68"/>
                <a:gd name="T58" fmla="*/ 5 w 77"/>
                <a:gd name="T59" fmla="*/ 12 h 68"/>
                <a:gd name="T60" fmla="*/ 25 w 77"/>
                <a:gd name="T61" fmla="*/ 11 h 68"/>
                <a:gd name="T62" fmla="*/ 11 w 77"/>
                <a:gd name="T63" fmla="*/ 11 h 68"/>
                <a:gd name="T64" fmla="*/ 11 w 77"/>
                <a:gd name="T65" fmla="*/ 11 h 68"/>
                <a:gd name="T66" fmla="*/ 11 w 77"/>
                <a:gd name="T67" fmla="*/ 11 h 68"/>
                <a:gd name="T68" fmla="*/ 16 w 77"/>
                <a:gd name="T69" fmla="*/ 11 h 68"/>
                <a:gd name="T70" fmla="*/ 16 w 77"/>
                <a:gd name="T71" fmla="*/ 11 h 68"/>
                <a:gd name="T72" fmla="*/ 11 w 77"/>
                <a:gd name="T73" fmla="*/ 11 h 68"/>
                <a:gd name="T74" fmla="*/ 11 w 77"/>
                <a:gd name="T75" fmla="*/ 10 h 68"/>
                <a:gd name="T76" fmla="*/ 11 w 77"/>
                <a:gd name="T77" fmla="*/ 10 h 68"/>
                <a:gd name="T78" fmla="*/ 13 w 77"/>
                <a:gd name="T79" fmla="*/ 10 h 68"/>
                <a:gd name="T80" fmla="*/ 15 w 77"/>
                <a:gd name="T81" fmla="*/ 10 h 68"/>
                <a:gd name="T82" fmla="*/ 15 w 77"/>
                <a:gd name="T83" fmla="*/ 10 h 68"/>
                <a:gd name="T84" fmla="*/ 25 w 77"/>
                <a:gd name="T85" fmla="*/ 10 h 68"/>
                <a:gd name="T86" fmla="*/ 25 w 77"/>
                <a:gd name="T87" fmla="*/ 10 h 68"/>
                <a:gd name="T88" fmla="*/ 25 w 77"/>
                <a:gd name="T89" fmla="*/ 10 h 68"/>
                <a:gd name="T90" fmla="*/ 25 w 77"/>
                <a:gd name="T91" fmla="*/ 9 h 68"/>
                <a:gd name="T92" fmla="*/ 15 w 77"/>
                <a:gd name="T93" fmla="*/ 9 h 68"/>
                <a:gd name="T94" fmla="*/ 15 w 77"/>
                <a:gd name="T95" fmla="*/ 9 h 68"/>
                <a:gd name="T96" fmla="*/ 30 w 77"/>
                <a:gd name="T97" fmla="*/ 2 h 68"/>
                <a:gd name="T98" fmla="*/ 41 w 77"/>
                <a:gd name="T99" fmla="*/ 0 h 68"/>
                <a:gd name="T100" fmla="*/ 41 w 77"/>
                <a:gd name="T10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" h="68">
                  <a:moveTo>
                    <a:pt x="77" y="67"/>
                  </a:moveTo>
                  <a:lnTo>
                    <a:pt x="77" y="68"/>
                  </a:lnTo>
                  <a:lnTo>
                    <a:pt x="77" y="67"/>
                  </a:lnTo>
                  <a:close/>
                  <a:moveTo>
                    <a:pt x="36" y="54"/>
                  </a:moveTo>
                  <a:lnTo>
                    <a:pt x="35" y="54"/>
                  </a:lnTo>
                  <a:lnTo>
                    <a:pt x="36" y="54"/>
                  </a:lnTo>
                  <a:close/>
                  <a:moveTo>
                    <a:pt x="34" y="51"/>
                  </a:moveTo>
                  <a:lnTo>
                    <a:pt x="34" y="52"/>
                  </a:lnTo>
                  <a:lnTo>
                    <a:pt x="34" y="51"/>
                  </a:lnTo>
                  <a:close/>
                  <a:moveTo>
                    <a:pt x="21" y="28"/>
                  </a:moveTo>
                  <a:lnTo>
                    <a:pt x="21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1" y="28"/>
                  </a:lnTo>
                  <a:close/>
                  <a:moveTo>
                    <a:pt x="23" y="28"/>
                  </a:moveTo>
                  <a:lnTo>
                    <a:pt x="23" y="28"/>
                  </a:lnTo>
                  <a:lnTo>
                    <a:pt x="23" y="28"/>
                  </a:lnTo>
                  <a:close/>
                  <a:moveTo>
                    <a:pt x="16" y="26"/>
                  </a:moveTo>
                  <a:lnTo>
                    <a:pt x="15" y="26"/>
                  </a:lnTo>
                  <a:lnTo>
                    <a:pt x="16" y="26"/>
                  </a:lnTo>
                  <a:close/>
                  <a:moveTo>
                    <a:pt x="16" y="25"/>
                  </a:moveTo>
                  <a:lnTo>
                    <a:pt x="17" y="25"/>
                  </a:lnTo>
                  <a:lnTo>
                    <a:pt x="16" y="25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8" y="23"/>
                  </a:moveTo>
                  <a:lnTo>
                    <a:pt x="7" y="23"/>
                  </a:lnTo>
                  <a:lnTo>
                    <a:pt x="8" y="23"/>
                  </a:lnTo>
                  <a:close/>
                  <a:moveTo>
                    <a:pt x="7" y="22"/>
                  </a:moveTo>
                  <a:lnTo>
                    <a:pt x="8" y="22"/>
                  </a:lnTo>
                  <a:lnTo>
                    <a:pt x="7" y="22"/>
                  </a:lnTo>
                  <a:close/>
                  <a:moveTo>
                    <a:pt x="1" y="15"/>
                  </a:moveTo>
                  <a:lnTo>
                    <a:pt x="0" y="15"/>
                  </a:lnTo>
                  <a:lnTo>
                    <a:pt x="1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3" y="13"/>
                  </a:moveTo>
                  <a:lnTo>
                    <a:pt x="3" y="12"/>
                  </a:lnTo>
                  <a:lnTo>
                    <a:pt x="3" y="13"/>
                  </a:lnTo>
                  <a:close/>
                  <a:moveTo>
                    <a:pt x="4" y="12"/>
                  </a:moveTo>
                  <a:lnTo>
                    <a:pt x="4" y="13"/>
                  </a:lnTo>
                  <a:lnTo>
                    <a:pt x="4" y="12"/>
                  </a:lnTo>
                  <a:close/>
                  <a:moveTo>
                    <a:pt x="5" y="12"/>
                  </a:moveTo>
                  <a:lnTo>
                    <a:pt x="5" y="11"/>
                  </a:lnTo>
                  <a:lnTo>
                    <a:pt x="5" y="12"/>
                  </a:lnTo>
                  <a:close/>
                  <a:moveTo>
                    <a:pt x="25" y="12"/>
                  </a:moveTo>
                  <a:lnTo>
                    <a:pt x="25" y="11"/>
                  </a:lnTo>
                  <a:lnTo>
                    <a:pt x="25" y="12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6" y="11"/>
                  </a:moveTo>
                  <a:lnTo>
                    <a:pt x="16" y="10"/>
                  </a:lnTo>
                  <a:lnTo>
                    <a:pt x="16" y="11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3" y="10"/>
                  </a:moveTo>
                  <a:lnTo>
                    <a:pt x="13" y="10"/>
                  </a:lnTo>
                  <a:lnTo>
                    <a:pt x="13" y="10"/>
                  </a:lnTo>
                  <a:close/>
                  <a:moveTo>
                    <a:pt x="15" y="10"/>
                  </a:moveTo>
                  <a:lnTo>
                    <a:pt x="16" y="10"/>
                  </a:lnTo>
                  <a:lnTo>
                    <a:pt x="15" y="10"/>
                  </a:lnTo>
                  <a:close/>
                  <a:moveTo>
                    <a:pt x="25" y="9"/>
                  </a:moveTo>
                  <a:lnTo>
                    <a:pt x="25" y="10"/>
                  </a:lnTo>
                  <a:lnTo>
                    <a:pt x="25" y="9"/>
                  </a:lnTo>
                  <a:close/>
                  <a:moveTo>
                    <a:pt x="25" y="10"/>
                  </a:moveTo>
                  <a:lnTo>
                    <a:pt x="25" y="9"/>
                  </a:lnTo>
                  <a:lnTo>
                    <a:pt x="25" y="10"/>
                  </a:lnTo>
                  <a:close/>
                  <a:moveTo>
                    <a:pt x="26" y="9"/>
                  </a:moveTo>
                  <a:lnTo>
                    <a:pt x="25" y="9"/>
                  </a:lnTo>
                  <a:lnTo>
                    <a:pt x="26" y="9"/>
                  </a:lnTo>
                  <a:close/>
                  <a:moveTo>
                    <a:pt x="15" y="9"/>
                  </a:moveTo>
                  <a:lnTo>
                    <a:pt x="15" y="9"/>
                  </a:lnTo>
                  <a:lnTo>
                    <a:pt x="15" y="9"/>
                  </a:lnTo>
                  <a:close/>
                  <a:moveTo>
                    <a:pt x="31" y="2"/>
                  </a:moveTo>
                  <a:lnTo>
                    <a:pt x="30" y="2"/>
                  </a:lnTo>
                  <a:lnTo>
                    <a:pt x="31" y="2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314889" y="318063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TextBox 27"/>
          <p:cNvSpPr txBox="1">
            <a:spLocks noChangeArrowheads="1"/>
          </p:cNvSpPr>
          <p:nvPr/>
        </p:nvSpPr>
        <p:spPr bwMode="auto">
          <a:xfrm>
            <a:off x="7619075" y="3366268"/>
            <a:ext cx="479036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6.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Корпорацией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совместно </a:t>
            </a:r>
            <a:r>
              <a:rPr lang="ru-RU" altLang="ru-RU" sz="1600" dirty="0">
                <a:latin typeface="Arial Narrow" panose="020B0606020202030204" pitchFamily="34" charset="0"/>
              </a:rPr>
              <a:t>с </a:t>
            </a:r>
            <a:r>
              <a:rPr lang="ru-RU" altLang="ru-RU" sz="1600" b="1" dirty="0">
                <a:latin typeface="Arial Narrow" panose="020B0606020202030204" pitchFamily="34" charset="0"/>
              </a:rPr>
              <a:t>правительством Тульской области </a:t>
            </a:r>
            <a:r>
              <a:rPr lang="ru-RU" altLang="ru-RU" sz="1600" dirty="0">
                <a:latin typeface="Arial Narrow" panose="020B0606020202030204" pitchFamily="34" charset="0"/>
              </a:rPr>
              <a:t>и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СПСК </a:t>
            </a:r>
            <a:r>
              <a:rPr lang="ru-RU" altLang="ru-RU" sz="1600" b="1" dirty="0">
                <a:latin typeface="Arial Narrow" panose="020B0606020202030204" pitchFamily="34" charset="0"/>
              </a:rPr>
              <a:t>«</a:t>
            </a:r>
            <a:r>
              <a:rPr lang="ru-RU" altLang="ru-RU" sz="1600" b="1" dirty="0" err="1">
                <a:latin typeface="Arial Narrow" panose="020B0606020202030204" pitchFamily="34" charset="0"/>
              </a:rPr>
              <a:t>ЛавкаЛавка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»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реализуется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 проект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по развитию агропромышленного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кластера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, </a:t>
            </a:r>
            <a:r>
              <a:rPr lang="ru-RU" altLang="ru-RU" sz="1600" dirty="0">
                <a:latin typeface="Arial Narrow" panose="020B0606020202030204" pitchFamily="34" charset="0"/>
              </a:rPr>
              <a:t>в рамках которого строится завод по сушке овощей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(ввод 1й очереди </a:t>
            </a:r>
            <a:r>
              <a:rPr lang="ru-RU" altLang="ru-RU" sz="1600" dirty="0">
                <a:latin typeface="Arial Narrow" panose="020B0606020202030204" pitchFamily="34" charset="0"/>
              </a:rPr>
              <a:t>завода запланирован на февраль 2018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г)</a:t>
            </a:r>
            <a:endParaRPr lang="ru-RU" altLang="ru-RU" sz="1600" b="1" dirty="0">
              <a:latin typeface="Arial Narrow" panose="020B0606020202030204" pitchFamily="34" charset="0"/>
            </a:endParaRPr>
          </a:p>
        </p:txBody>
      </p:sp>
      <p:grpSp>
        <p:nvGrpSpPr>
          <p:cNvPr id="375" name="Group 719"/>
          <p:cNvGrpSpPr/>
          <p:nvPr/>
        </p:nvGrpSpPr>
        <p:grpSpPr>
          <a:xfrm>
            <a:off x="6639578" y="3746332"/>
            <a:ext cx="744442" cy="624867"/>
            <a:chOff x="5840413" y="5507038"/>
            <a:chExt cx="612775" cy="514350"/>
          </a:xfrm>
          <a:solidFill>
            <a:srgbClr val="0070C0"/>
          </a:solidFill>
        </p:grpSpPr>
        <p:sp>
          <p:nvSpPr>
            <p:cNvPr id="376" name="Freeform 1381"/>
            <p:cNvSpPr>
              <a:spLocks/>
            </p:cNvSpPr>
            <p:nvPr/>
          </p:nvSpPr>
          <p:spPr bwMode="auto">
            <a:xfrm>
              <a:off x="5840413" y="5507038"/>
              <a:ext cx="38100" cy="514350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2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377" name="Freeform 1382"/>
            <p:cNvSpPr>
              <a:spLocks/>
            </p:cNvSpPr>
            <p:nvPr/>
          </p:nvSpPr>
          <p:spPr bwMode="auto">
            <a:xfrm>
              <a:off x="5840413" y="5981700"/>
              <a:ext cx="612775" cy="39688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378" name="Freeform 1383"/>
            <p:cNvSpPr>
              <a:spLocks/>
            </p:cNvSpPr>
            <p:nvPr/>
          </p:nvSpPr>
          <p:spPr bwMode="auto">
            <a:xfrm>
              <a:off x="5900738" y="5626100"/>
              <a:ext cx="536575" cy="314325"/>
            </a:xfrm>
            <a:custGeom>
              <a:avLst/>
              <a:gdLst>
                <a:gd name="T0" fmla="*/ 7 w 166"/>
                <a:gd name="T1" fmla="*/ 97 h 97"/>
                <a:gd name="T2" fmla="*/ 3 w 166"/>
                <a:gd name="T3" fmla="*/ 95 h 97"/>
                <a:gd name="T4" fmla="*/ 2 w 166"/>
                <a:gd name="T5" fmla="*/ 87 h 97"/>
                <a:gd name="T6" fmla="*/ 24 w 166"/>
                <a:gd name="T7" fmla="*/ 61 h 97"/>
                <a:gd name="T8" fmla="*/ 32 w 166"/>
                <a:gd name="T9" fmla="*/ 60 h 97"/>
                <a:gd name="T10" fmla="*/ 54 w 166"/>
                <a:gd name="T11" fmla="*/ 74 h 97"/>
                <a:gd name="T12" fmla="*/ 88 w 166"/>
                <a:gd name="T13" fmla="*/ 30 h 97"/>
                <a:gd name="T14" fmla="*/ 96 w 166"/>
                <a:gd name="T15" fmla="*/ 29 h 97"/>
                <a:gd name="T16" fmla="*/ 119 w 166"/>
                <a:gd name="T17" fmla="*/ 45 h 97"/>
                <a:gd name="T18" fmla="*/ 155 w 166"/>
                <a:gd name="T19" fmla="*/ 3 h 97"/>
                <a:gd name="T20" fmla="*/ 163 w 166"/>
                <a:gd name="T21" fmla="*/ 3 h 97"/>
                <a:gd name="T22" fmla="*/ 164 w 166"/>
                <a:gd name="T23" fmla="*/ 11 h 97"/>
                <a:gd name="T24" fmla="*/ 125 w 166"/>
                <a:gd name="T25" fmla="*/ 57 h 97"/>
                <a:gd name="T26" fmla="*/ 117 w 166"/>
                <a:gd name="T27" fmla="*/ 58 h 97"/>
                <a:gd name="T28" fmla="*/ 94 w 166"/>
                <a:gd name="T29" fmla="*/ 42 h 97"/>
                <a:gd name="T30" fmla="*/ 60 w 166"/>
                <a:gd name="T31" fmla="*/ 85 h 97"/>
                <a:gd name="T32" fmla="*/ 52 w 166"/>
                <a:gd name="T33" fmla="*/ 87 h 97"/>
                <a:gd name="T34" fmla="*/ 30 w 166"/>
                <a:gd name="T35" fmla="*/ 73 h 97"/>
                <a:gd name="T36" fmla="*/ 11 w 166"/>
                <a:gd name="T37" fmla="*/ 95 h 97"/>
                <a:gd name="T38" fmla="*/ 7 w 166"/>
                <a:gd name="T39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97">
                  <a:moveTo>
                    <a:pt x="7" y="97"/>
                  </a:moveTo>
                  <a:cubicBezTo>
                    <a:pt x="5" y="97"/>
                    <a:pt x="4" y="96"/>
                    <a:pt x="3" y="95"/>
                  </a:cubicBezTo>
                  <a:cubicBezTo>
                    <a:pt x="0" y="93"/>
                    <a:pt x="0" y="89"/>
                    <a:pt x="2" y="87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6" y="59"/>
                    <a:pt x="29" y="59"/>
                    <a:pt x="32" y="60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90" y="27"/>
                    <a:pt x="94" y="27"/>
                    <a:pt x="96" y="29"/>
                  </a:cubicBezTo>
                  <a:cubicBezTo>
                    <a:pt x="119" y="45"/>
                    <a:pt x="119" y="45"/>
                    <a:pt x="119" y="45"/>
                  </a:cubicBezTo>
                  <a:cubicBezTo>
                    <a:pt x="155" y="3"/>
                    <a:pt x="155" y="3"/>
                    <a:pt x="155" y="3"/>
                  </a:cubicBezTo>
                  <a:cubicBezTo>
                    <a:pt x="157" y="1"/>
                    <a:pt x="161" y="0"/>
                    <a:pt x="163" y="3"/>
                  </a:cubicBezTo>
                  <a:cubicBezTo>
                    <a:pt x="166" y="5"/>
                    <a:pt x="166" y="8"/>
                    <a:pt x="164" y="11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3" y="59"/>
                    <a:pt x="119" y="60"/>
                    <a:pt x="117" y="58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58" y="88"/>
                    <a:pt x="54" y="88"/>
                    <a:pt x="52" y="87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6"/>
                    <a:pt x="8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379" name="Freeform 1384"/>
            <p:cNvSpPr>
              <a:spLocks/>
            </p:cNvSpPr>
            <p:nvPr/>
          </p:nvSpPr>
          <p:spPr bwMode="auto">
            <a:xfrm>
              <a:off x="6327776" y="5626100"/>
              <a:ext cx="115888" cy="117475"/>
            </a:xfrm>
            <a:custGeom>
              <a:avLst/>
              <a:gdLst>
                <a:gd name="T0" fmla="*/ 30 w 36"/>
                <a:gd name="T1" fmla="*/ 36 h 36"/>
                <a:gd name="T2" fmla="*/ 24 w 36"/>
                <a:gd name="T3" fmla="*/ 30 h 36"/>
                <a:gd name="T4" fmla="*/ 23 w 36"/>
                <a:gd name="T5" fmla="*/ 13 h 36"/>
                <a:gd name="T6" fmla="*/ 6 w 36"/>
                <a:gd name="T7" fmla="*/ 12 h 36"/>
                <a:gd name="T8" fmla="*/ 0 w 36"/>
                <a:gd name="T9" fmla="*/ 6 h 36"/>
                <a:gd name="T10" fmla="*/ 6 w 36"/>
                <a:gd name="T11" fmla="*/ 0 h 36"/>
                <a:gd name="T12" fmla="*/ 29 w 36"/>
                <a:gd name="T13" fmla="*/ 1 h 36"/>
                <a:gd name="T14" fmla="*/ 35 w 36"/>
                <a:gd name="T15" fmla="*/ 7 h 36"/>
                <a:gd name="T16" fmla="*/ 36 w 36"/>
                <a:gd name="T17" fmla="*/ 30 h 36"/>
                <a:gd name="T18" fmla="*/ 30 w 36"/>
                <a:gd name="T19" fmla="*/ 36 h 36"/>
                <a:gd name="T20" fmla="*/ 30 w 36"/>
                <a:gd name="T21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" h="36">
                  <a:moveTo>
                    <a:pt x="30" y="36"/>
                  </a:moveTo>
                  <a:cubicBezTo>
                    <a:pt x="27" y="36"/>
                    <a:pt x="24" y="33"/>
                    <a:pt x="24" y="30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9" y="1"/>
                    <a:pt x="29" y="1"/>
                    <a:pt x="29" y="1"/>
                  </a:cubicBezTo>
                  <a:cubicBezTo>
                    <a:pt x="32" y="1"/>
                    <a:pt x="34" y="4"/>
                    <a:pt x="35" y="7"/>
                  </a:cubicBezTo>
                  <a:cubicBezTo>
                    <a:pt x="36" y="30"/>
                    <a:pt x="36" y="30"/>
                    <a:pt x="36" y="30"/>
                  </a:cubicBezTo>
                  <a:cubicBezTo>
                    <a:pt x="36" y="33"/>
                    <a:pt x="33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sp>
        <p:nvSpPr>
          <p:cNvPr id="380" name="TextBox 27"/>
          <p:cNvSpPr txBox="1">
            <a:spLocks noChangeArrowheads="1"/>
          </p:cNvSpPr>
          <p:nvPr/>
        </p:nvSpPr>
        <p:spPr bwMode="auto">
          <a:xfrm>
            <a:off x="7619075" y="1975149"/>
            <a:ext cx="4790362" cy="11387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2000" b="1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5.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За </a:t>
            </a:r>
            <a:r>
              <a:rPr lang="ru-RU" altLang="ru-RU" sz="1600" dirty="0">
                <a:latin typeface="Arial Narrow" panose="020B0606020202030204" pitchFamily="34" charset="0"/>
              </a:rPr>
              <a:t>2016 год и 10 месяцев 2017 года </a:t>
            </a:r>
            <a:r>
              <a:rPr lang="ru-RU" altLang="ru-RU" sz="1600" b="1" dirty="0">
                <a:latin typeface="Arial Narrow" panose="020B0606020202030204" pitchFamily="34" charset="0"/>
              </a:rPr>
              <a:t>с 67 субъектами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МСП – сельскохозяйственными </a:t>
            </a:r>
            <a:r>
              <a:rPr lang="ru-RU" altLang="ru-RU" sz="1600" b="1" dirty="0">
                <a:latin typeface="Arial Narrow" panose="020B0606020202030204" pitchFamily="34" charset="0"/>
              </a:rPr>
              <a:t>кооперативами </a:t>
            </a:r>
            <a:r>
              <a:rPr lang="ru-RU" altLang="ru-RU" sz="1600" dirty="0">
                <a:latin typeface="Arial Narrow" panose="020B0606020202030204" pitchFamily="34" charset="0"/>
              </a:rPr>
              <a:t>в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22 </a:t>
            </a:r>
            <a:r>
              <a:rPr lang="ru-RU" altLang="ru-RU" sz="1600" dirty="0">
                <a:latin typeface="Arial Narrow" panose="020B0606020202030204" pitchFamily="34" charset="0"/>
              </a:rPr>
              <a:t>субъектах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РФ, </a:t>
            </a:r>
            <a:r>
              <a:rPr lang="ru-RU" altLang="ru-RU" sz="1600" b="1" dirty="0">
                <a:latin typeface="Arial Narrow" panose="020B0606020202030204" pitchFamily="34" charset="0"/>
              </a:rPr>
              <a:t>27 крупнейшими заказчиками заключено 107 договоров </a:t>
            </a:r>
            <a:r>
              <a:rPr lang="ru-RU" altLang="ru-RU" sz="1600" dirty="0">
                <a:latin typeface="Arial Narrow" panose="020B0606020202030204" pitchFamily="34" charset="0"/>
              </a:rPr>
              <a:t>на общую сумму </a:t>
            </a:r>
            <a:r>
              <a:rPr lang="ru-RU" altLang="ru-RU" sz="1600" b="1" dirty="0" smtClean="0">
                <a:latin typeface="Arial Narrow" panose="020B0606020202030204" pitchFamily="34" charset="0"/>
              </a:rPr>
              <a:t>791,3 </a:t>
            </a:r>
            <a:r>
              <a:rPr lang="ru-RU" altLang="ru-RU" sz="1600" b="1" dirty="0">
                <a:latin typeface="Arial Narrow" panose="020B0606020202030204" pitchFamily="34" charset="0"/>
              </a:rPr>
              <a:t>млн рублей</a:t>
            </a:r>
            <a:r>
              <a:rPr lang="ru-RU" altLang="ru-RU" sz="1600" dirty="0">
                <a:latin typeface="Arial Narrow" panose="020B0606020202030204" pitchFamily="34" charset="0"/>
              </a:rPr>
              <a:t>.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6588806" y="2190401"/>
            <a:ext cx="845987" cy="708268"/>
            <a:chOff x="412720" y="5367673"/>
            <a:chExt cx="577821" cy="483756"/>
          </a:xfrm>
        </p:grpSpPr>
        <p:sp>
          <p:nvSpPr>
            <p:cNvPr id="405" name="Freeform 1406"/>
            <p:cNvSpPr>
              <a:spLocks/>
            </p:cNvSpPr>
            <p:nvPr/>
          </p:nvSpPr>
          <p:spPr bwMode="auto">
            <a:xfrm>
              <a:off x="412720" y="5367673"/>
              <a:ext cx="35834" cy="483756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406" name="Freeform 1407"/>
            <p:cNvSpPr>
              <a:spLocks/>
            </p:cNvSpPr>
            <p:nvPr/>
          </p:nvSpPr>
          <p:spPr bwMode="auto">
            <a:xfrm>
              <a:off x="412720" y="5814102"/>
              <a:ext cx="577821" cy="37327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407" name="Freeform 1408"/>
            <p:cNvSpPr>
              <a:spLocks/>
            </p:cNvSpPr>
            <p:nvPr/>
          </p:nvSpPr>
          <p:spPr bwMode="auto">
            <a:xfrm>
              <a:off x="488866" y="5461736"/>
              <a:ext cx="470320" cy="325490"/>
            </a:xfrm>
            <a:custGeom>
              <a:avLst/>
              <a:gdLst>
                <a:gd name="T0" fmla="*/ 7 w 155"/>
                <a:gd name="T1" fmla="*/ 107 h 107"/>
                <a:gd name="T2" fmla="*/ 2 w 155"/>
                <a:gd name="T3" fmla="*/ 105 h 107"/>
                <a:gd name="T4" fmla="*/ 2 w 155"/>
                <a:gd name="T5" fmla="*/ 97 h 107"/>
                <a:gd name="T6" fmla="*/ 77 w 155"/>
                <a:gd name="T7" fmla="*/ 15 h 107"/>
                <a:gd name="T8" fmla="*/ 86 w 155"/>
                <a:gd name="T9" fmla="*/ 15 h 107"/>
                <a:gd name="T10" fmla="*/ 110 w 155"/>
                <a:gd name="T11" fmla="*/ 34 h 107"/>
                <a:gd name="T12" fmla="*/ 144 w 155"/>
                <a:gd name="T13" fmla="*/ 2 h 107"/>
                <a:gd name="T14" fmla="*/ 153 w 155"/>
                <a:gd name="T15" fmla="*/ 2 h 107"/>
                <a:gd name="T16" fmla="*/ 153 w 155"/>
                <a:gd name="T17" fmla="*/ 11 h 107"/>
                <a:gd name="T18" fmla="*/ 115 w 155"/>
                <a:gd name="T19" fmla="*/ 46 h 107"/>
                <a:gd name="T20" fmla="*/ 107 w 155"/>
                <a:gd name="T21" fmla="*/ 47 h 107"/>
                <a:gd name="T22" fmla="*/ 82 w 155"/>
                <a:gd name="T23" fmla="*/ 28 h 107"/>
                <a:gd name="T24" fmla="*/ 11 w 155"/>
                <a:gd name="T25" fmla="*/ 105 h 107"/>
                <a:gd name="T26" fmla="*/ 7 w 155"/>
                <a:gd name="T2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07">
                  <a:moveTo>
                    <a:pt x="7" y="107"/>
                  </a:moveTo>
                  <a:cubicBezTo>
                    <a:pt x="5" y="107"/>
                    <a:pt x="4" y="106"/>
                    <a:pt x="2" y="105"/>
                  </a:cubicBezTo>
                  <a:cubicBezTo>
                    <a:pt x="0" y="103"/>
                    <a:pt x="0" y="99"/>
                    <a:pt x="2" y="9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0" y="13"/>
                    <a:pt x="83" y="13"/>
                    <a:pt x="86" y="15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5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2" y="48"/>
                    <a:pt x="109" y="48"/>
                    <a:pt x="107" y="4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0" y="106"/>
                    <a:pt x="8" y="107"/>
                    <a:pt x="7" y="10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408" name="Freeform 1409"/>
            <p:cNvSpPr>
              <a:spLocks/>
            </p:cNvSpPr>
            <p:nvPr/>
          </p:nvSpPr>
          <p:spPr bwMode="auto">
            <a:xfrm>
              <a:off x="679980" y="5602085"/>
              <a:ext cx="276220" cy="147815"/>
            </a:xfrm>
            <a:custGeom>
              <a:avLst/>
              <a:gdLst>
                <a:gd name="T0" fmla="*/ 46 w 91"/>
                <a:gd name="T1" fmla="*/ 49 h 49"/>
                <a:gd name="T2" fmla="*/ 43 w 91"/>
                <a:gd name="T3" fmla="*/ 48 h 49"/>
                <a:gd name="T4" fmla="*/ 3 w 91"/>
                <a:gd name="T5" fmla="*/ 16 h 49"/>
                <a:gd name="T6" fmla="*/ 2 w 91"/>
                <a:gd name="T7" fmla="*/ 7 h 49"/>
                <a:gd name="T8" fmla="*/ 11 w 91"/>
                <a:gd name="T9" fmla="*/ 7 h 49"/>
                <a:gd name="T10" fmla="*/ 46 w 91"/>
                <a:gd name="T11" fmla="*/ 35 h 49"/>
                <a:gd name="T12" fmla="*/ 80 w 91"/>
                <a:gd name="T13" fmla="*/ 2 h 49"/>
                <a:gd name="T14" fmla="*/ 89 w 91"/>
                <a:gd name="T15" fmla="*/ 3 h 49"/>
                <a:gd name="T16" fmla="*/ 89 w 91"/>
                <a:gd name="T17" fmla="*/ 11 h 49"/>
                <a:gd name="T18" fmla="*/ 51 w 91"/>
                <a:gd name="T19" fmla="*/ 48 h 49"/>
                <a:gd name="T20" fmla="*/ 46 w 91"/>
                <a:gd name="T2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49">
                  <a:moveTo>
                    <a:pt x="46" y="49"/>
                  </a:moveTo>
                  <a:cubicBezTo>
                    <a:pt x="45" y="49"/>
                    <a:pt x="44" y="49"/>
                    <a:pt x="43" y="48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4"/>
                    <a:pt x="0" y="10"/>
                    <a:pt x="2" y="7"/>
                  </a:cubicBezTo>
                  <a:cubicBezTo>
                    <a:pt x="5" y="5"/>
                    <a:pt x="8" y="4"/>
                    <a:pt x="11" y="7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3" y="0"/>
                    <a:pt x="86" y="0"/>
                    <a:pt x="89" y="3"/>
                  </a:cubicBezTo>
                  <a:cubicBezTo>
                    <a:pt x="91" y="5"/>
                    <a:pt x="91" y="9"/>
                    <a:pt x="89" y="11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49" y="49"/>
                    <a:pt x="48" y="49"/>
                    <a:pt x="46" y="4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  <p:sp>
          <p:nvSpPr>
            <p:cNvPr id="409" name="Freeform 1410"/>
            <p:cNvSpPr>
              <a:spLocks/>
            </p:cNvSpPr>
            <p:nvPr/>
          </p:nvSpPr>
          <p:spPr bwMode="auto">
            <a:xfrm>
              <a:off x="470950" y="5502050"/>
              <a:ext cx="173197" cy="106009"/>
            </a:xfrm>
            <a:custGeom>
              <a:avLst/>
              <a:gdLst>
                <a:gd name="T0" fmla="*/ 7 w 57"/>
                <a:gd name="T1" fmla="*/ 35 h 35"/>
                <a:gd name="T2" fmla="*/ 3 w 57"/>
                <a:gd name="T3" fmla="*/ 33 h 35"/>
                <a:gd name="T4" fmla="*/ 3 w 57"/>
                <a:gd name="T5" fmla="*/ 24 h 35"/>
                <a:gd name="T6" fmla="*/ 26 w 57"/>
                <a:gd name="T7" fmla="*/ 2 h 35"/>
                <a:gd name="T8" fmla="*/ 34 w 57"/>
                <a:gd name="T9" fmla="*/ 2 h 35"/>
                <a:gd name="T10" fmla="*/ 54 w 57"/>
                <a:gd name="T11" fmla="*/ 18 h 35"/>
                <a:gd name="T12" fmla="*/ 55 w 57"/>
                <a:gd name="T13" fmla="*/ 27 h 35"/>
                <a:gd name="T14" fmla="*/ 47 w 57"/>
                <a:gd name="T15" fmla="*/ 28 h 35"/>
                <a:gd name="T16" fmla="*/ 31 w 57"/>
                <a:gd name="T17" fmla="*/ 15 h 35"/>
                <a:gd name="T18" fmla="*/ 11 w 57"/>
                <a:gd name="T19" fmla="*/ 33 h 35"/>
                <a:gd name="T20" fmla="*/ 7 w 57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5">
                  <a:moveTo>
                    <a:pt x="7" y="35"/>
                  </a:moveTo>
                  <a:cubicBezTo>
                    <a:pt x="5" y="35"/>
                    <a:pt x="4" y="34"/>
                    <a:pt x="3" y="33"/>
                  </a:cubicBezTo>
                  <a:cubicBezTo>
                    <a:pt x="0" y="30"/>
                    <a:pt x="1" y="27"/>
                    <a:pt x="3" y="24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0"/>
                    <a:pt x="34" y="2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7" y="21"/>
                    <a:pt x="57" y="24"/>
                    <a:pt x="55" y="27"/>
                  </a:cubicBezTo>
                  <a:cubicBezTo>
                    <a:pt x="53" y="29"/>
                    <a:pt x="49" y="30"/>
                    <a:pt x="47" y="28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4"/>
                    <a:pt x="9" y="35"/>
                    <a:pt x="7" y="35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400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endParaRPr>
            </a:p>
          </p:txBody>
        </p:sp>
      </p:grpSp>
      <p:cxnSp>
        <p:nvCxnSpPr>
          <p:cNvPr id="344" name="Прямая соединительная линия 343"/>
          <p:cNvCxnSpPr/>
          <p:nvPr/>
        </p:nvCxnSpPr>
        <p:spPr>
          <a:xfrm>
            <a:off x="314889" y="493323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Прямая соединительная линия 345"/>
          <p:cNvCxnSpPr/>
          <p:nvPr/>
        </p:nvCxnSpPr>
        <p:spPr>
          <a:xfrm>
            <a:off x="375759" y="6283669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Прямая соединительная линия 354"/>
          <p:cNvCxnSpPr/>
          <p:nvPr/>
        </p:nvCxnSpPr>
        <p:spPr>
          <a:xfrm>
            <a:off x="6448989" y="318063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Прямая соединительная линия 355"/>
          <p:cNvCxnSpPr/>
          <p:nvPr/>
        </p:nvCxnSpPr>
        <p:spPr>
          <a:xfrm>
            <a:off x="6448989" y="493323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Прямая соединительная линия 356"/>
          <p:cNvCxnSpPr/>
          <p:nvPr/>
        </p:nvCxnSpPr>
        <p:spPr>
          <a:xfrm>
            <a:off x="6492662" y="6283669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1996927" y="8169678"/>
            <a:ext cx="41250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12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3</a:t>
            </a:r>
            <a:endParaRPr lang="ru-RU" sz="12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7495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Меры поддержк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хозяйственной кооперации</a:t>
            </a:r>
          </a:p>
          <a:p>
            <a:pPr lvl="0" algn="ctr">
              <a:defRPr/>
            </a:pPr>
            <a:r>
              <a:rPr kumimoji="0" lang="ru-RU" sz="20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ланируемые мероприятия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 rIns="0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орпорацией МСП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овместно с Минсельхозом России, АО 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агролизинг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,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АО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сельхозбанк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тверждена «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орожная карта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о ускорению работы по созданию и развитию сельскохозяйственных кооперативов на основе наилучших региональных практик с доведением их до малых форм хозяйствования на 2017–2018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годы. Дорожная карта включает следующие направления деятельности</a:t>
            </a:r>
            <a:endParaRPr lang="ru-RU" sz="17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82575" y="2060911"/>
            <a:ext cx="12095161" cy="1126113"/>
            <a:chOff x="282575" y="2060911"/>
            <a:chExt cx="12095161" cy="1126113"/>
          </a:xfrm>
        </p:grpSpPr>
        <p:sp>
          <p:nvSpPr>
            <p:cNvPr id="358" name="TextBox 27"/>
            <p:cNvSpPr txBox="1">
              <a:spLocks noChangeArrowheads="1"/>
            </p:cNvSpPr>
            <p:nvPr/>
          </p:nvSpPr>
          <p:spPr bwMode="auto">
            <a:xfrm>
              <a:off x="3993931" y="2109806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Расширение сбыта продукци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ельскохозяйственных кооперативов с использованием сервис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ортала Бизнес-навигатора 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в том числе через действующие розничные магазины минуя сетевые магазины; открытие собственного магазина, интернет-магазина; </a:t>
              </a:r>
            </a:p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Участие в закупках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упнейших заказчиков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в рамках специальной кво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ля субъектов МСП для целей сбыта сельскохозяйственной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продукции</a:t>
              </a:r>
              <a:endParaRPr lang="ru-RU" altLang="ru-RU" sz="1400" dirty="0">
                <a:latin typeface="Arial Narrow" panose="020B0606020202030204" pitchFamily="34" charset="0"/>
              </a:endParaRPr>
            </a:p>
          </p:txBody>
        </p:sp>
        <p:sp>
          <p:nvSpPr>
            <p:cNvPr id="2" name="Скругленный прямоугольник 1"/>
            <p:cNvSpPr/>
            <p:nvPr/>
          </p:nvSpPr>
          <p:spPr>
            <a:xfrm>
              <a:off x="282575" y="2060911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1. Расшир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быта </a:t>
              </a:r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продукции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кооперативов </a:t>
              </a:r>
              <a:endPara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82575" y="3422548"/>
            <a:ext cx="12095161" cy="1077218"/>
            <a:chOff x="282575" y="3427579"/>
            <a:chExt cx="12095161" cy="1077218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282575" y="3429107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2. Льготная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редитно-гарантийная и лизинговая поддержка</a:t>
              </a:r>
            </a:p>
          </p:txBody>
        </p:sp>
        <p:sp>
          <p:nvSpPr>
            <p:cNvPr id="25" name="TextBox 27"/>
            <p:cNvSpPr txBox="1">
              <a:spLocks noChangeArrowheads="1"/>
            </p:cNvSpPr>
            <p:nvPr/>
          </p:nvSpPr>
          <p:spPr bwMode="auto">
            <a:xfrm>
              <a:off x="3993931" y="3427579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Предоставление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льготной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редитно-гарантийной и лизинговой поддержки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числе: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едоставление гарантий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поручительств АО «Корпорация «МСП», АО «МСП Банк»,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РГО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ямое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едитование АО «МСП Банк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Лизинг оборудования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очерними региональными лизинговыми компаниями АО «Корпорация «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Совместные продук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 АО «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Росагролизинг</a:t>
              </a:r>
              <a:r>
                <a:rPr lang="ru-RU" altLang="ru-RU" sz="1400" dirty="0">
                  <a:latin typeface="Arial Narrow" panose="020B0606020202030204" pitchFamily="34" charset="0"/>
                </a:rPr>
                <a:t>»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282575" y="4735290"/>
            <a:ext cx="12095161" cy="1077218"/>
            <a:chOff x="282575" y="4672948"/>
            <a:chExt cx="12095161" cy="1077218"/>
          </a:xfrm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282575" y="4672948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3. Информиров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производителей</a:t>
              </a:r>
            </a:p>
          </p:txBody>
        </p:sp>
        <p:sp>
          <p:nvSpPr>
            <p:cNvPr id="26" name="TextBox 27"/>
            <p:cNvSpPr txBox="1">
              <a:spLocks noChangeArrowheads="1"/>
            </p:cNvSpPr>
            <p:nvPr/>
          </p:nvSpPr>
          <p:spPr bwMode="auto">
            <a:xfrm>
              <a:off x="3993931" y="4672948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Информирование сельскохозяйственных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производителей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прежде всего крестьянских (фермерских) хозяйств и личных подсобных хозяйств,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о преимуществах создания сельскохозяйственных кооперативов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наличии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омплексной поддержк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оздания и деятельности сельских кооперативов, в том числе за счет реализации целевых программ в 45 субъектах Российской Федерации, проведения обучающих мероприятий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282575" y="6048032"/>
            <a:ext cx="12095161" cy="1077218"/>
            <a:chOff x="282575" y="5915261"/>
            <a:chExt cx="12095161" cy="1077218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282575" y="5916789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4. Созд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и развитие инфраструктуры сельскохозяйственных кооперативов</a:t>
              </a:r>
            </a:p>
          </p:txBody>
        </p:sp>
        <p:sp>
          <p:nvSpPr>
            <p:cNvPr id="27" name="TextBox 27"/>
            <p:cNvSpPr txBox="1">
              <a:spLocks noChangeArrowheads="1"/>
            </p:cNvSpPr>
            <p:nvPr/>
          </p:nvSpPr>
          <p:spPr bwMode="auto">
            <a:xfrm>
              <a:off x="3993931" y="5915261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Реализация проектов по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оздан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развит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нфраструктуры сельскохозяйственных кооператив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числе в формате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хаб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парк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центров коллективного пользования (доступа) к специализированному оборудованию по обработке и переработке сельскохозяйственной продукции, оптово-распределительных центров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282575" y="7360774"/>
            <a:ext cx="12095161" cy="1078746"/>
            <a:chOff x="282575" y="7360775"/>
            <a:chExt cx="12095161" cy="1078745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282575" y="7363830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5. Установл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пециальной квоты на закупку продукции у сельскохозяйственных кооперативов </a:t>
              </a:r>
            </a:p>
          </p:txBody>
        </p:sp>
        <p:sp>
          <p:nvSpPr>
            <p:cNvPr id="28" name="TextBox 27"/>
            <p:cNvSpPr txBox="1">
              <a:spLocks noChangeArrowheads="1"/>
            </p:cNvSpPr>
            <p:nvPr/>
          </p:nvSpPr>
          <p:spPr bwMode="auto">
            <a:xfrm>
              <a:off x="3993931" y="7360775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Корпорация инициирует рассмотрение возможности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установления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для крупнейших региональных заказчик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пециальной квоты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предусматривающе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закупку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сельскохозяйственно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родукции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у сельскохозяйственных кооперативов                                                       </a:t>
              </a:r>
            </a:p>
            <a:p>
              <a:pPr algn="just">
                <a:spcBef>
                  <a:spcPts val="600"/>
                </a:spcBef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	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																																		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    </a:t>
              </a:r>
              <a:r>
                <a:rPr lang="ru-RU" altLang="ru-RU" sz="1200" dirty="0" smtClean="0">
                  <a:latin typeface="Arial Narrow" panose="020B0606020202030204" pitchFamily="34" charset="0"/>
                </a:rPr>
                <a:t>14</a:t>
              </a:r>
              <a:endParaRPr lang="ru-RU" altLang="ru-RU" sz="120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>
          <a:xfrm>
            <a:off x="3835400" y="3304786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3835400" y="4617528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3835400" y="5930270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835400" y="7243012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382"/>
          <p:cNvGrpSpPr/>
          <p:nvPr/>
        </p:nvGrpSpPr>
        <p:grpSpPr>
          <a:xfrm>
            <a:off x="452743" y="2350115"/>
            <a:ext cx="637745" cy="489816"/>
            <a:chOff x="11366500" y="13617575"/>
            <a:chExt cx="923925" cy="709613"/>
          </a:xfrm>
          <a:solidFill>
            <a:schemeClr val="bg1"/>
          </a:solidFill>
        </p:grpSpPr>
        <p:sp>
          <p:nvSpPr>
            <p:cNvPr id="42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3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49" name="Group 1581"/>
          <p:cNvGrpSpPr/>
          <p:nvPr/>
        </p:nvGrpSpPr>
        <p:grpSpPr>
          <a:xfrm>
            <a:off x="482371" y="3693033"/>
            <a:ext cx="578489" cy="536247"/>
            <a:chOff x="3556001" y="8647113"/>
            <a:chExt cx="500063" cy="463550"/>
          </a:xfrm>
          <a:solidFill>
            <a:schemeClr val="bg1"/>
          </a:solidFill>
        </p:grpSpPr>
        <p:sp>
          <p:nvSpPr>
            <p:cNvPr id="50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1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2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3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4" name="Group 1118"/>
          <p:cNvGrpSpPr/>
          <p:nvPr/>
        </p:nvGrpSpPr>
        <p:grpSpPr>
          <a:xfrm>
            <a:off x="470581" y="4981041"/>
            <a:ext cx="602069" cy="584187"/>
            <a:chOff x="2524126" y="1912938"/>
            <a:chExt cx="1282700" cy="1244600"/>
          </a:xfrm>
          <a:solidFill>
            <a:schemeClr val="bg1"/>
          </a:solidFill>
        </p:grpSpPr>
        <p:sp>
          <p:nvSpPr>
            <p:cNvPr id="55" name="Freeform 1119"/>
            <p:cNvSpPr>
              <a:spLocks/>
            </p:cNvSpPr>
            <p:nvPr/>
          </p:nvSpPr>
          <p:spPr bwMode="auto">
            <a:xfrm>
              <a:off x="2524126" y="1912938"/>
              <a:ext cx="1049338" cy="1244600"/>
            </a:xfrm>
            <a:custGeom>
              <a:avLst/>
              <a:gdLst>
                <a:gd name="T0" fmla="*/ 102 w 293"/>
                <a:gd name="T1" fmla="*/ 347 h 347"/>
                <a:gd name="T2" fmla="*/ 49 w 293"/>
                <a:gd name="T3" fmla="*/ 347 h 347"/>
                <a:gd name="T4" fmla="*/ 39 w 293"/>
                <a:gd name="T5" fmla="*/ 342 h 347"/>
                <a:gd name="T6" fmla="*/ 37 w 293"/>
                <a:gd name="T7" fmla="*/ 332 h 347"/>
                <a:gd name="T8" fmla="*/ 57 w 293"/>
                <a:gd name="T9" fmla="*/ 232 h 347"/>
                <a:gd name="T10" fmla="*/ 13 w 293"/>
                <a:gd name="T11" fmla="*/ 232 h 347"/>
                <a:gd name="T12" fmla="*/ 0 w 293"/>
                <a:gd name="T13" fmla="*/ 220 h 347"/>
                <a:gd name="T14" fmla="*/ 0 w 293"/>
                <a:gd name="T15" fmla="*/ 108 h 347"/>
                <a:gd name="T16" fmla="*/ 13 w 293"/>
                <a:gd name="T17" fmla="*/ 96 h 347"/>
                <a:gd name="T18" fmla="*/ 153 w 293"/>
                <a:gd name="T19" fmla="*/ 96 h 347"/>
                <a:gd name="T20" fmla="*/ 274 w 293"/>
                <a:gd name="T21" fmla="*/ 3 h 347"/>
                <a:gd name="T22" fmla="*/ 286 w 293"/>
                <a:gd name="T23" fmla="*/ 2 h 347"/>
                <a:gd name="T24" fmla="*/ 293 w 293"/>
                <a:gd name="T25" fmla="*/ 13 h 347"/>
                <a:gd name="T26" fmla="*/ 293 w 293"/>
                <a:gd name="T27" fmla="*/ 317 h 347"/>
                <a:gd name="T28" fmla="*/ 286 w 293"/>
                <a:gd name="T29" fmla="*/ 328 h 347"/>
                <a:gd name="T30" fmla="*/ 274 w 293"/>
                <a:gd name="T31" fmla="*/ 327 h 347"/>
                <a:gd name="T32" fmla="*/ 155 w 293"/>
                <a:gd name="T33" fmla="*/ 238 h 347"/>
                <a:gd name="T34" fmla="*/ 150 w 293"/>
                <a:gd name="T35" fmla="*/ 228 h 347"/>
                <a:gd name="T36" fmla="*/ 150 w 293"/>
                <a:gd name="T37" fmla="*/ 151 h 347"/>
                <a:gd name="T38" fmla="*/ 162 w 293"/>
                <a:gd name="T39" fmla="*/ 139 h 347"/>
                <a:gd name="T40" fmla="*/ 175 w 293"/>
                <a:gd name="T41" fmla="*/ 151 h 347"/>
                <a:gd name="T42" fmla="*/ 175 w 293"/>
                <a:gd name="T43" fmla="*/ 222 h 347"/>
                <a:gd name="T44" fmla="*/ 269 w 293"/>
                <a:gd name="T45" fmla="*/ 293 h 347"/>
                <a:gd name="T46" fmla="*/ 269 w 293"/>
                <a:gd name="T47" fmla="*/ 38 h 347"/>
                <a:gd name="T48" fmla="*/ 165 w 293"/>
                <a:gd name="T49" fmla="*/ 118 h 347"/>
                <a:gd name="T50" fmla="*/ 157 w 293"/>
                <a:gd name="T51" fmla="*/ 120 h 347"/>
                <a:gd name="T52" fmla="*/ 25 w 293"/>
                <a:gd name="T53" fmla="*/ 120 h 347"/>
                <a:gd name="T54" fmla="*/ 25 w 293"/>
                <a:gd name="T55" fmla="*/ 208 h 347"/>
                <a:gd name="T56" fmla="*/ 71 w 293"/>
                <a:gd name="T57" fmla="*/ 208 h 347"/>
                <a:gd name="T58" fmla="*/ 81 w 293"/>
                <a:gd name="T59" fmla="*/ 212 h 347"/>
                <a:gd name="T60" fmla="*/ 83 w 293"/>
                <a:gd name="T61" fmla="*/ 223 h 347"/>
                <a:gd name="T62" fmla="*/ 64 w 293"/>
                <a:gd name="T63" fmla="*/ 322 h 347"/>
                <a:gd name="T64" fmla="*/ 92 w 293"/>
                <a:gd name="T65" fmla="*/ 322 h 347"/>
                <a:gd name="T66" fmla="*/ 116 w 293"/>
                <a:gd name="T67" fmla="*/ 216 h 347"/>
                <a:gd name="T68" fmla="*/ 131 w 293"/>
                <a:gd name="T69" fmla="*/ 207 h 347"/>
                <a:gd name="T70" fmla="*/ 140 w 293"/>
                <a:gd name="T71" fmla="*/ 222 h 347"/>
                <a:gd name="T72" fmla="*/ 114 w 293"/>
                <a:gd name="T73" fmla="*/ 337 h 347"/>
                <a:gd name="T74" fmla="*/ 102 w 293"/>
                <a:gd name="T75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3" h="347">
                  <a:moveTo>
                    <a:pt x="102" y="347"/>
                  </a:moveTo>
                  <a:cubicBezTo>
                    <a:pt x="49" y="347"/>
                    <a:pt x="49" y="347"/>
                    <a:pt x="49" y="347"/>
                  </a:cubicBezTo>
                  <a:cubicBezTo>
                    <a:pt x="45" y="347"/>
                    <a:pt x="42" y="345"/>
                    <a:pt x="39" y="342"/>
                  </a:cubicBezTo>
                  <a:cubicBezTo>
                    <a:pt x="37" y="339"/>
                    <a:pt x="36" y="336"/>
                    <a:pt x="37" y="332"/>
                  </a:cubicBezTo>
                  <a:cubicBezTo>
                    <a:pt x="57" y="232"/>
                    <a:pt x="57" y="232"/>
                    <a:pt x="57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6" y="232"/>
                    <a:pt x="0" y="227"/>
                    <a:pt x="0" y="22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1"/>
                    <a:pt x="6" y="96"/>
                    <a:pt x="13" y="96"/>
                  </a:cubicBezTo>
                  <a:cubicBezTo>
                    <a:pt x="153" y="96"/>
                    <a:pt x="153" y="96"/>
                    <a:pt x="153" y="96"/>
                  </a:cubicBezTo>
                  <a:cubicBezTo>
                    <a:pt x="274" y="3"/>
                    <a:pt x="274" y="3"/>
                    <a:pt x="274" y="3"/>
                  </a:cubicBezTo>
                  <a:cubicBezTo>
                    <a:pt x="277" y="1"/>
                    <a:pt x="282" y="0"/>
                    <a:pt x="286" y="2"/>
                  </a:cubicBezTo>
                  <a:cubicBezTo>
                    <a:pt x="291" y="4"/>
                    <a:pt x="293" y="9"/>
                    <a:pt x="293" y="13"/>
                  </a:cubicBezTo>
                  <a:cubicBezTo>
                    <a:pt x="293" y="317"/>
                    <a:pt x="293" y="317"/>
                    <a:pt x="293" y="317"/>
                  </a:cubicBezTo>
                  <a:cubicBezTo>
                    <a:pt x="293" y="322"/>
                    <a:pt x="291" y="326"/>
                    <a:pt x="286" y="328"/>
                  </a:cubicBezTo>
                  <a:cubicBezTo>
                    <a:pt x="282" y="330"/>
                    <a:pt x="277" y="330"/>
                    <a:pt x="274" y="327"/>
                  </a:cubicBezTo>
                  <a:cubicBezTo>
                    <a:pt x="155" y="238"/>
                    <a:pt x="155" y="238"/>
                    <a:pt x="155" y="238"/>
                  </a:cubicBezTo>
                  <a:cubicBezTo>
                    <a:pt x="152" y="235"/>
                    <a:pt x="150" y="232"/>
                    <a:pt x="150" y="228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44"/>
                    <a:pt x="156" y="139"/>
                    <a:pt x="162" y="139"/>
                  </a:cubicBezTo>
                  <a:cubicBezTo>
                    <a:pt x="169" y="139"/>
                    <a:pt x="175" y="144"/>
                    <a:pt x="175" y="151"/>
                  </a:cubicBezTo>
                  <a:cubicBezTo>
                    <a:pt x="175" y="222"/>
                    <a:pt x="175" y="222"/>
                    <a:pt x="175" y="222"/>
                  </a:cubicBezTo>
                  <a:cubicBezTo>
                    <a:pt x="269" y="293"/>
                    <a:pt x="269" y="293"/>
                    <a:pt x="269" y="293"/>
                  </a:cubicBezTo>
                  <a:cubicBezTo>
                    <a:pt x="269" y="38"/>
                    <a:pt x="269" y="38"/>
                    <a:pt x="269" y="38"/>
                  </a:cubicBezTo>
                  <a:cubicBezTo>
                    <a:pt x="165" y="118"/>
                    <a:pt x="165" y="118"/>
                    <a:pt x="165" y="118"/>
                  </a:cubicBezTo>
                  <a:cubicBezTo>
                    <a:pt x="163" y="119"/>
                    <a:pt x="160" y="120"/>
                    <a:pt x="157" y="120"/>
                  </a:cubicBezTo>
                  <a:cubicBezTo>
                    <a:pt x="25" y="120"/>
                    <a:pt x="25" y="120"/>
                    <a:pt x="25" y="120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1" y="208"/>
                    <a:pt x="71" y="208"/>
                    <a:pt x="71" y="208"/>
                  </a:cubicBezTo>
                  <a:cubicBezTo>
                    <a:pt x="75" y="208"/>
                    <a:pt x="79" y="210"/>
                    <a:pt x="81" y="212"/>
                  </a:cubicBezTo>
                  <a:cubicBezTo>
                    <a:pt x="83" y="215"/>
                    <a:pt x="84" y="219"/>
                    <a:pt x="83" y="223"/>
                  </a:cubicBezTo>
                  <a:cubicBezTo>
                    <a:pt x="64" y="322"/>
                    <a:pt x="64" y="322"/>
                    <a:pt x="64" y="322"/>
                  </a:cubicBezTo>
                  <a:cubicBezTo>
                    <a:pt x="92" y="322"/>
                    <a:pt x="92" y="322"/>
                    <a:pt x="92" y="322"/>
                  </a:cubicBezTo>
                  <a:cubicBezTo>
                    <a:pt x="116" y="216"/>
                    <a:pt x="116" y="216"/>
                    <a:pt x="116" y="216"/>
                  </a:cubicBezTo>
                  <a:cubicBezTo>
                    <a:pt x="118" y="209"/>
                    <a:pt x="124" y="205"/>
                    <a:pt x="131" y="207"/>
                  </a:cubicBezTo>
                  <a:cubicBezTo>
                    <a:pt x="137" y="208"/>
                    <a:pt x="141" y="215"/>
                    <a:pt x="140" y="222"/>
                  </a:cubicBezTo>
                  <a:cubicBezTo>
                    <a:pt x="114" y="337"/>
                    <a:pt x="114" y="337"/>
                    <a:pt x="114" y="337"/>
                  </a:cubicBezTo>
                  <a:cubicBezTo>
                    <a:pt x="112" y="343"/>
                    <a:pt x="107" y="347"/>
                    <a:pt x="102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6" name="Freeform 1120"/>
            <p:cNvSpPr>
              <a:spLocks/>
            </p:cNvSpPr>
            <p:nvPr/>
          </p:nvSpPr>
          <p:spPr bwMode="auto">
            <a:xfrm>
              <a:off x="3538538" y="2320926"/>
              <a:ext cx="268288" cy="384175"/>
            </a:xfrm>
            <a:custGeom>
              <a:avLst/>
              <a:gdLst>
                <a:gd name="T0" fmla="*/ 23 w 75"/>
                <a:gd name="T1" fmla="*/ 107 h 107"/>
                <a:gd name="T2" fmla="*/ 12 w 75"/>
                <a:gd name="T3" fmla="*/ 107 h 107"/>
                <a:gd name="T4" fmla="*/ 0 w 75"/>
                <a:gd name="T5" fmla="*/ 94 h 107"/>
                <a:gd name="T6" fmla="*/ 12 w 75"/>
                <a:gd name="T7" fmla="*/ 82 h 107"/>
                <a:gd name="T8" fmla="*/ 23 w 75"/>
                <a:gd name="T9" fmla="*/ 82 h 107"/>
                <a:gd name="T10" fmla="*/ 50 w 75"/>
                <a:gd name="T11" fmla="*/ 55 h 107"/>
                <a:gd name="T12" fmla="*/ 50 w 75"/>
                <a:gd name="T13" fmla="*/ 52 h 107"/>
                <a:gd name="T14" fmla="*/ 23 w 75"/>
                <a:gd name="T15" fmla="*/ 25 h 107"/>
                <a:gd name="T16" fmla="*/ 12 w 75"/>
                <a:gd name="T17" fmla="*/ 25 h 107"/>
                <a:gd name="T18" fmla="*/ 0 w 75"/>
                <a:gd name="T19" fmla="*/ 12 h 107"/>
                <a:gd name="T20" fmla="*/ 12 w 75"/>
                <a:gd name="T21" fmla="*/ 0 h 107"/>
                <a:gd name="T22" fmla="*/ 23 w 75"/>
                <a:gd name="T23" fmla="*/ 0 h 107"/>
                <a:gd name="T24" fmla="*/ 75 w 75"/>
                <a:gd name="T25" fmla="*/ 52 h 107"/>
                <a:gd name="T26" fmla="*/ 75 w 75"/>
                <a:gd name="T27" fmla="*/ 55 h 107"/>
                <a:gd name="T28" fmla="*/ 23 w 75"/>
                <a:gd name="T2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107">
                  <a:moveTo>
                    <a:pt x="23" y="107"/>
                  </a:moveTo>
                  <a:cubicBezTo>
                    <a:pt x="12" y="107"/>
                    <a:pt x="12" y="107"/>
                    <a:pt x="12" y="107"/>
                  </a:cubicBezTo>
                  <a:cubicBezTo>
                    <a:pt x="6" y="107"/>
                    <a:pt x="0" y="101"/>
                    <a:pt x="0" y="94"/>
                  </a:cubicBezTo>
                  <a:cubicBezTo>
                    <a:pt x="0" y="88"/>
                    <a:pt x="6" y="82"/>
                    <a:pt x="12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38" y="82"/>
                    <a:pt x="50" y="70"/>
                    <a:pt x="50" y="55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37"/>
                    <a:pt x="38" y="25"/>
                    <a:pt x="23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6" y="25"/>
                    <a:pt x="0" y="19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2" y="0"/>
                    <a:pt x="75" y="23"/>
                    <a:pt x="75" y="52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84"/>
                    <a:pt x="52" y="107"/>
                    <a:pt x="23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7" name="Group 303"/>
          <p:cNvGrpSpPr/>
          <p:nvPr/>
        </p:nvGrpSpPr>
        <p:grpSpPr>
          <a:xfrm>
            <a:off x="498621" y="6284857"/>
            <a:ext cx="545989" cy="603567"/>
            <a:chOff x="2555875" y="13077826"/>
            <a:chExt cx="436563" cy="482600"/>
          </a:xfrm>
          <a:solidFill>
            <a:schemeClr val="bg1"/>
          </a:solidFill>
        </p:grpSpPr>
        <p:sp>
          <p:nvSpPr>
            <p:cNvPr id="58" name="Freeform 719"/>
            <p:cNvSpPr>
              <a:spLocks/>
            </p:cNvSpPr>
            <p:nvPr/>
          </p:nvSpPr>
          <p:spPr bwMode="auto">
            <a:xfrm>
              <a:off x="2697163" y="13212763"/>
              <a:ext cx="128588" cy="87313"/>
            </a:xfrm>
            <a:custGeom>
              <a:avLst/>
              <a:gdLst>
                <a:gd name="T0" fmla="*/ 6 w 44"/>
                <a:gd name="T1" fmla="*/ 30 h 30"/>
                <a:gd name="T2" fmla="*/ 1 w 44"/>
                <a:gd name="T3" fmla="*/ 27 h 30"/>
                <a:gd name="T4" fmla="*/ 3 w 44"/>
                <a:gd name="T5" fmla="*/ 19 h 30"/>
                <a:gd name="T6" fmla="*/ 34 w 44"/>
                <a:gd name="T7" fmla="*/ 1 h 30"/>
                <a:gd name="T8" fmla="*/ 42 w 44"/>
                <a:gd name="T9" fmla="*/ 3 h 30"/>
                <a:gd name="T10" fmla="*/ 40 w 44"/>
                <a:gd name="T11" fmla="*/ 12 h 30"/>
                <a:gd name="T12" fmla="*/ 9 w 44"/>
                <a:gd name="T13" fmla="*/ 29 h 30"/>
                <a:gd name="T14" fmla="*/ 6 w 44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0">
                  <a:moveTo>
                    <a:pt x="6" y="30"/>
                  </a:moveTo>
                  <a:cubicBezTo>
                    <a:pt x="4" y="30"/>
                    <a:pt x="2" y="29"/>
                    <a:pt x="1" y="27"/>
                  </a:cubicBezTo>
                  <a:cubicBezTo>
                    <a:pt x="0" y="24"/>
                    <a:pt x="1" y="20"/>
                    <a:pt x="3" y="19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7" y="0"/>
                    <a:pt x="40" y="1"/>
                    <a:pt x="42" y="3"/>
                  </a:cubicBezTo>
                  <a:cubicBezTo>
                    <a:pt x="44" y="6"/>
                    <a:pt x="43" y="10"/>
                    <a:pt x="40" y="12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9" name="Freeform 720"/>
            <p:cNvSpPr>
              <a:spLocks/>
            </p:cNvSpPr>
            <p:nvPr/>
          </p:nvSpPr>
          <p:spPr bwMode="auto">
            <a:xfrm>
              <a:off x="2725738" y="13361988"/>
              <a:ext cx="131763" cy="87313"/>
            </a:xfrm>
            <a:custGeom>
              <a:avLst/>
              <a:gdLst>
                <a:gd name="T0" fmla="*/ 38 w 45"/>
                <a:gd name="T1" fmla="*/ 30 h 30"/>
                <a:gd name="T2" fmla="*/ 35 w 45"/>
                <a:gd name="T3" fmla="*/ 29 h 30"/>
                <a:gd name="T4" fmla="*/ 4 w 45"/>
                <a:gd name="T5" fmla="*/ 13 h 30"/>
                <a:gd name="T6" fmla="*/ 2 w 45"/>
                <a:gd name="T7" fmla="*/ 4 h 30"/>
                <a:gd name="T8" fmla="*/ 10 w 45"/>
                <a:gd name="T9" fmla="*/ 2 h 30"/>
                <a:gd name="T10" fmla="*/ 41 w 45"/>
                <a:gd name="T11" fmla="*/ 19 h 30"/>
                <a:gd name="T12" fmla="*/ 43 w 45"/>
                <a:gd name="T13" fmla="*/ 27 h 30"/>
                <a:gd name="T14" fmla="*/ 38 w 45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0">
                  <a:moveTo>
                    <a:pt x="38" y="30"/>
                  </a:moveTo>
                  <a:cubicBezTo>
                    <a:pt x="37" y="30"/>
                    <a:pt x="36" y="30"/>
                    <a:pt x="35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2"/>
                    <a:pt x="7" y="0"/>
                    <a:pt x="10" y="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4" y="20"/>
                    <a:pt x="45" y="24"/>
                    <a:pt x="43" y="27"/>
                  </a:cubicBezTo>
                  <a:cubicBezTo>
                    <a:pt x="42" y="29"/>
                    <a:pt x="40" y="30"/>
                    <a:pt x="3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0" name="Freeform 721"/>
            <p:cNvSpPr>
              <a:spLocks noEditPoints="1"/>
            </p:cNvSpPr>
            <p:nvPr/>
          </p:nvSpPr>
          <p:spPr bwMode="auto">
            <a:xfrm>
              <a:off x="2811463" y="13382626"/>
              <a:ext cx="177800" cy="177800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0 h 61"/>
                <a:gd name="T4" fmla="*/ 30 w 61"/>
                <a:gd name="T5" fmla="*/ 0 h 61"/>
                <a:gd name="T6" fmla="*/ 61 w 61"/>
                <a:gd name="T7" fmla="*/ 30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0 h 61"/>
                <a:gd name="T14" fmla="*/ 30 w 61"/>
                <a:gd name="T15" fmla="*/ 49 h 61"/>
                <a:gd name="T16" fmla="*/ 49 w 61"/>
                <a:gd name="T17" fmla="*/ 30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1" y="13"/>
                    <a:pt x="61" y="30"/>
                  </a:cubicBezTo>
                  <a:cubicBezTo>
                    <a:pt x="61" y="47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0" y="49"/>
                    <a:pt x="49" y="41"/>
                    <a:pt x="49" y="30"/>
                  </a:cubicBezTo>
                  <a:cubicBezTo>
                    <a:pt x="49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1" name="Freeform 722"/>
            <p:cNvSpPr>
              <a:spLocks noEditPoints="1"/>
            </p:cNvSpPr>
            <p:nvPr/>
          </p:nvSpPr>
          <p:spPr bwMode="auto">
            <a:xfrm>
              <a:off x="2555875" y="13233401"/>
              <a:ext cx="180975" cy="177800"/>
            </a:xfrm>
            <a:custGeom>
              <a:avLst/>
              <a:gdLst>
                <a:gd name="T0" fmla="*/ 31 w 62"/>
                <a:gd name="T1" fmla="*/ 61 h 61"/>
                <a:gd name="T2" fmla="*/ 0 w 62"/>
                <a:gd name="T3" fmla="*/ 31 h 61"/>
                <a:gd name="T4" fmla="*/ 31 w 62"/>
                <a:gd name="T5" fmla="*/ 0 h 61"/>
                <a:gd name="T6" fmla="*/ 62 w 62"/>
                <a:gd name="T7" fmla="*/ 31 h 61"/>
                <a:gd name="T8" fmla="*/ 31 w 62"/>
                <a:gd name="T9" fmla="*/ 61 h 61"/>
                <a:gd name="T10" fmla="*/ 31 w 62"/>
                <a:gd name="T11" fmla="*/ 12 h 61"/>
                <a:gd name="T12" fmla="*/ 12 w 62"/>
                <a:gd name="T13" fmla="*/ 31 h 61"/>
                <a:gd name="T14" fmla="*/ 31 w 62"/>
                <a:gd name="T15" fmla="*/ 49 h 61"/>
                <a:gd name="T16" fmla="*/ 50 w 62"/>
                <a:gd name="T17" fmla="*/ 31 h 61"/>
                <a:gd name="T18" fmla="*/ 31 w 62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31" y="61"/>
                  </a:moveTo>
                  <a:cubicBezTo>
                    <a:pt x="14" y="61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1"/>
                    <a:pt x="31" y="61"/>
                  </a:cubicBezTo>
                  <a:close/>
                  <a:moveTo>
                    <a:pt x="31" y="12"/>
                  </a:moveTo>
                  <a:cubicBezTo>
                    <a:pt x="21" y="12"/>
                    <a:pt x="12" y="21"/>
                    <a:pt x="12" y="31"/>
                  </a:cubicBezTo>
                  <a:cubicBezTo>
                    <a:pt x="12" y="41"/>
                    <a:pt x="21" y="49"/>
                    <a:pt x="31" y="49"/>
                  </a:cubicBezTo>
                  <a:cubicBezTo>
                    <a:pt x="41" y="49"/>
                    <a:pt x="50" y="41"/>
                    <a:pt x="50" y="31"/>
                  </a:cubicBezTo>
                  <a:cubicBezTo>
                    <a:pt x="50" y="21"/>
                    <a:pt x="41" y="12"/>
                    <a:pt x="3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2" name="Freeform 723"/>
            <p:cNvSpPr>
              <a:spLocks noEditPoints="1"/>
            </p:cNvSpPr>
            <p:nvPr/>
          </p:nvSpPr>
          <p:spPr bwMode="auto">
            <a:xfrm>
              <a:off x="2813050" y="13077826"/>
              <a:ext cx="179388" cy="179388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1 h 61"/>
                <a:gd name="T4" fmla="*/ 30 w 61"/>
                <a:gd name="T5" fmla="*/ 0 h 61"/>
                <a:gd name="T6" fmla="*/ 61 w 61"/>
                <a:gd name="T7" fmla="*/ 31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1 h 61"/>
                <a:gd name="T14" fmla="*/ 30 w 61"/>
                <a:gd name="T15" fmla="*/ 49 h 61"/>
                <a:gd name="T16" fmla="*/ 49 w 61"/>
                <a:gd name="T17" fmla="*/ 31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8"/>
                    <a:pt x="0" y="31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48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1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1" y="49"/>
                    <a:pt x="49" y="41"/>
                    <a:pt x="49" y="31"/>
                  </a:cubicBezTo>
                  <a:cubicBezTo>
                    <a:pt x="49" y="20"/>
                    <a:pt x="41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3" name="Freeform 9"/>
          <p:cNvSpPr>
            <a:spLocks noEditPoints="1"/>
          </p:cNvSpPr>
          <p:nvPr/>
        </p:nvSpPr>
        <p:spPr bwMode="auto">
          <a:xfrm>
            <a:off x="442035" y="7633929"/>
            <a:ext cx="659160" cy="530908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8956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Диаграмма 28"/>
          <p:cNvGraphicFramePr>
            <a:graphicFrameLocks noChangeAspect="1"/>
          </p:cNvGraphicFramePr>
          <p:nvPr>
            <p:extLst/>
          </p:nvPr>
        </p:nvGraphicFramePr>
        <p:xfrm>
          <a:off x="585905" y="4796875"/>
          <a:ext cx="5638405" cy="2419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7" name="Пятиугольник 56"/>
          <p:cNvSpPr/>
          <p:nvPr/>
        </p:nvSpPr>
        <p:spPr>
          <a:xfrm rot="5400000">
            <a:off x="1842578" y="-349377"/>
            <a:ext cx="3125059" cy="5638404"/>
          </a:xfrm>
          <a:prstGeom prst="homePlate">
            <a:avLst>
              <a:gd name="adj" fmla="val 25959"/>
            </a:avLst>
          </a:prstGeom>
          <a:solidFill>
            <a:schemeClr val="accent1">
              <a:lumMod val="20000"/>
              <a:lumOff val="80000"/>
              <a:alpha val="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68" dirty="0"/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6561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lvl="0" algn="ctr">
              <a:defRPr/>
            </a:pPr>
            <a:r>
              <a:rPr lang="ru-RU" sz="2268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ы поддержки субъектов МСП в Дальневосточном федеральном округ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85905" y="4119677"/>
            <a:ext cx="11355751" cy="5898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68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База для увеличения объемов кредитно-гарантийной поддержк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98165" y="945329"/>
            <a:ext cx="5094366" cy="3443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38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Увеличение доли закупок в ДФО</a:t>
            </a:r>
          </a:p>
        </p:txBody>
      </p:sp>
      <p:graphicFrame>
        <p:nvGraphicFramePr>
          <p:cNvPr id="37" name="Диаграмма 36"/>
          <p:cNvGraphicFramePr>
            <a:graphicFrameLocks noChangeAspect="1"/>
          </p:cNvGraphicFramePr>
          <p:nvPr>
            <p:extLst/>
          </p:nvPr>
        </p:nvGraphicFramePr>
        <p:xfrm>
          <a:off x="923969" y="1076949"/>
          <a:ext cx="5094366" cy="25308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0" name="Прямоугольник 39"/>
          <p:cNvSpPr/>
          <p:nvPr/>
        </p:nvSpPr>
        <p:spPr>
          <a:xfrm>
            <a:off x="585905" y="4862175"/>
            <a:ext cx="5363625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ъем фактически оказанной и планируемой кредитно-гарантийной поддержки в ДФО с 2016 по 2018 гг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950432" y="2229715"/>
            <a:ext cx="467705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5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577092" y="2118359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38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242149" y="2049501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</a:t>
            </a:r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0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Прямая соединительная линия 7"/>
          <p:cNvCxnSpPr>
            <a:stCxn id="47" idx="3"/>
          </p:cNvCxnSpPr>
          <p:nvPr/>
        </p:nvCxnSpPr>
        <p:spPr>
          <a:xfrm flipV="1">
            <a:off x="3255316" y="1655354"/>
            <a:ext cx="580065" cy="5010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3835381" y="1658587"/>
            <a:ext cx="0" cy="455694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1652428" y="1337640"/>
            <a:ext cx="1602888" cy="6454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52"/>
              </a:spcAft>
            </a:pPr>
            <a:r>
              <a:rPr lang="ru-RU" sz="1134" dirty="0">
                <a:solidFill>
                  <a:schemeClr val="tx1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лючено</a:t>
            </a:r>
            <a:r>
              <a:rPr lang="ru-RU" sz="1134" b="1" dirty="0">
                <a:solidFill>
                  <a:schemeClr val="tx1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5 672 </a:t>
            </a:r>
            <a:r>
              <a:rPr lang="ru-RU" sz="1134" b="1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134" dirty="0">
                <a:solidFill>
                  <a:schemeClr val="tx1"/>
                </a:solidFill>
                <a:latin typeface="Arial Narrow" panose="020B0606020202030204" pitchFamily="34" charset="0"/>
              </a:rPr>
              <a:t>договора с </a:t>
            </a:r>
            <a:r>
              <a:rPr lang="ru-RU" sz="1134" b="1" dirty="0">
                <a:solidFill>
                  <a:schemeClr val="tx1"/>
                </a:solidFill>
                <a:latin typeface="Arial Narrow" panose="020B0606020202030204" pitchFamily="34" charset="0"/>
              </a:rPr>
              <a:t>2 320 </a:t>
            </a:r>
            <a:r>
              <a:rPr lang="ru-RU" sz="1134" dirty="0">
                <a:solidFill>
                  <a:schemeClr val="tx1"/>
                </a:solidFill>
                <a:latin typeface="Arial Narrow" panose="020B0606020202030204" pitchFamily="34" charset="0"/>
              </a:rPr>
              <a:t>субъектам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374707" y="899841"/>
            <a:ext cx="5923616" cy="3125060"/>
            <a:chOff x="417843" y="720104"/>
            <a:chExt cx="4701455" cy="2480297"/>
          </a:xfrm>
        </p:grpSpPr>
        <p:sp>
          <p:nvSpPr>
            <p:cNvPr id="54" name="Пятиугольник 53"/>
            <p:cNvSpPr/>
            <p:nvPr/>
          </p:nvSpPr>
          <p:spPr>
            <a:xfrm rot="5400000">
              <a:off x="1415238" y="-277291"/>
              <a:ext cx="2480297" cy="4475088"/>
            </a:xfrm>
            <a:prstGeom prst="homePlate">
              <a:avLst>
                <a:gd name="adj" fmla="val 2595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268" dirty="0"/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078" y="772819"/>
              <a:ext cx="305082" cy="350094"/>
            </a:xfrm>
            <a:prstGeom prst="rect">
              <a:avLst/>
            </a:prstGeom>
          </p:spPr>
        </p:pic>
        <p:sp>
          <p:nvSpPr>
            <p:cNvPr id="49" name="Прямоугольник 48"/>
            <p:cNvSpPr/>
            <p:nvPr/>
          </p:nvSpPr>
          <p:spPr>
            <a:xfrm>
              <a:off x="783434" y="1122913"/>
              <a:ext cx="4335864" cy="16110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ea typeface="Times New Roman" panose="02020603050405020304" pitchFamily="18" charset="0"/>
              </a:endParaRP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Базовый функционал Бизнес-навигатора МСП охватывает 13 городов всех 9 субъектов Российской Федерации, входящих в состав Дальневосточного федерального округа</a:t>
              </a: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В составе Бизнес-навигатора МСП создан подраздел «Специальные меры поддержки субъектов МСП на Дальнем Востоке»</a:t>
              </a: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Разработано мобильное приложение сервиса Бизнес-навигатора МСП</a:t>
              </a: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На </a:t>
              </a:r>
              <a:r>
                <a:rPr lang="ru-RU" sz="126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11.12.2017 </a:t>
              </a: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зарегистрировано </a:t>
              </a:r>
              <a:r>
                <a:rPr lang="ru-RU" sz="1260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18 158 </a:t>
              </a:r>
              <a:r>
                <a:rPr lang="ru-RU" sz="1260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субъектов МСП в ДФО</a:t>
              </a:r>
            </a:p>
            <a:p>
              <a:pPr marL="216027" indent="-216027">
                <a:spcAft>
                  <a:spcPts val="252"/>
                </a:spcAft>
                <a:buClr>
                  <a:schemeClr val="accent1">
                    <a:lumMod val="50000"/>
                  </a:scheme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latin typeface="Arial Narrow" panose="020B0606020202030204" pitchFamily="34" charset="0"/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761878" y="772770"/>
              <a:ext cx="4178509" cy="2733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638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Использование сервисов портала Бизнес-навигатора МСП</a:t>
              </a: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3670954" y="6034992"/>
            <a:ext cx="516854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38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4383333" y="5946986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61,4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5173542" y="5428771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34" b="1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62%</a:t>
            </a:r>
            <a:endParaRPr lang="ru-RU" sz="1134" b="1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6303251" y="4862176"/>
            <a:ext cx="563840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оприятия по повышению доступности финансовых ресурсов</a:t>
            </a:r>
            <a:endParaRPr lang="en-US" sz="126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ru-RU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субъектов МСП</a:t>
            </a:r>
            <a:r>
              <a:rPr lang="en-US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26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ДФО</a:t>
            </a:r>
            <a:endParaRPr lang="ru-RU" sz="1260" b="1" dirty="0"/>
          </a:p>
        </p:txBody>
      </p:sp>
      <p:sp>
        <p:nvSpPr>
          <p:cNvPr id="69" name="Прямоугольник 68"/>
          <p:cNvSpPr/>
          <p:nvPr/>
        </p:nvSpPr>
        <p:spPr>
          <a:xfrm>
            <a:off x="6291985" y="5346515"/>
            <a:ext cx="5649671" cy="2922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36" indent="-288036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иальные гарантийные продукты АО «Корпорация «МСП» для субъектов МСП в ДФО с повышенным размером обеспечения (до 75% от долговых обязательств)</a:t>
            </a:r>
          </a:p>
          <a:p>
            <a:pPr marL="288036" indent="-288036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иальные кредитные продукты АО «МСП Банк»:</a:t>
            </a:r>
          </a:p>
          <a:p>
            <a:pPr marL="336042" lvl="1" indent="116015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ля резидентов территорий опережающего социально-экономического развития, </a:t>
            </a:r>
          </a:p>
          <a:p>
            <a:pPr marL="336042" lvl="1" indent="116015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ля резидентов свободного порта Владивосток,</a:t>
            </a:r>
          </a:p>
          <a:p>
            <a:pPr marL="336042" lvl="1" indent="116015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ля резидентов приграничных территорий Дальневосточного федерального округа,</a:t>
            </a:r>
          </a:p>
          <a:p>
            <a:pPr marL="336042" lvl="1" indent="116015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ля граждан, которым были предоставлены в безвозмездное пользование земельные участки  в соответствии с Федеральным законом от 01.05.2016 № 119-ФЗ (программа «Дальневосточный гектар»)</a:t>
            </a:r>
          </a:p>
          <a:p>
            <a:pPr lvl="1">
              <a:buClr>
                <a:srgbClr val="0070C0"/>
              </a:buClr>
              <a:buSzPct val="130000"/>
            </a:pPr>
            <a:endParaRPr lang="ru-RU" sz="1008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1">
              <a:buClr>
                <a:srgbClr val="0070C0"/>
              </a:buClr>
              <a:buSzPct val="130000"/>
            </a:pPr>
            <a:endParaRPr lang="ru-RU" sz="1008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1">
              <a:buClr>
                <a:srgbClr val="0070C0"/>
              </a:buClr>
              <a:buSzPct val="130000"/>
            </a:pPr>
            <a:endParaRPr lang="ru-RU" sz="126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>
              <a:spcAft>
                <a:spcPts val="252"/>
              </a:spcAft>
              <a:buClr>
                <a:srgbClr val="0070C0"/>
              </a:buClr>
              <a:buSzPct val="130000"/>
            </a:pPr>
            <a:endParaRPr lang="ru-RU" sz="1134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8036" indent="-288036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endParaRPr lang="en-US" sz="1134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marL="288036" indent="-288036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оздание удаленных рабочих мест АО «МСП Банк» в 11 городах: Владивосток, Хабаровск, Якутск, Благовещенск, Петропавловск-Камчатский, Южно-Сахалинск, Биробиджан, Комсомольск-на-Амуре, Магадан, Анадырь, Дальнегорск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506964" y="7218035"/>
            <a:ext cx="5717346" cy="861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52"/>
              </a:spcAft>
            </a:pPr>
            <a:r>
              <a:rPr lang="en-US" sz="1008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18.07.2017</a:t>
            </a:r>
            <a:r>
              <a:rPr lang="en-US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утвержден план мероприятий («дорожная карта») по дополнительным (специальным) мерам 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держки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субъектов МСП в Дальневосточном федеральном округе на 2017-2018 годы, предложенный АО «Корпорация «МСП»</a:t>
            </a:r>
          </a:p>
          <a:p>
            <a:pPr>
              <a:spcAft>
                <a:spcPts val="756"/>
              </a:spcAft>
            </a:pPr>
            <a:r>
              <a:rPr lang="ru-RU" sz="1008" b="1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27.09.2017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подписан перечень 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ручений</a:t>
            </a:r>
            <a:r>
              <a:rPr lang="ru-RU" sz="1008" dirty="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rPr>
              <a:t> Президента Российской Федерации Пр-1968 по итогам рабочей поездки в Дальневосточный федеральный округ 5–8 сентября 2017 г.</a:t>
            </a:r>
          </a:p>
        </p:txBody>
      </p:sp>
      <p:sp>
        <p:nvSpPr>
          <p:cNvPr id="35" name="Правая фигурная скобка 34"/>
          <p:cNvSpPr/>
          <p:nvPr/>
        </p:nvSpPr>
        <p:spPr>
          <a:xfrm rot="5400000">
            <a:off x="9200734" y="4375943"/>
            <a:ext cx="210402" cy="5271442"/>
          </a:xfrm>
          <a:prstGeom prst="rightBrace">
            <a:avLst>
              <a:gd name="adj1" fmla="val 66156"/>
              <a:gd name="adj2" fmla="val 49492"/>
            </a:avLst>
          </a:prstGeom>
          <a:ln w="63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2268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670214" y="7216828"/>
            <a:ext cx="5271442" cy="441403"/>
          </a:xfrm>
          <a:prstGeom prst="rect">
            <a:avLst/>
          </a:prstGeom>
          <a:solidFill>
            <a:srgbClr val="FFFFCC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0" lvl="1" algn="ctr">
              <a:buClr>
                <a:srgbClr val="0070C0"/>
              </a:buClr>
              <a:buSzPct val="130000"/>
            </a:pP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едитование как на инвестиционные цели, так и на цели пополнения оборотных средств по кредитной ставке, не превышающей </a:t>
            </a:r>
            <a:r>
              <a:rPr lang="ru-RU" sz="1134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9,9%</a:t>
            </a:r>
            <a:r>
              <a:rPr lang="ru-RU" sz="1134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 годовых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2153900" y="8268662"/>
            <a:ext cx="44608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endParaRPr lang="ru-RU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7051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10149"/>
            <a:ext cx="2163618" cy="98425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68562" y="157742"/>
            <a:ext cx="9437960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ограммы обучения АО «Корпорация «МСП»</a:t>
            </a:r>
          </a:p>
          <a:p>
            <a:pPr algn="ctr">
              <a:defRPr/>
            </a:pP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отенциальных и действующих 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предпринимателей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6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>
            <a:off x="1396045" y="1237473"/>
            <a:ext cx="1121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грамм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116" name="Picture 4" descr="http://corpmsp.ru/programmy-obucheniya-korporatsii-msp/260%D1%85140-2.jpg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70" y="1034158"/>
            <a:ext cx="1442546" cy="77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8" name="Прямоугольник 127"/>
          <p:cNvSpPr/>
          <p:nvPr/>
        </p:nvSpPr>
        <p:spPr>
          <a:xfrm>
            <a:off x="282575" y="3606331"/>
            <a:ext cx="5292952" cy="1255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Реализуется совместно с ОПОРОЙ России и Благотворительным фондом </a:t>
            </a:r>
            <a:r>
              <a:rPr lang="en-US" sz="1600" dirty="0">
                <a:latin typeface="Arial Narrow" panose="020B0606020202030204" pitchFamily="34" charset="0"/>
                <a:cs typeface="Arial" panose="020B0604020202020204" pitchFamily="34" charset="0"/>
              </a:rPr>
              <a:t>Amway</a:t>
            </a:r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 «В </a:t>
            </a: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вете за </a:t>
            </a:r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будущее»;</a:t>
            </a:r>
          </a:p>
          <a:p>
            <a:pPr marL="177800" indent="-177800" algn="just" defTabSz="6281738"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Важная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часть программы – конкурс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бизнес-проектов: победительницы получают 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грант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в размере </a:t>
            </a:r>
            <a:r>
              <a:rPr lang="ru-RU" sz="16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200 000 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рублей </a:t>
            </a:r>
            <a:r>
              <a:rPr lang="ru-RU" sz="1600" b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/>
            </a:r>
            <a:br>
              <a:rPr lang="ru-RU" sz="1600" b="1" dirty="0" smtClean="0">
                <a:latin typeface="Arial Narrow" panose="020B060602020203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от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Благотворительного фонда </a:t>
            </a:r>
            <a:r>
              <a:rPr lang="en-US" sz="1600" dirty="0">
                <a:latin typeface="Arial Narrow" panose="020B0606020202030204" pitchFamily="34" charset="0"/>
                <a:cs typeface="Arial" panose="020B0604020202020204" pitchFamily="34" charset="0"/>
              </a:rPr>
              <a:t>Amway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«В ответе за будущее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29" name="Pentagon 35"/>
          <p:cNvSpPr/>
          <p:nvPr/>
        </p:nvSpPr>
        <p:spPr>
          <a:xfrm>
            <a:off x="303651" y="175739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0" name="Pentagon 35"/>
          <p:cNvSpPr/>
          <p:nvPr/>
        </p:nvSpPr>
        <p:spPr>
          <a:xfrm>
            <a:off x="283838" y="174469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252555" y="1624803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Реализована в 6 субъектах Российской Федерации</a:t>
            </a: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Участие приняли 158 женщин-предпринимателей</a:t>
            </a:r>
          </a:p>
        </p:txBody>
      </p:sp>
      <p:sp>
        <p:nvSpPr>
          <p:cNvPr id="131" name="Pentagon 35"/>
          <p:cNvSpPr/>
          <p:nvPr/>
        </p:nvSpPr>
        <p:spPr>
          <a:xfrm>
            <a:off x="303651" y="2380556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2" name="Pentagon 35"/>
          <p:cNvSpPr/>
          <p:nvPr/>
        </p:nvSpPr>
        <p:spPr>
          <a:xfrm>
            <a:off x="283838" y="2367856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1252555" y="2241441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Реализована в </a:t>
            </a:r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18 </a:t>
            </a: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Участие приняли </a:t>
            </a:r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557 женщин-предпринимателей</a:t>
            </a:r>
            <a:endParaRPr lang="ru-RU" altLang="ru-RU" sz="1600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cxnSp>
        <p:nvCxnSpPr>
          <p:cNvPr id="135" name="Прямая соединительная линия 134"/>
          <p:cNvCxnSpPr/>
          <p:nvPr/>
        </p:nvCxnSpPr>
        <p:spPr>
          <a:xfrm flipV="1">
            <a:off x="5679445" y="994400"/>
            <a:ext cx="0" cy="365455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Прямоугольник 136"/>
          <p:cNvSpPr/>
          <p:nvPr/>
        </p:nvSpPr>
        <p:spPr>
          <a:xfrm>
            <a:off x="5848945" y="900485"/>
            <a:ext cx="65488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ренинги по программам</a:t>
            </a:r>
          </a:p>
          <a:p>
            <a:pPr algn="ctr"/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«Азбука предпринимателя» и «Школа предпринимательства»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38" name="Pentagon 35"/>
          <p:cNvSpPr/>
          <p:nvPr/>
        </p:nvSpPr>
        <p:spPr>
          <a:xfrm>
            <a:off x="5897880" y="1712412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9" name="Pentagon 35"/>
          <p:cNvSpPr/>
          <p:nvPr/>
        </p:nvSpPr>
        <p:spPr>
          <a:xfrm>
            <a:off x="5878067" y="1699712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140" name="Прямоугольник 139"/>
          <p:cNvSpPr/>
          <p:nvPr/>
        </p:nvSpPr>
        <p:spPr>
          <a:xfrm>
            <a:off x="6890166" y="1580146"/>
            <a:ext cx="5428834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ованы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 </a:t>
            </a:r>
            <a:r>
              <a:rPr lang="ru-RU" altLang="ru-RU" sz="1600" b="1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7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ах Российской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Федера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ы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3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тренинга, обучены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22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еловека, из них 43 % - действующие предприниматели; 60 % - женщины</a:t>
            </a:r>
            <a:endParaRPr lang="ru-RU" altLang="ru-RU" sz="1600" dirty="0">
              <a:solidFill>
                <a:prstClr val="black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41" name="Pentagon 35"/>
          <p:cNvSpPr/>
          <p:nvPr/>
        </p:nvSpPr>
        <p:spPr>
          <a:xfrm>
            <a:off x="5906935" y="233589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42" name="Pentagon 35"/>
          <p:cNvSpPr/>
          <p:nvPr/>
        </p:nvSpPr>
        <p:spPr>
          <a:xfrm>
            <a:off x="5887122" y="2323199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44" name="Прямоугольник 143"/>
          <p:cNvSpPr/>
          <p:nvPr/>
        </p:nvSpPr>
        <p:spPr>
          <a:xfrm>
            <a:off x="6890166" y="2203443"/>
            <a:ext cx="5507599" cy="929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ализованы в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78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оведено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27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ренингов,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обучены </a:t>
            </a:r>
            <a:r>
              <a:rPr lang="ru-RU" alt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1052</a:t>
            </a:r>
            <a:r>
              <a:rPr lang="en-US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человека,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из них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2 </a:t>
            </a:r>
            <a:r>
              <a:rPr lang="ru-RU" alt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% </a:t>
            </a:r>
            <a:r>
              <a:rPr lang="ru-RU" altLang="ru-RU" sz="1600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- действующие предприниматели; 58 % - женщины</a:t>
            </a:r>
          </a:p>
        </p:txBody>
      </p:sp>
      <p:sp>
        <p:nvSpPr>
          <p:cNvPr id="145" name="Прямоугольник 144"/>
          <p:cNvSpPr/>
          <p:nvPr/>
        </p:nvSpPr>
        <p:spPr>
          <a:xfrm>
            <a:off x="241496" y="5108649"/>
            <a:ext cx="12077504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>
              <a:defRPr/>
            </a:pPr>
            <a:r>
              <a:rPr lang="ru-RU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Специальный кредитный продукт АО «МСП Банк» для женщин-предпринимателей</a:t>
            </a:r>
            <a:endParaRPr kumimoji="0" lang="ru-RU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241496" y="8107391"/>
            <a:ext cx="1079585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- соответствие</a:t>
            </a:r>
            <a:r>
              <a:rPr kumimoji="0" lang="ru-RU" sz="1000" b="0" i="1" u="none" strike="noStrike" kern="1200" cap="none" spc="0" normalizeH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lang="ru-RU" sz="1000" i="1" dirty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требованиям Федерального Закона от 24.07.2007 № </a:t>
            </a:r>
            <a:r>
              <a:rPr lang="ru-RU" sz="1000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209-ФЗ и нахождение </a:t>
            </a:r>
            <a:r>
              <a:rPr lang="ru-RU" sz="1000" i="1" dirty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в Едином реестре субъектов </a:t>
            </a:r>
            <a:r>
              <a:rPr lang="ru-RU" sz="1000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МСП</a:t>
            </a:r>
            <a:r>
              <a:rPr lang="ru-RU" sz="1000" i="1" dirty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 </a:t>
            </a:r>
            <a:r>
              <a:rPr lang="ru-RU" sz="1000" i="1" dirty="0" smtClean="0">
                <a:solidFill>
                  <a:srgbClr val="E7E6E6">
                    <a:lumMod val="50000"/>
                  </a:srgbClr>
                </a:solidFill>
                <a:latin typeface="Arial Narrow" panose="020B0606020202030204" pitchFamily="34" charset="0"/>
              </a:rPr>
              <a:t>ФНС Российской Федерации.</a:t>
            </a:r>
            <a:endParaRPr kumimoji="0" lang="ru-RU" sz="1000" b="0" i="1" u="none" strike="noStrike" kern="1200" cap="none" spc="0" normalizeH="0" baseline="0" noProof="0" dirty="0" smtClean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- женщина должна являться</a:t>
            </a:r>
            <a:r>
              <a:rPr kumimoji="0" lang="ru-RU" sz="1000" b="0" i="1" u="none" strike="noStrike" kern="1200" cap="none" spc="0" normalizeH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ражданином  Российской Федерации.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6113870" y="5598493"/>
            <a:ext cx="3181456" cy="2478453"/>
            <a:chOff x="7182304" y="5576987"/>
            <a:chExt cx="3708767" cy="2478453"/>
          </a:xfrm>
        </p:grpSpPr>
        <p:sp>
          <p:nvSpPr>
            <p:cNvPr id="188" name="Полилиния 187"/>
            <p:cNvSpPr/>
            <p:nvPr/>
          </p:nvSpPr>
          <p:spPr>
            <a:xfrm>
              <a:off x="7182304" y="5576987"/>
              <a:ext cx="3708767" cy="367577"/>
            </a:xfrm>
            <a:custGeom>
              <a:avLst/>
              <a:gdLst>
                <a:gd name="connsiteX0" fmla="*/ 540590 w 4025738"/>
                <a:gd name="connsiteY0" fmla="*/ 0 h 367577"/>
                <a:gd name="connsiteX1" fmla="*/ 3951907 w 4025738"/>
                <a:gd name="connsiteY1" fmla="*/ 0 h 367577"/>
                <a:gd name="connsiteX2" fmla="*/ 4025738 w 4025738"/>
                <a:gd name="connsiteY2" fmla="*/ 90837 h 367577"/>
                <a:gd name="connsiteX3" fmla="*/ 4025738 w 4025738"/>
                <a:gd name="connsiteY3" fmla="*/ 367086 h 367577"/>
                <a:gd name="connsiteX4" fmla="*/ 3558979 w 4025738"/>
                <a:gd name="connsiteY4" fmla="*/ 367086 h 367577"/>
                <a:gd name="connsiteX5" fmla="*/ 3558979 w 4025738"/>
                <a:gd name="connsiteY5" fmla="*/ 367577 h 367577"/>
                <a:gd name="connsiteX6" fmla="*/ 0 w 4025738"/>
                <a:gd name="connsiteY6" fmla="*/ 367577 h 367577"/>
                <a:gd name="connsiteX7" fmla="*/ 0 w 4025738"/>
                <a:gd name="connsiteY7" fmla="*/ 91328 h 367577"/>
                <a:gd name="connsiteX8" fmla="*/ 73831 w 4025738"/>
                <a:gd name="connsiteY8" fmla="*/ 491 h 367577"/>
                <a:gd name="connsiteX9" fmla="*/ 538613 w 4025738"/>
                <a:gd name="connsiteY9" fmla="*/ 491 h 36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5738" h="367577">
                  <a:moveTo>
                    <a:pt x="540590" y="0"/>
                  </a:moveTo>
                  <a:lnTo>
                    <a:pt x="3951907" y="0"/>
                  </a:lnTo>
                  <a:cubicBezTo>
                    <a:pt x="3992683" y="0"/>
                    <a:pt x="4025738" y="40669"/>
                    <a:pt x="4025738" y="90837"/>
                  </a:cubicBezTo>
                  <a:lnTo>
                    <a:pt x="4025738" y="367086"/>
                  </a:lnTo>
                  <a:lnTo>
                    <a:pt x="3558979" y="367086"/>
                  </a:lnTo>
                  <a:lnTo>
                    <a:pt x="3558979" y="367577"/>
                  </a:lnTo>
                  <a:lnTo>
                    <a:pt x="0" y="367577"/>
                  </a:lnTo>
                  <a:lnTo>
                    <a:pt x="0" y="91328"/>
                  </a:lnTo>
                  <a:cubicBezTo>
                    <a:pt x="0" y="41160"/>
                    <a:pt x="33055" y="491"/>
                    <a:pt x="73831" y="491"/>
                  </a:cubicBezTo>
                  <a:lnTo>
                    <a:pt x="538613" y="491"/>
                  </a:lnTo>
                  <a:close/>
                </a:path>
              </a:pathLst>
            </a:custGeom>
            <a:solidFill>
              <a:srgbClr val="A2C9F4"/>
            </a:solidFill>
            <a:ln>
              <a:solidFill>
                <a:srgbClr val="A2C9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0" name="Скругленный прямоугольник 159"/>
            <p:cNvSpPr/>
            <p:nvPr/>
          </p:nvSpPr>
          <p:spPr>
            <a:xfrm>
              <a:off x="7185044" y="5579421"/>
              <a:ext cx="3688827" cy="2476019"/>
            </a:xfrm>
            <a:prstGeom prst="roundRect">
              <a:avLst>
                <a:gd name="adj" fmla="val 2897"/>
              </a:avLst>
            </a:prstGeom>
            <a:ln w="12700">
              <a:solidFill>
                <a:srgbClr val="A2C9F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2" name="Прямоугольник 161"/>
            <p:cNvSpPr/>
            <p:nvPr/>
          </p:nvSpPr>
          <p:spPr>
            <a:xfrm>
              <a:off x="7185044" y="5582361"/>
              <a:ext cx="3701695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/>
              <a:r>
                <a:rPr lang="ru-RU" sz="1700" dirty="0" smtClean="0">
                  <a:latin typeface="Arial Narrow" panose="020B0606020202030204" pitchFamily="34" charset="0"/>
                </a:rPr>
                <a:t>Дополнительные условия</a:t>
              </a:r>
              <a:endParaRPr lang="ru-RU" sz="1700" b="1" dirty="0">
                <a:latin typeface="Arial Narrow" panose="020B0606020202030204" pitchFamily="34" charset="0"/>
              </a:endParaRP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7185044" y="5954777"/>
              <a:ext cx="3685611" cy="194668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lvl="0">
                <a:spcBef>
                  <a:spcPts val="300"/>
                </a:spcBef>
                <a:defRPr sz="1600">
                  <a:latin typeface="Arial Narrow" panose="020B0606020202030204" pitchFamily="34" charset="0"/>
                </a:defRPr>
              </a:lvl1pPr>
            </a:lstStyle>
            <a:p>
              <a:r>
                <a:rPr lang="ru-RU" sz="1400" dirty="0" smtClean="0"/>
                <a:t>Получение </a:t>
              </a:r>
              <a:r>
                <a:rPr lang="ru-RU" sz="1400" dirty="0"/>
                <a:t>нефинансовой поддержки со стороны АО «Корпорация «МСП</a:t>
              </a:r>
              <a:r>
                <a:rPr lang="ru-RU" sz="1400" dirty="0" smtClean="0"/>
                <a:t>»:</a:t>
              </a:r>
            </a:p>
            <a:p>
              <a:endParaRPr lang="ru-RU" sz="600" dirty="0" smtClean="0"/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прохождение тренингов по программам обучения АО</a:t>
              </a:r>
              <a:r>
                <a:rPr lang="ru-RU" sz="1400" dirty="0">
                  <a:latin typeface="Arial Narrow" panose="020B0606020202030204" pitchFamily="34" charset="0"/>
                </a:rPr>
                <a:t> «Корпорация «МСП», в том числе «Мама–предприниматель</a:t>
              </a:r>
              <a:r>
                <a:rPr lang="ru-RU" sz="1400" dirty="0" smtClean="0">
                  <a:latin typeface="Arial Narrow" panose="020B0606020202030204" pitchFamily="34" charset="0"/>
                </a:rPr>
                <a:t>»;</a:t>
              </a:r>
            </a:p>
            <a:p>
              <a:pPr marL="268288" lvl="1"/>
              <a:r>
                <a:rPr lang="ru-RU" sz="1400" b="1" i="1" dirty="0" smtClea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 Narrow" panose="020B0606020202030204" pitchFamily="34" charset="0"/>
                </a:rPr>
                <a:t>или</a:t>
              </a: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консультационной </a:t>
              </a:r>
              <a:r>
                <a:rPr lang="ru-RU" sz="1400" dirty="0">
                  <a:latin typeface="Arial Narrow" panose="020B0606020202030204" pitchFamily="34" charset="0"/>
                </a:rPr>
                <a:t>поддержки через портал Бизнес-навигатора МСП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198464" y="5598984"/>
            <a:ext cx="2609476" cy="2553467"/>
            <a:chOff x="241495" y="5577478"/>
            <a:chExt cx="3061103" cy="2553467"/>
          </a:xfrm>
        </p:grpSpPr>
        <p:sp>
          <p:nvSpPr>
            <p:cNvPr id="181" name="Полилиния 180"/>
            <p:cNvSpPr/>
            <p:nvPr/>
          </p:nvSpPr>
          <p:spPr>
            <a:xfrm>
              <a:off x="241720" y="5577478"/>
              <a:ext cx="3060878" cy="367086"/>
            </a:xfrm>
            <a:custGeom>
              <a:avLst/>
              <a:gdLst>
                <a:gd name="connsiteX0" fmla="*/ 73831 w 3558979"/>
                <a:gd name="connsiteY0" fmla="*/ 0 h 298362"/>
                <a:gd name="connsiteX1" fmla="*/ 3485148 w 3558979"/>
                <a:gd name="connsiteY1" fmla="*/ 0 h 298362"/>
                <a:gd name="connsiteX2" fmla="*/ 3558979 w 3558979"/>
                <a:gd name="connsiteY2" fmla="*/ 73831 h 298362"/>
                <a:gd name="connsiteX3" fmla="*/ 3558979 w 3558979"/>
                <a:gd name="connsiteY3" fmla="*/ 298362 h 298362"/>
                <a:gd name="connsiteX4" fmla="*/ 0 w 3558979"/>
                <a:gd name="connsiteY4" fmla="*/ 298362 h 298362"/>
                <a:gd name="connsiteX5" fmla="*/ 0 w 3558979"/>
                <a:gd name="connsiteY5" fmla="*/ 73831 h 298362"/>
                <a:gd name="connsiteX6" fmla="*/ 73831 w 3558979"/>
                <a:gd name="connsiteY6" fmla="*/ 0 h 2983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558979" h="298362">
                  <a:moveTo>
                    <a:pt x="73831" y="0"/>
                  </a:moveTo>
                  <a:lnTo>
                    <a:pt x="3485148" y="0"/>
                  </a:lnTo>
                  <a:cubicBezTo>
                    <a:pt x="3525924" y="0"/>
                    <a:pt x="3558979" y="33055"/>
                    <a:pt x="3558979" y="73831"/>
                  </a:cubicBezTo>
                  <a:lnTo>
                    <a:pt x="3558979" y="298362"/>
                  </a:lnTo>
                  <a:lnTo>
                    <a:pt x="0" y="298362"/>
                  </a:lnTo>
                  <a:lnTo>
                    <a:pt x="0" y="73831"/>
                  </a:lnTo>
                  <a:cubicBezTo>
                    <a:pt x="0" y="33055"/>
                    <a:pt x="33055" y="0"/>
                    <a:pt x="73831" y="0"/>
                  </a:cubicBezTo>
                  <a:close/>
                </a:path>
              </a:pathLst>
            </a:custGeom>
            <a:solidFill>
              <a:srgbClr val="A2C9F4"/>
            </a:solidFill>
            <a:ln>
              <a:solidFill>
                <a:srgbClr val="A2C9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</a:pPr>
              <a:endParaRPr lang="ru-RU"/>
            </a:p>
          </p:txBody>
        </p:sp>
        <p:sp>
          <p:nvSpPr>
            <p:cNvPr id="12" name="Скругленный прямоугольник 11"/>
            <p:cNvSpPr/>
            <p:nvPr/>
          </p:nvSpPr>
          <p:spPr>
            <a:xfrm>
              <a:off x="241495" y="5579421"/>
              <a:ext cx="3060878" cy="2481609"/>
            </a:xfrm>
            <a:prstGeom prst="roundRect">
              <a:avLst>
                <a:gd name="adj" fmla="val 2897"/>
              </a:avLst>
            </a:prstGeom>
            <a:ln w="12700">
              <a:solidFill>
                <a:srgbClr val="A2C9F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>
                <a:spcBef>
                  <a:spcPts val="300"/>
                </a:spcBef>
              </a:pPr>
              <a:endParaRPr lang="ru-RU"/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241495" y="5579420"/>
              <a:ext cx="3060879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>
                <a:spcBef>
                  <a:spcPts val="300"/>
                </a:spcBef>
              </a:pPr>
              <a:r>
                <a:rPr lang="ru-RU" sz="1700" dirty="0" smtClean="0">
                  <a:latin typeface="Arial Narrow" panose="020B0606020202030204" pitchFamily="34" charset="0"/>
                </a:rPr>
                <a:t>Целевой сегмент</a:t>
              </a:r>
              <a:endParaRPr lang="ru-RU" sz="1700" dirty="0">
                <a:latin typeface="Arial Narrow" panose="020B0606020202030204" pitchFamily="34" charset="0"/>
              </a:endParaRP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248660" y="5945731"/>
              <a:ext cx="3053713" cy="218521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spcBef>
                  <a:spcPts val="300"/>
                </a:spcBef>
              </a:pPr>
              <a:r>
                <a:rPr lang="ru-RU" sz="1400" dirty="0" smtClean="0">
                  <a:latin typeface="Arial Narrow" panose="020B0606020202030204" pitchFamily="34" charset="0"/>
                </a:rPr>
                <a:t>Субъекты МСП* - организации </a:t>
              </a:r>
              <a:r>
                <a:rPr lang="ru-RU" sz="1400" dirty="0">
                  <a:latin typeface="Arial Narrow" panose="020B0606020202030204" pitchFamily="34" charset="0"/>
                </a:rPr>
                <a:t>женского </a:t>
              </a:r>
              <a:r>
                <a:rPr lang="ru-RU" sz="1400" dirty="0" smtClean="0">
                  <a:latin typeface="Arial Narrow" panose="020B0606020202030204" pitchFamily="34" charset="0"/>
                </a:rPr>
                <a:t>предпринимательства на общей системе налогообложения:</a:t>
              </a:r>
            </a:p>
            <a:p>
              <a:pPr marL="85725" lvl="0" indent="-85725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общество </a:t>
              </a:r>
              <a:r>
                <a:rPr lang="ru-RU" sz="1400" dirty="0">
                  <a:latin typeface="Arial Narrow" panose="020B0606020202030204" pitchFamily="34" charset="0"/>
                </a:rPr>
                <a:t>с ограниченной </a:t>
              </a:r>
              <a:r>
                <a:rPr lang="ru-RU" sz="1400" dirty="0" smtClean="0">
                  <a:latin typeface="Arial Narrow" panose="020B0606020202030204" pitchFamily="34" charset="0"/>
                </a:rPr>
                <a:t>ответственностью </a:t>
              </a:r>
              <a:r>
                <a:rPr lang="ru-RU" sz="1400" dirty="0">
                  <a:latin typeface="Arial Narrow" panose="020B0606020202030204" pitchFamily="34" charset="0"/>
                </a:rPr>
                <a:t>с </a:t>
              </a:r>
              <a:r>
                <a:rPr lang="ru-RU" sz="1400" dirty="0" smtClean="0">
                  <a:latin typeface="Arial Narrow" panose="020B0606020202030204" pitchFamily="34" charset="0"/>
                </a:rPr>
                <a:t>женщиной** </a:t>
              </a:r>
              <a:br>
                <a:rPr lang="ru-RU" sz="1400" dirty="0" smtClean="0">
                  <a:latin typeface="Arial Narrow" panose="020B0606020202030204" pitchFamily="34" charset="0"/>
                </a:rPr>
              </a:br>
              <a:r>
                <a:rPr lang="ru-RU" sz="1400" dirty="0" smtClean="0">
                  <a:latin typeface="Arial Narrow" panose="020B0606020202030204" pitchFamily="34" charset="0"/>
                </a:rPr>
                <a:t>- единоличным </a:t>
              </a:r>
              <a:r>
                <a:rPr lang="ru-RU" sz="1400" dirty="0">
                  <a:latin typeface="Arial Narrow" panose="020B0606020202030204" pitchFamily="34" charset="0"/>
                </a:rPr>
                <a:t>исполнительным </a:t>
              </a:r>
              <a:r>
                <a:rPr lang="ru-RU" sz="1400" dirty="0" smtClean="0">
                  <a:latin typeface="Arial Narrow" panose="020B0606020202030204" pitchFamily="34" charset="0"/>
                </a:rPr>
                <a:t>органом ;</a:t>
              </a:r>
            </a:p>
            <a:p>
              <a:pPr marL="85725" lvl="0" indent="-85725">
                <a:spcBef>
                  <a:spcPts val="300"/>
                </a:spcBef>
                <a:buFont typeface="Arial" panose="020B0604020202020204" pitchFamily="34" charset="0"/>
                <a:buChar char="•"/>
              </a:pPr>
              <a:r>
                <a:rPr lang="en-US" sz="1400" dirty="0" smtClean="0">
                  <a:latin typeface="Arial Narrow" panose="020B0606020202030204" pitchFamily="34" charset="0"/>
                </a:rPr>
                <a:t>&gt; </a:t>
              </a:r>
              <a:r>
                <a:rPr lang="ru-RU" sz="1400" dirty="0" smtClean="0">
                  <a:latin typeface="Arial Narrow" panose="020B0606020202030204" pitchFamily="34" charset="0"/>
                </a:rPr>
                <a:t>50</a:t>
              </a:r>
              <a:r>
                <a:rPr lang="ru-RU" sz="1400" dirty="0">
                  <a:latin typeface="Arial Narrow" panose="020B0606020202030204" pitchFamily="34" charset="0"/>
                </a:rPr>
                <a:t>% </a:t>
              </a:r>
              <a:r>
                <a:rPr lang="ru-RU" sz="1400" dirty="0" smtClean="0">
                  <a:latin typeface="Arial Narrow" panose="020B0606020202030204" pitchFamily="34" charset="0"/>
                </a:rPr>
                <a:t>уставного капитала принадлежит женщинам**.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2985591" y="5598493"/>
            <a:ext cx="2953163" cy="2466992"/>
            <a:chOff x="3458321" y="5556058"/>
            <a:chExt cx="3577738" cy="2466992"/>
          </a:xfrm>
        </p:grpSpPr>
        <p:sp>
          <p:nvSpPr>
            <p:cNvPr id="185" name="Полилиния 184"/>
            <p:cNvSpPr/>
            <p:nvPr/>
          </p:nvSpPr>
          <p:spPr>
            <a:xfrm>
              <a:off x="3465788" y="5556058"/>
              <a:ext cx="3570271" cy="367308"/>
            </a:xfrm>
            <a:custGeom>
              <a:avLst/>
              <a:gdLst>
                <a:gd name="connsiteX0" fmla="*/ 257810 w 3742958"/>
                <a:gd name="connsiteY0" fmla="*/ 0 h 367308"/>
                <a:gd name="connsiteX1" fmla="*/ 3669127 w 3742958"/>
                <a:gd name="connsiteY1" fmla="*/ 0 h 367308"/>
                <a:gd name="connsiteX2" fmla="*/ 3742958 w 3742958"/>
                <a:gd name="connsiteY2" fmla="*/ 90837 h 367308"/>
                <a:gd name="connsiteX3" fmla="*/ 3742958 w 3742958"/>
                <a:gd name="connsiteY3" fmla="*/ 367086 h 367308"/>
                <a:gd name="connsiteX4" fmla="*/ 3558979 w 3742958"/>
                <a:gd name="connsiteY4" fmla="*/ 367086 h 367308"/>
                <a:gd name="connsiteX5" fmla="*/ 3558979 w 3742958"/>
                <a:gd name="connsiteY5" fmla="*/ 367308 h 367308"/>
                <a:gd name="connsiteX6" fmla="*/ 0 w 3742958"/>
                <a:gd name="connsiteY6" fmla="*/ 367308 h 367308"/>
                <a:gd name="connsiteX7" fmla="*/ 0 w 3742958"/>
                <a:gd name="connsiteY7" fmla="*/ 91059 h 367308"/>
                <a:gd name="connsiteX8" fmla="*/ 73831 w 3742958"/>
                <a:gd name="connsiteY8" fmla="*/ 222 h 367308"/>
                <a:gd name="connsiteX9" fmla="*/ 256917 w 3742958"/>
                <a:gd name="connsiteY9" fmla="*/ 222 h 367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742958" h="367308">
                  <a:moveTo>
                    <a:pt x="257810" y="0"/>
                  </a:moveTo>
                  <a:lnTo>
                    <a:pt x="3669127" y="0"/>
                  </a:lnTo>
                  <a:cubicBezTo>
                    <a:pt x="3709903" y="0"/>
                    <a:pt x="3742958" y="40669"/>
                    <a:pt x="3742958" y="90837"/>
                  </a:cubicBezTo>
                  <a:lnTo>
                    <a:pt x="3742958" y="367086"/>
                  </a:lnTo>
                  <a:lnTo>
                    <a:pt x="3558979" y="367086"/>
                  </a:lnTo>
                  <a:lnTo>
                    <a:pt x="3558979" y="367308"/>
                  </a:lnTo>
                  <a:lnTo>
                    <a:pt x="0" y="367308"/>
                  </a:lnTo>
                  <a:lnTo>
                    <a:pt x="0" y="91059"/>
                  </a:lnTo>
                  <a:cubicBezTo>
                    <a:pt x="0" y="40891"/>
                    <a:pt x="33055" y="222"/>
                    <a:pt x="73831" y="222"/>
                  </a:cubicBezTo>
                  <a:lnTo>
                    <a:pt x="256917" y="222"/>
                  </a:lnTo>
                  <a:close/>
                </a:path>
              </a:pathLst>
            </a:custGeom>
            <a:solidFill>
              <a:srgbClr val="A2C9F4"/>
            </a:solidFill>
            <a:ln>
              <a:solidFill>
                <a:srgbClr val="A2C9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9" name="Скругленный прямоугольник 158"/>
            <p:cNvSpPr/>
            <p:nvPr/>
          </p:nvSpPr>
          <p:spPr>
            <a:xfrm>
              <a:off x="3464337" y="5561831"/>
              <a:ext cx="3565033" cy="2461219"/>
            </a:xfrm>
            <a:prstGeom prst="roundRect">
              <a:avLst>
                <a:gd name="adj" fmla="val 2897"/>
              </a:avLst>
            </a:prstGeom>
            <a:ln w="12700">
              <a:solidFill>
                <a:srgbClr val="A2C9F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1" name="Прямоугольник 160"/>
            <p:cNvSpPr/>
            <p:nvPr/>
          </p:nvSpPr>
          <p:spPr>
            <a:xfrm>
              <a:off x="3461665" y="5561830"/>
              <a:ext cx="3567705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/>
              <a:r>
                <a:rPr lang="ru-RU" sz="1700" dirty="0">
                  <a:latin typeface="Arial Narrow" panose="020B0606020202030204" pitchFamily="34" charset="0"/>
                </a:rPr>
                <a:t>Параметры кредитного продукта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3458321" y="5937187"/>
              <a:ext cx="3571050" cy="203132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latin typeface="Arial Narrow" panose="020B0606020202030204" pitchFamily="34" charset="0"/>
                </a:rPr>
                <a:t>Процентная ставка </a:t>
              </a:r>
              <a:r>
                <a:rPr lang="ru-RU" sz="1400" dirty="0">
                  <a:latin typeface="Arial Narrow" panose="020B0606020202030204" pitchFamily="34" charset="0"/>
                </a:rPr>
                <a:t>для </a:t>
              </a:r>
              <a:r>
                <a:rPr lang="ru-RU" sz="1400" dirty="0" smtClean="0">
                  <a:latin typeface="Arial Narrow" panose="020B0606020202030204" pitchFamily="34" charset="0"/>
                </a:rPr>
                <a:t>женщин-предпринимателей </a:t>
              </a:r>
              <a:r>
                <a:rPr lang="ru-RU" sz="1400" dirty="0">
                  <a:latin typeface="Arial Narrow" panose="020B0606020202030204" pitchFamily="34" charset="0"/>
                </a:rPr>
                <a:t>– </a:t>
              </a:r>
              <a:r>
                <a:rPr lang="ru-RU" sz="1400" b="1" dirty="0" smtClean="0">
                  <a:latin typeface="Arial Narrow" panose="020B0606020202030204" pitchFamily="34" charset="0"/>
                </a:rPr>
                <a:t>10,6 %</a:t>
              </a:r>
              <a:r>
                <a:rPr 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sz="1400" dirty="0">
                  <a:latin typeface="Arial Narrow" panose="020B0606020202030204" pitchFamily="34" charset="0"/>
                </a:rPr>
                <a:t>годовых. </a:t>
              </a:r>
            </a:p>
            <a:p>
              <a:endParaRPr lang="ru-RU" sz="600" dirty="0" smtClean="0">
                <a:latin typeface="Arial Narrow" panose="020B0606020202030204" pitchFamily="34" charset="0"/>
              </a:endParaRPr>
            </a:p>
            <a:p>
              <a:r>
                <a:rPr lang="ru-RU" sz="1400" dirty="0" smtClean="0">
                  <a:latin typeface="Arial Narrow" panose="020B0606020202030204" pitchFamily="34" charset="0"/>
                </a:rPr>
                <a:t>«</a:t>
              </a:r>
              <a:r>
                <a:rPr lang="ru-RU" sz="1400" dirty="0">
                  <a:latin typeface="Arial Narrow" panose="020B0606020202030204" pitchFamily="34" charset="0"/>
                </a:rPr>
                <a:t>Экспресс на текущие </a:t>
              </a:r>
              <a:r>
                <a:rPr lang="ru-RU" sz="1400" dirty="0" smtClean="0">
                  <a:latin typeface="Arial Narrow" panose="020B0606020202030204" pitchFamily="34" charset="0"/>
                </a:rPr>
                <a:t>цели»:</a:t>
              </a: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Arial Narrow" panose="020B0606020202030204" pitchFamily="34" charset="0"/>
                </a:rPr>
                <a:t>срок до 1 </a:t>
              </a:r>
              <a:r>
                <a:rPr lang="ru-RU" sz="1400" dirty="0" smtClean="0">
                  <a:latin typeface="Arial Narrow" panose="020B0606020202030204" pitchFamily="34" charset="0"/>
                </a:rPr>
                <a:t>года;</a:t>
              </a:r>
              <a:endParaRPr lang="ru-RU" sz="1400" dirty="0">
                <a:latin typeface="Arial Narrow" panose="020B0606020202030204" pitchFamily="34" charset="0"/>
              </a:endParaRP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Arial Narrow" panose="020B0606020202030204" pitchFamily="34" charset="0"/>
                </a:rPr>
                <a:t>от 1 до 5 </a:t>
              </a:r>
              <a:r>
                <a:rPr lang="ru-RU" sz="1400" dirty="0" smtClean="0">
                  <a:latin typeface="Arial Narrow" panose="020B0606020202030204" pitchFamily="34" charset="0"/>
                </a:rPr>
                <a:t>млн. </a:t>
              </a:r>
              <a:r>
                <a:rPr lang="ru-RU" sz="1400" dirty="0">
                  <a:latin typeface="Arial Narrow" panose="020B0606020202030204" pitchFamily="34" charset="0"/>
                </a:rPr>
                <a:t>рублей</a:t>
              </a:r>
              <a:r>
                <a:rPr lang="ru-RU" sz="1400" dirty="0" smtClean="0">
                  <a:latin typeface="Arial Narrow" panose="020B0606020202030204" pitchFamily="34" charset="0"/>
                </a:rPr>
                <a:t>.</a:t>
              </a:r>
            </a:p>
            <a:p>
              <a:endParaRPr lang="ru-RU" sz="800" dirty="0">
                <a:latin typeface="Arial Narrow" panose="020B0606020202030204" pitchFamily="34" charset="0"/>
              </a:endParaRPr>
            </a:p>
            <a:p>
              <a:r>
                <a:rPr lang="ru-RU" sz="1400" dirty="0" smtClean="0">
                  <a:latin typeface="Arial Narrow" panose="020B0606020202030204" pitchFamily="34" charset="0"/>
                </a:rPr>
                <a:t>«Экспресс на инвестиции»:</a:t>
              </a:r>
            </a:p>
            <a:p>
              <a:pPr marL="268288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срок до 3 лет;</a:t>
              </a:r>
            </a:p>
            <a:p>
              <a:pPr marL="268288" indent="-182563">
                <a:buFont typeface="Arial" panose="020B0604020202020204" pitchFamily="34" charset="0"/>
                <a:buChar char="•"/>
              </a:pPr>
              <a:r>
                <a:rPr lang="ru-RU" sz="1400" dirty="0" smtClean="0">
                  <a:latin typeface="Arial Narrow" panose="020B0606020202030204" pitchFamily="34" charset="0"/>
                </a:rPr>
                <a:t>от 1 до 15 млн. рублей.</a:t>
              </a:r>
              <a:endParaRPr lang="ru-RU" sz="140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9458037" y="5607422"/>
            <a:ext cx="2969844" cy="2468240"/>
            <a:chOff x="10747292" y="5576987"/>
            <a:chExt cx="4035652" cy="2468240"/>
          </a:xfrm>
        </p:grpSpPr>
        <p:sp>
          <p:nvSpPr>
            <p:cNvPr id="39" name="Полилиния 38"/>
            <p:cNvSpPr/>
            <p:nvPr/>
          </p:nvSpPr>
          <p:spPr>
            <a:xfrm>
              <a:off x="10747292" y="5576987"/>
              <a:ext cx="4025738" cy="367577"/>
            </a:xfrm>
            <a:custGeom>
              <a:avLst/>
              <a:gdLst>
                <a:gd name="connsiteX0" fmla="*/ 540590 w 4025738"/>
                <a:gd name="connsiteY0" fmla="*/ 0 h 367577"/>
                <a:gd name="connsiteX1" fmla="*/ 3951907 w 4025738"/>
                <a:gd name="connsiteY1" fmla="*/ 0 h 367577"/>
                <a:gd name="connsiteX2" fmla="*/ 4025738 w 4025738"/>
                <a:gd name="connsiteY2" fmla="*/ 90837 h 367577"/>
                <a:gd name="connsiteX3" fmla="*/ 4025738 w 4025738"/>
                <a:gd name="connsiteY3" fmla="*/ 367086 h 367577"/>
                <a:gd name="connsiteX4" fmla="*/ 3558979 w 4025738"/>
                <a:gd name="connsiteY4" fmla="*/ 367086 h 367577"/>
                <a:gd name="connsiteX5" fmla="*/ 3558979 w 4025738"/>
                <a:gd name="connsiteY5" fmla="*/ 367577 h 367577"/>
                <a:gd name="connsiteX6" fmla="*/ 0 w 4025738"/>
                <a:gd name="connsiteY6" fmla="*/ 367577 h 367577"/>
                <a:gd name="connsiteX7" fmla="*/ 0 w 4025738"/>
                <a:gd name="connsiteY7" fmla="*/ 91328 h 367577"/>
                <a:gd name="connsiteX8" fmla="*/ 73831 w 4025738"/>
                <a:gd name="connsiteY8" fmla="*/ 491 h 367577"/>
                <a:gd name="connsiteX9" fmla="*/ 538613 w 4025738"/>
                <a:gd name="connsiteY9" fmla="*/ 491 h 3675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025738" h="367577">
                  <a:moveTo>
                    <a:pt x="540590" y="0"/>
                  </a:moveTo>
                  <a:lnTo>
                    <a:pt x="3951907" y="0"/>
                  </a:lnTo>
                  <a:cubicBezTo>
                    <a:pt x="3992683" y="0"/>
                    <a:pt x="4025738" y="40669"/>
                    <a:pt x="4025738" y="90837"/>
                  </a:cubicBezTo>
                  <a:lnTo>
                    <a:pt x="4025738" y="367086"/>
                  </a:lnTo>
                  <a:lnTo>
                    <a:pt x="3558979" y="367086"/>
                  </a:lnTo>
                  <a:lnTo>
                    <a:pt x="3558979" y="367577"/>
                  </a:lnTo>
                  <a:lnTo>
                    <a:pt x="0" y="367577"/>
                  </a:lnTo>
                  <a:lnTo>
                    <a:pt x="0" y="91328"/>
                  </a:lnTo>
                  <a:cubicBezTo>
                    <a:pt x="0" y="41160"/>
                    <a:pt x="33055" y="491"/>
                    <a:pt x="73831" y="491"/>
                  </a:cubicBezTo>
                  <a:lnTo>
                    <a:pt x="538613" y="491"/>
                  </a:lnTo>
                  <a:close/>
                </a:path>
              </a:pathLst>
            </a:custGeom>
            <a:solidFill>
              <a:srgbClr val="A2C9F4"/>
            </a:solidFill>
            <a:ln>
              <a:solidFill>
                <a:srgbClr val="A2C9F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10747902" y="5579421"/>
              <a:ext cx="4021016" cy="2465806"/>
            </a:xfrm>
            <a:prstGeom prst="roundRect">
              <a:avLst>
                <a:gd name="adj" fmla="val 2897"/>
              </a:avLst>
            </a:prstGeom>
            <a:ln w="12700">
              <a:solidFill>
                <a:srgbClr val="A2C9F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0747902" y="5582361"/>
              <a:ext cx="4035042" cy="35394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ctr"/>
              <a:r>
                <a:rPr lang="ru-RU" sz="1700" dirty="0" smtClean="0">
                  <a:latin typeface="Arial Narrow" panose="020B0606020202030204" pitchFamily="34" charset="0"/>
                </a:rPr>
                <a:t>Объем оказанной поддержки</a:t>
              </a:r>
              <a:endParaRPr lang="ru-RU" sz="1700" b="1" dirty="0">
                <a:latin typeface="Arial Narrow" panose="020B0606020202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0754792" y="5954777"/>
              <a:ext cx="4010617" cy="1677382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en-US"/>
              </a:defPPr>
              <a:lvl1pPr lvl="0">
                <a:spcBef>
                  <a:spcPts val="300"/>
                </a:spcBef>
                <a:defRPr sz="1600">
                  <a:latin typeface="Arial Narrow" panose="020B0606020202030204" pitchFamily="34" charset="0"/>
                </a:defRPr>
              </a:lvl1pPr>
            </a:lstStyle>
            <a:p>
              <a:r>
                <a:rPr lang="ru-RU" sz="1400" dirty="0" smtClean="0"/>
                <a:t>Объем заключенных договоров, </a:t>
              </a:r>
              <a:br>
                <a:rPr lang="ru-RU" sz="1400" dirty="0" smtClean="0"/>
              </a:br>
              <a:r>
                <a:rPr lang="ru-RU" sz="1400" dirty="0" smtClean="0"/>
                <a:t>млн. руб.: </a:t>
              </a:r>
              <a:r>
                <a:rPr lang="ru-RU" sz="1400" b="1" dirty="0" smtClean="0"/>
                <a:t>32,7</a:t>
              </a: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Arial Narrow" panose="020B0606020202030204" pitchFamily="34" charset="0"/>
                </a:rPr>
                <a:t>«Экспресс на текущие цели</a:t>
              </a:r>
              <a:r>
                <a:rPr lang="ru-RU" sz="1400" dirty="0" smtClean="0">
                  <a:latin typeface="Arial Narrow" panose="020B0606020202030204" pitchFamily="34" charset="0"/>
                </a:rPr>
                <a:t>»: 5,7 </a:t>
              </a:r>
              <a:endParaRPr lang="ru-RU" sz="1400" dirty="0">
                <a:latin typeface="Arial Narrow" panose="020B0606020202030204" pitchFamily="34" charset="0"/>
              </a:endParaRPr>
            </a:p>
            <a:p>
              <a:pPr marL="268288" lvl="1" indent="-182563">
                <a:buFont typeface="Arial" panose="020B0604020202020204" pitchFamily="34" charset="0"/>
                <a:buChar char="•"/>
              </a:pPr>
              <a:r>
                <a:rPr lang="ru-RU" sz="1400" dirty="0">
                  <a:latin typeface="Arial Narrow" panose="020B0606020202030204" pitchFamily="34" charset="0"/>
                </a:rPr>
                <a:t>«Экспресс на инвестиции</a:t>
              </a:r>
              <a:r>
                <a:rPr lang="ru-RU" sz="1400" dirty="0" smtClean="0">
                  <a:latin typeface="Arial Narrow" panose="020B0606020202030204" pitchFamily="34" charset="0"/>
                </a:rPr>
                <a:t>»: 27,0</a:t>
              </a:r>
              <a:endParaRPr lang="ru-RU" sz="1400" dirty="0">
                <a:latin typeface="Arial Narrow" panose="020B060602020203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ru-RU" sz="1400" dirty="0" smtClean="0"/>
                <a:t>Количество организаций женского предпринимательства, получивших поддержку, единиц: </a:t>
              </a:r>
              <a:r>
                <a:rPr lang="ru-RU" sz="1400" b="1" dirty="0" smtClean="0"/>
                <a:t>3</a:t>
              </a:r>
              <a:endParaRPr lang="ru-RU" sz="1400" dirty="0">
                <a:latin typeface="Arial Narrow" panose="020B0606020202030204" pitchFamily="34" charset="0"/>
              </a:endParaRPr>
            </a:p>
          </p:txBody>
        </p:sp>
      </p:grpSp>
      <p:sp>
        <p:nvSpPr>
          <p:cNvPr id="47" name="Pentagon 35"/>
          <p:cNvSpPr/>
          <p:nvPr/>
        </p:nvSpPr>
        <p:spPr>
          <a:xfrm>
            <a:off x="292896" y="3014940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8" name="Pentagon 35"/>
          <p:cNvSpPr/>
          <p:nvPr/>
        </p:nvSpPr>
        <p:spPr>
          <a:xfrm>
            <a:off x="273083" y="300224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algn="ctr" defTabSz="914400"/>
            <a:r>
              <a:rPr lang="ru-RU" b="1" kern="0" dirty="0">
                <a:solidFill>
                  <a:prstClr val="black"/>
                </a:solidFill>
                <a:latin typeface="Arial Narrow" panose="020B0606020202030204" pitchFamily="34" charset="0"/>
              </a:rPr>
              <a:t>2018 г.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406803" y="2875825"/>
            <a:ext cx="415922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just"/>
            <a:r>
              <a:rPr lang="ru-RU" alt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Будет обеспечена реализация проекта в 50 субъектах Российской Федерации</a:t>
            </a:r>
          </a:p>
        </p:txBody>
      </p:sp>
      <p:sp>
        <p:nvSpPr>
          <p:cNvPr id="50" name="Pentagon 35"/>
          <p:cNvSpPr/>
          <p:nvPr/>
        </p:nvSpPr>
        <p:spPr>
          <a:xfrm>
            <a:off x="5896632" y="400562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1" name="Pentagon 35"/>
          <p:cNvSpPr/>
          <p:nvPr/>
        </p:nvSpPr>
        <p:spPr>
          <a:xfrm>
            <a:off x="5876819" y="399292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883486" y="3872862"/>
            <a:ext cx="5537715" cy="1162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Проведение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программ </a:t>
            </a:r>
            <a:r>
              <a:rPr lang="ru-RU" sz="16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во </a:t>
            </a: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всех субъектах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Российской Федера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Дополнительно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обучит </a:t>
            </a:r>
            <a:r>
              <a:rPr lang="ru-RU" sz="1600" b="1" dirty="0">
                <a:solidFill>
                  <a:prstClr val="black"/>
                </a:solidFill>
                <a:latin typeface="Arial Narrow" panose="020B0606020202030204" pitchFamily="34" charset="0"/>
              </a:rPr>
              <a:t>60 представителей </a:t>
            </a: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</a:rPr>
              <a:t>организаций инфраструктуры поддержки субъектов Российской </a:t>
            </a: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едерации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Разработает дополнительные модули по актуальным темам</a:t>
            </a:r>
            <a:endParaRPr lang="ru-RU" sz="16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816022" y="3078343"/>
            <a:ext cx="667357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spcBef>
                <a:spcPts val="600"/>
              </a:spcBef>
              <a:defRPr/>
            </a:pPr>
            <a:r>
              <a:rPr lang="ru-RU" altLang="ru-RU" sz="1500" b="1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вместно с </a:t>
            </a:r>
            <a:r>
              <a:rPr lang="ru-RU" sz="1500" b="1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оюзом «Агентство развития профессиональных сообществ и рабочих кадров «Ворлдскиллс Россия» в</a:t>
            </a:r>
            <a:r>
              <a:rPr lang="ru-RU" altLang="ru-RU" sz="1500" b="1" i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рамках 22 семинаров по развитию предпринимательских навыков обучено 316 студентов колледжей</a:t>
            </a:r>
            <a:endParaRPr lang="ru-RU" altLang="ru-RU" sz="1500" b="1" i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0822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6561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lvl="0" algn="ctr">
              <a:defRPr/>
            </a:pPr>
            <a:r>
              <a:rPr lang="ru-RU" sz="2268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ы поддержки субъектов МСП в </a:t>
            </a:r>
            <a:r>
              <a:rPr lang="ru-RU" sz="2268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оногородах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(по состоянию на 11.12.2017)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6572922" y="982557"/>
            <a:ext cx="5766354" cy="33675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sz="1800" dirty="0" smtClean="0"/>
              <a:t>Использование сервисов Портала Бизнес-навигатора МСП</a:t>
            </a:r>
            <a:endParaRPr lang="ru-RU" sz="1800" dirty="0"/>
          </a:p>
        </p:txBody>
      </p:sp>
      <p:sp>
        <p:nvSpPr>
          <p:cNvPr id="67" name="TextBox 66"/>
          <p:cNvSpPr txBox="1"/>
          <p:nvPr/>
        </p:nvSpPr>
        <p:spPr>
          <a:xfrm>
            <a:off x="278244" y="3744332"/>
            <a:ext cx="12035100" cy="4021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lvl="0" algn="ctr">
              <a:defRPr/>
            </a:pPr>
            <a:r>
              <a:rPr lang="ru-RU" b="1" dirty="0">
                <a:solidFill>
                  <a:srgbClr val="ED7D31"/>
                </a:solidFill>
                <a:latin typeface="Arial Narrow" panose="020B0606020202030204" pitchFamily="34" charset="0"/>
              </a:rPr>
              <a:t>Финансовая поддержка субъектов МСП в моногородах</a:t>
            </a:r>
            <a:endParaRPr lang="ru-RU" dirty="0">
              <a:solidFill>
                <a:srgbClr val="ED7D31"/>
              </a:solidFill>
              <a:latin typeface="Arial Narrow" panose="020B0606020202030204" pitchFamily="34" charset="0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200089" y="4259870"/>
            <a:ext cx="6139189" cy="27547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sz="1600" dirty="0" smtClean="0">
                <a:solidFill>
                  <a:schemeClr val="bg1"/>
                </a:solidFill>
              </a:rPr>
              <a:t>Продукты Корпорации, МСП Банка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>
            <p:extLst/>
          </p:nvPr>
        </p:nvGraphicFramePr>
        <p:xfrm>
          <a:off x="6200089" y="4639805"/>
          <a:ext cx="6114967" cy="1821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е гарантийные продукты Корпорации для субъектов МСП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в моногородах с повышенным размером обеспечения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рок гарантии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о 15 лет</a:t>
                      </a:r>
                      <a:endParaRPr lang="ru-RU" sz="13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гарантийного покрытия 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75%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суммы кредита (при условии поручительства РГО в размере 10%)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Порядок уплаты вознаграждения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диновременно/ежегодно/1 раз в полгода/ежеквартально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/>
          </p:nvPr>
        </p:nvGraphicFramePr>
        <p:xfrm>
          <a:off x="6224310" y="6646664"/>
          <a:ext cx="6114967" cy="1427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й кредитный продукт МСП Банка для резидентов моногородов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«Развитие моногородов»*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кредита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 3 млн до 250 млн </a:t>
                      </a:r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тавка по кредиту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8,9% до 10,6%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кредита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36 до 84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сяцев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sp>
        <p:nvSpPr>
          <p:cNvPr id="74" name="Прямоугольник 73"/>
          <p:cNvSpPr/>
          <p:nvPr/>
        </p:nvSpPr>
        <p:spPr>
          <a:xfrm>
            <a:off x="322980" y="8050717"/>
            <a:ext cx="5717346" cy="342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000" i="1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 algn="just"/>
            <a:r>
              <a:rPr lang="ru-RU" sz="1000" i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кредитование как на инвестиционные цели, так и на пополнение оборотных средств</a:t>
            </a:r>
            <a:endParaRPr lang="ru-RU" sz="1000" i="1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969412" y="4258272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84" name="Pentagon 35"/>
          <p:cNvSpPr/>
          <p:nvPr/>
        </p:nvSpPr>
        <p:spPr>
          <a:xfrm>
            <a:off x="6592735" y="151768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5" name="Pentagon 35"/>
          <p:cNvSpPr/>
          <p:nvPr/>
        </p:nvSpPr>
        <p:spPr>
          <a:xfrm>
            <a:off x="6572922" y="1515747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7495193" y="1423767"/>
            <a:ext cx="4819863" cy="1877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350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9 456 </a:t>
            </a:r>
            <a:r>
              <a:rPr lang="ru-RU" sz="135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1350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СП в </a:t>
            </a:r>
            <a:r>
              <a:rPr lang="ru-RU" sz="1350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19</a:t>
            </a:r>
            <a:r>
              <a:rPr lang="ru-RU" sz="1350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оногородах воспользовались сервисами </a:t>
            </a:r>
            <a:r>
              <a:rPr lang="ru-RU" sz="1350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  <a:endParaRPr lang="ru-RU" sz="1350" b="1" dirty="0">
              <a:latin typeface="Arial Narrow" panose="020B0606020202030204" pitchFamily="34" charset="0"/>
              <a:ea typeface="Times New Roman" panose="02020603050405020304" pitchFamily="18" charset="0"/>
            </a:endParaRP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Бизнес-навигатор МСП 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включает данные по </a:t>
            </a: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18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 моногородам. </a:t>
            </a:r>
            <a:b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</a:b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В конце </a:t>
            </a: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2017 и в течение 2018 гг. 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планируется включение в Бизнес-навигатор МСП </a:t>
            </a: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7 новых моногородов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, первым из которых станет </a:t>
            </a:r>
          </a:p>
          <a:p>
            <a:pPr algn="just"/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     г. Усолье-Сибирское Иркутской области;</a:t>
            </a:r>
          </a:p>
          <a:p>
            <a:pPr marL="177800" indent="-177800" algn="just">
              <a:buFont typeface="Arial" panose="020B0604020202020204" pitchFamily="34" charset="0"/>
              <a:buChar char="•"/>
            </a:pP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В </a:t>
            </a:r>
            <a:r>
              <a:rPr lang="en-US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Google Play 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и </a:t>
            </a:r>
            <a:r>
              <a:rPr lang="en-US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App Store </a:t>
            </a:r>
            <a:r>
              <a:rPr lang="ru-RU" sz="1350" dirty="0">
                <a:latin typeface="Arial Narrow" panose="020B0606020202030204" pitchFamily="34" charset="0"/>
                <a:ea typeface="Times New Roman" panose="02020603050405020304" pitchFamily="18" charset="0"/>
              </a:rPr>
              <a:t>доступно </a:t>
            </a:r>
            <a:r>
              <a:rPr lang="ru-RU" sz="1350" b="1" dirty="0">
                <a:latin typeface="Arial Narrow" panose="020B0606020202030204" pitchFamily="34" charset="0"/>
                <a:ea typeface="Times New Roman" panose="02020603050405020304" pitchFamily="18" charset="0"/>
              </a:rPr>
              <a:t>мобильное приложение Бизнес-навигатора МСП</a:t>
            </a:r>
          </a:p>
        </p:txBody>
      </p:sp>
      <p:sp>
        <p:nvSpPr>
          <p:cNvPr id="90" name="Pentagon 35"/>
          <p:cNvSpPr/>
          <p:nvPr/>
        </p:nvSpPr>
        <p:spPr>
          <a:xfrm>
            <a:off x="355859" y="4418842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1" name="Pentagon 35"/>
          <p:cNvSpPr/>
          <p:nvPr/>
        </p:nvSpPr>
        <p:spPr>
          <a:xfrm>
            <a:off x="336046" y="441690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92" name="Pentagon 35"/>
          <p:cNvSpPr/>
          <p:nvPr/>
        </p:nvSpPr>
        <p:spPr>
          <a:xfrm>
            <a:off x="342793" y="529416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3" name="Pentagon 35"/>
          <p:cNvSpPr/>
          <p:nvPr/>
        </p:nvSpPr>
        <p:spPr>
          <a:xfrm>
            <a:off x="322980" y="529222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256235" y="6923634"/>
            <a:ext cx="5567731" cy="1179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абережные Челны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Республика Татарстан) – 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647,3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лн рублей </a:t>
            </a:r>
            <a:endParaRPr lang="ru-RU" sz="1333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Кумертау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Республика Башкортостан) – 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31,4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лн рублей </a:t>
            </a:r>
            <a:endParaRPr lang="ru-RU" sz="1333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Гаврилов-Ям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Ярославская область) – 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61,1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лн рублей </a:t>
            </a:r>
            <a:endParaRPr lang="ru-RU" sz="1333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Выкса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Нижегородская область) – 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2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лн рублей </a:t>
            </a:r>
            <a:endParaRPr lang="ru-RU" sz="1333" dirty="0" smtClean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indent="-228594" algn="just">
              <a:lnSpc>
                <a:spcPct val="106000"/>
              </a:lnSpc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ru-RU" sz="1333" b="1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Елабуга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Республика Татарстан) – </a:t>
            </a:r>
            <a:r>
              <a:rPr lang="ru-RU" sz="1333" b="1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40,4</a:t>
            </a:r>
            <a:r>
              <a:rPr lang="ru-RU" sz="1333" dirty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лн </a:t>
            </a:r>
            <a:r>
              <a:rPr lang="ru-RU" sz="1333" dirty="0" smtClean="0"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ублей</a:t>
            </a:r>
            <a:endParaRPr lang="ru-RU" sz="1333" dirty="0"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8" name="Прямоугольник 97"/>
          <p:cNvSpPr>
            <a:spLocks noChangeArrowheads="1"/>
          </p:cNvSpPr>
          <p:nvPr/>
        </p:nvSpPr>
        <p:spPr bwMode="auto">
          <a:xfrm>
            <a:off x="316401" y="6596407"/>
            <a:ext cx="5507565" cy="33162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just">
              <a:lnSpc>
                <a:spcPct val="106000"/>
              </a:lnSpc>
            </a:pPr>
            <a:r>
              <a:rPr lang="ru-RU" sz="1467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деры по объему </a:t>
            </a:r>
            <a:r>
              <a:rPr lang="ru-RU" sz="1467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влеченной гарантийной </a:t>
            </a:r>
            <a:r>
              <a:rPr lang="ru-RU" sz="1467" b="1" dirty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держки в 2017 </a:t>
            </a:r>
            <a:r>
              <a:rPr lang="ru-RU" sz="1467" b="1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</a:t>
            </a:r>
            <a:r>
              <a:rPr lang="ru-RU" sz="1467" dirty="0" smtClean="0">
                <a:solidFill>
                  <a:schemeClr val="bg1"/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lang="ru-RU" sz="1467" dirty="0">
              <a:solidFill>
                <a:schemeClr val="bg1"/>
              </a:solidFill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99" name="Рисунок 98"/>
          <p:cNvPicPr>
            <a:picLocks noChangeAspect="1"/>
          </p:cNvPicPr>
          <p:nvPr/>
        </p:nvPicPr>
        <p:blipFill rotWithShape="1">
          <a:blip r:embed="rId3"/>
          <a:srcRect l="26242" t="75245" r="52725" b="17260"/>
          <a:stretch/>
        </p:blipFill>
        <p:spPr>
          <a:xfrm>
            <a:off x="9881674" y="3227860"/>
            <a:ext cx="2457602" cy="514926"/>
          </a:xfrm>
          <a:prstGeom prst="rect">
            <a:avLst/>
          </a:prstGeom>
        </p:spPr>
      </p:pic>
      <p:sp>
        <p:nvSpPr>
          <p:cNvPr id="79" name="Прямоугольник 78"/>
          <p:cNvSpPr/>
          <p:nvPr/>
        </p:nvSpPr>
        <p:spPr>
          <a:xfrm>
            <a:off x="1316426" y="4267567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just"/>
            <a:r>
              <a:rPr lang="ru-RU" sz="1350" dirty="0">
                <a:latin typeface="Arial Narrow" panose="020B0606020202030204" pitchFamily="34" charset="0"/>
              </a:rPr>
              <a:t>м</a:t>
            </a:r>
            <a:r>
              <a:rPr lang="ru-RU" sz="1350" dirty="0" smtClean="0">
                <a:latin typeface="Arial Narrow" panose="020B0606020202030204" pitchFamily="34" charset="0"/>
              </a:rPr>
              <a:t>алым предприятиям, </a:t>
            </a:r>
            <a:r>
              <a:rPr lang="ru-RU" sz="1350" dirty="0">
                <a:latin typeface="Arial Narrow" panose="020B0606020202030204" pitchFamily="34" charset="0"/>
              </a:rPr>
              <a:t>зарегистрированным на территории </a:t>
            </a:r>
            <a:r>
              <a:rPr lang="ru-RU" sz="1350" dirty="0" smtClean="0">
                <a:latin typeface="Arial Narrow" panose="020B0606020202030204" pitchFamily="34" charset="0"/>
              </a:rPr>
              <a:t>                                 моногородов, предоставлена финансовая поддержка в рамках НГС </a:t>
            </a:r>
            <a:br>
              <a:rPr lang="ru-RU" sz="1350" dirty="0" smtClean="0">
                <a:latin typeface="Arial Narrow" panose="020B0606020202030204" pitchFamily="34" charset="0"/>
              </a:rPr>
            </a:br>
            <a:r>
              <a:rPr lang="ru-RU" sz="1350" dirty="0" smtClean="0">
                <a:latin typeface="Arial Narrow" panose="020B0606020202030204" pitchFamily="34" charset="0"/>
              </a:rPr>
              <a:t>на </a:t>
            </a:r>
            <a:r>
              <a:rPr lang="ru-RU" sz="1350" dirty="0">
                <a:latin typeface="Arial Narrow" panose="020B0606020202030204" pitchFamily="34" charset="0"/>
              </a:rPr>
              <a:t>сумму </a:t>
            </a:r>
            <a:r>
              <a:rPr lang="ru-RU" sz="1350" b="1" dirty="0" smtClean="0">
                <a:latin typeface="Arial Narrow" panose="020B0606020202030204" pitchFamily="34" charset="0"/>
              </a:rPr>
              <a:t>5,7 </a:t>
            </a:r>
            <a:r>
              <a:rPr lang="ru-RU" sz="1350" b="1" dirty="0">
                <a:latin typeface="Arial Narrow" panose="020B0606020202030204" pitchFamily="34" charset="0"/>
              </a:rPr>
              <a:t>млрд </a:t>
            </a:r>
            <a:r>
              <a:rPr lang="ru-RU" sz="1350" b="1" dirty="0" smtClean="0">
                <a:latin typeface="Arial Narrow" panose="020B0606020202030204" pitchFamily="34" charset="0"/>
              </a:rPr>
              <a:t>рублей</a:t>
            </a:r>
            <a:endParaRPr lang="ru-RU" sz="1350" dirty="0">
              <a:latin typeface="Arial Narrow" panose="020B0606020202030204" pitchFamily="34" charset="0"/>
            </a:endParaRPr>
          </a:p>
        </p:txBody>
      </p:sp>
      <p:sp>
        <p:nvSpPr>
          <p:cNvPr id="80" name="Прямоугольник 79"/>
          <p:cNvSpPr/>
          <p:nvPr/>
        </p:nvSpPr>
        <p:spPr>
          <a:xfrm>
            <a:off x="1316426" y="5090553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algn="just"/>
            <a:r>
              <a:rPr lang="ru-RU" sz="1350" dirty="0" smtClean="0">
                <a:latin typeface="Arial Narrow" panose="020B0606020202030204" pitchFamily="34" charset="0"/>
              </a:rPr>
              <a:t>малым </a:t>
            </a:r>
            <a:r>
              <a:rPr lang="ru-RU" sz="1350" dirty="0">
                <a:latin typeface="Arial Narrow" panose="020B0606020202030204" pitchFamily="34" charset="0"/>
              </a:rPr>
              <a:t>предприятиям</a:t>
            </a:r>
            <a:r>
              <a:rPr lang="ru-RU" sz="1350" dirty="0" smtClean="0">
                <a:latin typeface="Arial Narrow" panose="020B0606020202030204" pitchFamily="34" charset="0"/>
              </a:rPr>
              <a:t>, </a:t>
            </a:r>
            <a:r>
              <a:rPr lang="ru-RU" sz="1350" dirty="0">
                <a:latin typeface="Arial Narrow" panose="020B0606020202030204" pitchFamily="34" charset="0"/>
              </a:rPr>
              <a:t>зарегистрированным на территории </a:t>
            </a:r>
            <a:r>
              <a:rPr lang="ru-RU" sz="1350" dirty="0" smtClean="0">
                <a:latin typeface="Arial Narrow" panose="020B0606020202030204" pitchFamily="34" charset="0"/>
              </a:rPr>
              <a:t>моногородов</a:t>
            </a:r>
            <a:r>
              <a:rPr lang="ru-RU" sz="1350" dirty="0">
                <a:latin typeface="Arial Narrow" panose="020B0606020202030204" pitchFamily="34" charset="0"/>
              </a:rPr>
              <a:t>, </a:t>
            </a:r>
            <a:r>
              <a:rPr lang="ru-RU" sz="1350" dirty="0" smtClean="0">
                <a:latin typeface="Arial Narrow" panose="020B0606020202030204" pitchFamily="34" charset="0"/>
              </a:rPr>
              <a:t>предоставлена </a:t>
            </a:r>
            <a:r>
              <a:rPr lang="ru-RU" sz="1350" dirty="0">
                <a:latin typeface="Arial Narrow" panose="020B0606020202030204" pitchFamily="34" charset="0"/>
              </a:rPr>
              <a:t>финансовая поддержка </a:t>
            </a:r>
            <a:r>
              <a:rPr lang="ru-RU" sz="1350" dirty="0" smtClean="0">
                <a:latin typeface="Arial Narrow" panose="020B0606020202030204" pitchFamily="34" charset="0"/>
              </a:rPr>
              <a:t>в рамках НГС</a:t>
            </a:r>
            <a:br>
              <a:rPr lang="ru-RU" sz="1350" dirty="0" smtClean="0">
                <a:latin typeface="Arial Narrow" panose="020B0606020202030204" pitchFamily="34" charset="0"/>
              </a:rPr>
            </a:br>
            <a:r>
              <a:rPr lang="ru-RU" sz="1350" dirty="0" smtClean="0">
                <a:latin typeface="Arial Narrow" panose="020B0606020202030204" pitchFamily="34" charset="0"/>
              </a:rPr>
              <a:t>на </a:t>
            </a:r>
            <a:r>
              <a:rPr lang="ru-RU" sz="1350" dirty="0">
                <a:latin typeface="Arial Narrow" panose="020B0606020202030204" pitchFamily="34" charset="0"/>
              </a:rPr>
              <a:t>сумму </a:t>
            </a:r>
            <a:r>
              <a:rPr lang="ru-RU" sz="1350" b="1" dirty="0" smtClean="0">
                <a:latin typeface="Arial Narrow" panose="020B0606020202030204" pitchFamily="34" charset="0"/>
              </a:rPr>
              <a:t>5,8 </a:t>
            </a:r>
            <a:r>
              <a:rPr lang="ru-RU" sz="1350" b="1" dirty="0">
                <a:latin typeface="Arial Narrow" panose="020B0606020202030204" pitchFamily="34" charset="0"/>
              </a:rPr>
              <a:t>млрд </a:t>
            </a:r>
            <a:r>
              <a:rPr lang="ru-RU" sz="1350" b="1" dirty="0" smtClean="0">
                <a:latin typeface="Arial Narrow" panose="020B0606020202030204" pitchFamily="34" charset="0"/>
              </a:rPr>
              <a:t>рублей</a:t>
            </a:r>
            <a:endParaRPr lang="ru-RU" sz="1350" dirty="0">
              <a:latin typeface="Arial Narrow" panose="020B0606020202030204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22980" y="5927524"/>
            <a:ext cx="5655426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00"/>
              </a:spcAft>
            </a:pP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Объем финансовой поддержки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убъектов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ИМП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в 2018 году </a:t>
            </a:r>
            <a: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/>
            </a:r>
            <a:b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</a:b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составит </a:t>
            </a:r>
            <a: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6,2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млрд </a:t>
            </a:r>
            <a: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рублей</a:t>
            </a:r>
            <a:endParaRPr lang="ru-RU" sz="1400" b="1" dirty="0">
              <a:solidFill>
                <a:srgbClr val="ED7D3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2058650" y="8259732"/>
            <a:ext cx="465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Arial Narrow" panose="020B0606020202030204" pitchFamily="34" charset="0"/>
              </a:rPr>
              <a:t>1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288003" y="979939"/>
            <a:ext cx="6091281" cy="33937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sz="1800" dirty="0" smtClean="0"/>
              <a:t>Закупки у субъектов МСП в моногородах</a:t>
            </a:r>
            <a:endParaRPr lang="ru-RU" sz="1800" dirty="0"/>
          </a:p>
        </p:txBody>
      </p:sp>
      <p:sp>
        <p:nvSpPr>
          <p:cNvPr id="82" name="Скругленный прямоугольник 81"/>
          <p:cNvSpPr/>
          <p:nvPr/>
        </p:nvSpPr>
        <p:spPr>
          <a:xfrm>
            <a:off x="572720" y="1370249"/>
            <a:ext cx="1133092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83" name="Скругленный прямоугольник 4"/>
          <p:cNvSpPr/>
          <p:nvPr/>
        </p:nvSpPr>
        <p:spPr>
          <a:xfrm>
            <a:off x="214803" y="1642187"/>
            <a:ext cx="1861073" cy="12121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ъем закупок у субъектов МСП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(млрд руб.)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87" name="Группа 86"/>
          <p:cNvGrpSpPr/>
          <p:nvPr/>
        </p:nvGrpSpPr>
        <p:grpSpPr>
          <a:xfrm>
            <a:off x="303862" y="1864947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88" name="Скругленный прямоугольник 87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9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1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2017 год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50,9</a:t>
              </a:r>
            </a:p>
          </p:txBody>
        </p:sp>
      </p:grpSp>
      <p:sp>
        <p:nvSpPr>
          <p:cNvPr id="94" name="Скругленный прямоугольник 93"/>
          <p:cNvSpPr/>
          <p:nvPr/>
        </p:nvSpPr>
        <p:spPr>
          <a:xfrm>
            <a:off x="1105819" y="1927195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5" name="Прямоугольник 94"/>
          <p:cNvSpPr/>
          <p:nvPr/>
        </p:nvSpPr>
        <p:spPr>
          <a:xfrm>
            <a:off x="243764" y="2692986"/>
            <a:ext cx="1713824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увеличение на 70,60%)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360993" y="2733497"/>
            <a:ext cx="1497083" cy="4195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L-Shape 10"/>
          <p:cNvSpPr/>
          <p:nvPr/>
        </p:nvSpPr>
        <p:spPr>
          <a:xfrm rot="18915894">
            <a:off x="643806" y="2557993"/>
            <a:ext cx="122001" cy="119993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101" name="Скругленный прямоугольник 6"/>
          <p:cNvSpPr/>
          <p:nvPr/>
        </p:nvSpPr>
        <p:spPr>
          <a:xfrm>
            <a:off x="1027025" y="2028437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6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9,9</a:t>
            </a:r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2766132" y="1366890"/>
            <a:ext cx="1133092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3" name="Скругленный прямоугольник 4"/>
          <p:cNvSpPr/>
          <p:nvPr/>
        </p:nvSpPr>
        <p:spPr>
          <a:xfrm>
            <a:off x="2400646" y="1531167"/>
            <a:ext cx="1861073" cy="12121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оличество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моногородов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(шт.)</a:t>
            </a:r>
            <a:endParaRPr lang="ru-RU" sz="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104" name="Группа 103"/>
          <p:cNvGrpSpPr/>
          <p:nvPr/>
        </p:nvGrpSpPr>
        <p:grpSpPr>
          <a:xfrm>
            <a:off x="2524095" y="1839567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5" name="Скругленный прямоугольник 104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6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1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2017 год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182</a:t>
              </a:r>
              <a:endPara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07" name="Скругленный прямоугольник 106"/>
          <p:cNvSpPr/>
          <p:nvPr/>
        </p:nvSpPr>
        <p:spPr>
          <a:xfrm>
            <a:off x="3313386" y="1924474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8" name="Скругленный прямоугольник 6"/>
          <p:cNvSpPr/>
          <p:nvPr/>
        </p:nvSpPr>
        <p:spPr>
          <a:xfrm>
            <a:off x="3265463" y="2000228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6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1</a:t>
            </a:r>
            <a:endParaRPr lang="ru-RU" b="1" kern="1200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9" name="Прямая соединительная линия 108"/>
          <p:cNvCxnSpPr/>
          <p:nvPr/>
        </p:nvCxnSpPr>
        <p:spPr>
          <a:xfrm>
            <a:off x="2567084" y="2726195"/>
            <a:ext cx="1497083" cy="4195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>
            <a:off x="2505380" y="2675469"/>
            <a:ext cx="1616011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увеличение на 6,43%)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4989857" y="1369264"/>
            <a:ext cx="1133092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12" name="Группа 111"/>
          <p:cNvGrpSpPr/>
          <p:nvPr/>
        </p:nvGrpSpPr>
        <p:grpSpPr>
          <a:xfrm>
            <a:off x="4734061" y="1852730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13" name="Скругленный прямоугольник 112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4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1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2017 год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b="1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1 596</a:t>
              </a:r>
              <a:endPara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endParaRPr>
            </a:p>
          </p:txBody>
        </p:sp>
      </p:grpSp>
      <p:sp>
        <p:nvSpPr>
          <p:cNvPr id="115" name="Скругленный прямоугольник 114"/>
          <p:cNvSpPr/>
          <p:nvPr/>
        </p:nvSpPr>
        <p:spPr>
          <a:xfrm>
            <a:off x="5525315" y="1926419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6" name="Прямоугольник 115"/>
          <p:cNvSpPr/>
          <p:nvPr/>
        </p:nvSpPr>
        <p:spPr>
          <a:xfrm>
            <a:off x="4706203" y="2690322"/>
            <a:ext cx="1761747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увеличение на 21,65%) 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17" name="Прямая соединительная линия 116"/>
          <p:cNvCxnSpPr/>
          <p:nvPr/>
        </p:nvCxnSpPr>
        <p:spPr>
          <a:xfrm>
            <a:off x="4798711" y="2733315"/>
            <a:ext cx="1497083" cy="4195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L-Shape 10"/>
          <p:cNvSpPr/>
          <p:nvPr/>
        </p:nvSpPr>
        <p:spPr>
          <a:xfrm rot="18915894">
            <a:off x="5119355" y="2557993"/>
            <a:ext cx="122001" cy="119993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119" name="Скругленный прямоугольник 6"/>
          <p:cNvSpPr/>
          <p:nvPr/>
        </p:nvSpPr>
        <p:spPr>
          <a:xfrm>
            <a:off x="5481869" y="2004011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1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2016 год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 312</a:t>
            </a:r>
          </a:p>
        </p:txBody>
      </p:sp>
      <p:sp>
        <p:nvSpPr>
          <p:cNvPr id="120" name="Скругленный прямоугольник 4"/>
          <p:cNvSpPr/>
          <p:nvPr/>
        </p:nvSpPr>
        <p:spPr>
          <a:xfrm>
            <a:off x="4656541" y="1640917"/>
            <a:ext cx="1861073" cy="121214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оличество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12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ставщиков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</a:pPr>
            <a:r>
              <a:rPr lang="ru-RU" sz="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(шт.)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121" name="L-Shape 10"/>
          <p:cNvSpPr/>
          <p:nvPr/>
        </p:nvSpPr>
        <p:spPr>
          <a:xfrm rot="18915894">
            <a:off x="2879184" y="2555705"/>
            <a:ext cx="122001" cy="119993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122" name="Прямоугольник 121"/>
          <p:cNvSpPr/>
          <p:nvPr/>
        </p:nvSpPr>
        <p:spPr>
          <a:xfrm>
            <a:off x="288003" y="3086554"/>
            <a:ext cx="5903705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200"/>
              </a:spcAft>
            </a:pP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Увеличение объема закупок у субъектов МСП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в 2018 году </a:t>
            </a:r>
            <a:r>
              <a:rPr lang="ru-RU" sz="14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на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50% </a:t>
            </a:r>
            <a:r>
              <a:rPr lang="ru-RU" sz="1400" b="1" dirty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по сравнению с 2017 годом </a:t>
            </a:r>
            <a:r>
              <a:rPr lang="ru-RU" sz="1400" b="1" dirty="0" smtClean="0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 </a:t>
            </a:r>
            <a:r>
              <a:rPr lang="ru-RU" sz="1400" b="1" dirty="0">
                <a:solidFill>
                  <a:srgbClr val="ED7D31"/>
                </a:solidFill>
                <a:latin typeface="Arial Narrow" panose="020B0606020202030204" pitchFamily="34" charset="0"/>
              </a:rPr>
              <a:t>до не менее 74 млрд рублей</a:t>
            </a:r>
          </a:p>
        </p:txBody>
      </p:sp>
    </p:spTree>
    <p:extLst>
      <p:ext uri="{BB962C8B-B14F-4D97-AF65-F5344CB8AC3E}">
        <p14:creationId xmlns:p14="http://schemas.microsoft.com/office/powerpoint/2010/main" val="2776056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979777" y="213838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                                                Имущественная поддержка. 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79099" y="1454519"/>
            <a:ext cx="5950059" cy="51646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273235" y="2726618"/>
          <a:ext cx="6165031" cy="4098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34066" y="1454520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457440" y="6537451"/>
            <a:ext cx="5936749" cy="75516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По состоянию на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11 декабря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2017 года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– 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47</a:t>
            </a:r>
            <a:r>
              <a:rPr kumimoji="0" lang="ru-RU" sz="15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500" b="1" kern="0" dirty="0" smtClean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461</a:t>
            </a:r>
            <a:r>
              <a:rPr kumimoji="0" lang="ru-RU" sz="1500" b="1" i="0" u="none" strike="noStrike" kern="0" cap="none" spc="0" normalizeH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объект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С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31 декабря 2015</a:t>
            </a: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5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года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рост </a:t>
            </a:r>
            <a:r>
              <a:rPr kumimoji="0" lang="ru-RU" sz="15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составил </a:t>
            </a:r>
            <a:r>
              <a:rPr kumimoji="0" lang="ru-RU" sz="1500" b="0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66</a:t>
            </a:r>
            <a:r>
              <a:rPr kumimoji="0" lang="ru-RU" sz="15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%</a:t>
            </a:r>
            <a:endParaRPr kumimoji="0" lang="ru-RU" sz="1500" b="1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72608" y="419867"/>
            <a:ext cx="1417865" cy="718638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360807" y="2157968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51157" y="4940812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68462" y="5682882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92849" y="2646796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66"/>
          <p:cNvSpPr txBox="1">
            <a:spLocks noChangeArrowheads="1"/>
          </p:cNvSpPr>
          <p:nvPr/>
        </p:nvSpPr>
        <p:spPr bwMode="auto">
          <a:xfrm>
            <a:off x="139849" y="2846534"/>
            <a:ext cx="6263801" cy="186204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Факт 2016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год –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3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за </a:t>
            </a:r>
            <a:r>
              <a:rPr lang="ru-RU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1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месяцев 2017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г. 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- 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7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 МСП</a:t>
            </a:r>
            <a:r>
              <a:rPr lang="ru-RU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);</a:t>
            </a:r>
          </a:p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5.08.2017 </a:t>
            </a:r>
            <a:r>
              <a:rPr lang="ru-RU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– все 7 услуг размещены на Едином портале </a:t>
            </a:r>
            <a:r>
              <a:rPr lang="ru-RU" altLang="ru-RU" sz="1500" dirty="0" err="1" smtClean="0">
                <a:solidFill>
                  <a:prstClr val="black"/>
                </a:solidFill>
                <a:latin typeface="Arial Narrow" panose="020B0606020202030204" pitchFamily="34" charset="0"/>
              </a:rPr>
              <a:t>госуслуг</a:t>
            </a:r>
            <a:endParaRPr lang="ru-RU" altLang="ru-RU" sz="15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лан 2017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год –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9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услуг (господдержка, тренинги, номенклатура закупок, Бизнес-навигатор МСП, кредитно-гарантийная поддержка) </a:t>
            </a:r>
          </a:p>
        </p:txBody>
      </p:sp>
      <p:sp>
        <p:nvSpPr>
          <p:cNvPr id="41" name="TextBox 66"/>
          <p:cNvSpPr txBox="1">
            <a:spLocks noChangeArrowheads="1"/>
          </p:cNvSpPr>
          <p:nvPr/>
        </p:nvSpPr>
        <p:spPr bwMode="auto">
          <a:xfrm>
            <a:off x="139840" y="5902139"/>
            <a:ext cx="6466816" cy="127214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Факт 2016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год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-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23,8 тыс.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«уникальных» субъектов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МСП </a:t>
            </a:r>
          </a:p>
          <a:p>
            <a:pPr marL="285750" indent="-285750" algn="just">
              <a:spcAft>
                <a:spcPts val="10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Факт на 11.12.2017</a:t>
            </a:r>
            <a:r>
              <a:rPr lang="ru-RU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 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года </a:t>
            </a:r>
            <a:r>
              <a:rPr lang="ru-RU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–</a:t>
            </a:r>
            <a:r>
              <a:rPr lang="ru-RU" altLang="ru-RU" sz="1500" b="1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67,3 тыс</a:t>
            </a:r>
            <a:r>
              <a:rPr lang="ru-RU" altLang="ru-RU" sz="1500" b="1" dirty="0">
                <a:solidFill>
                  <a:prstClr val="black"/>
                </a:solidFill>
                <a:latin typeface="Arial Narrow" panose="020B0606020202030204" pitchFamily="34" charset="0"/>
              </a:rPr>
              <a:t>.</a:t>
            </a:r>
            <a:r>
              <a:rPr lang="ru-RU" altLang="ru-RU" sz="1500" dirty="0">
                <a:solidFill>
                  <a:prstClr val="black"/>
                </a:solidFill>
                <a:latin typeface="Arial Narrow" panose="020B0606020202030204" pitchFamily="34" charset="0"/>
              </a:rPr>
              <a:t> «уникальных» субъектов </a:t>
            </a:r>
            <a:r>
              <a:rPr lang="ru-RU" altLang="ru-RU" sz="15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МСП, из которых  92 тыс. (55%) зарегистрированы на Портале Бизнес-навигатора через МФЦ</a:t>
            </a:r>
            <a:endParaRPr lang="ru-RU" altLang="ru-RU" sz="15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spcAft>
                <a:spcPts val="100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лан 2017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год (макс.)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–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151,1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тыс.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«уникальных» субъектов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МСП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282575" y="1233605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2265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5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до 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3614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современного завода по производству гибких насосно-компрессорных труб (ГНКТ)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рубная промышленность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94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 производства мясных снеков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ищевая промышленность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11857060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а котельного, теплотехнического и вспомогательного оборудования, оборудования автоматики и диспетчеризации котельных под собственной торговой маркой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еплоэнергетика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23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9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lvl="0" algn="ctr"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15 проектов общим бюджетом </a:t>
            </a:r>
            <a:r>
              <a:rPr lang="ru-RU" sz="2000" b="1" dirty="0" smtClean="0">
                <a:ln cmpd="dbl">
                  <a:noFill/>
                </a:ln>
                <a:solidFill>
                  <a:srgbClr val="ED7D31"/>
                </a:solidFill>
                <a:latin typeface="Arial Narrow" panose="020B0606020202030204" pitchFamily="34" charset="0"/>
              </a:rPr>
              <a:t>19 984 млн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00848" y="7872529"/>
            <a:ext cx="117735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52144" fontAlgn="ctr"/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 рассмотрении в рамках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механизма Инвестиционный лифт </a:t>
            </a:r>
            <a:r>
              <a:rPr lang="ru-RU" sz="1300" b="1" dirty="0" smtClean="0">
                <a:ln cmpd="dbl">
                  <a:noFill/>
                </a:ln>
                <a:latin typeface="Arial Narrow" panose="020B0606020202030204" pitchFamily="34" charset="0"/>
              </a:rPr>
              <a:t>находятся 4 проекта пищевой, трубной промышленности, теплоэнергетики. Общий бюджет рассматриваемых проектов составляет 2 267 млн </a:t>
            </a:r>
            <a:r>
              <a:rPr lang="ru-RU" sz="1300" b="1" dirty="0">
                <a:ln cmpd="dbl">
                  <a:noFill/>
                </a:ln>
                <a:latin typeface="Arial Narrow" panose="020B0606020202030204" pitchFamily="34" charset="0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1399384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 (по состоянию на 11.12.2017)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586004"/>
            <a:ext cx="345530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34342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91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b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3568532"/>
            <a:ext cx="3513172" cy="23992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15029" y="3582786"/>
            <a:ext cx="3481858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1011695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регионов – лидеров</a:t>
            </a:r>
            <a:r>
              <a:rPr lang="ru-RU" sz="1400" dirty="0">
                <a:latin typeface="Arial Narrow" panose="020B0606020202030204" pitchFamily="34" charset="0"/>
              </a:rPr>
              <a:t>:</a:t>
            </a:r>
            <a:r>
              <a:rPr lang="ru-RU" sz="1000" dirty="0">
                <a:latin typeface="Arial Narrow" panose="020B0606020202030204" pitchFamily="34" charset="0"/>
              </a:rPr>
              <a:t> </a:t>
            </a:r>
            <a:r>
              <a:rPr lang="ru-RU" sz="1400" dirty="0">
                <a:latin typeface="Arial Narrow" panose="020B0606020202030204" pitchFamily="34" charset="0"/>
              </a:rPr>
              <a:t>город Москва </a:t>
            </a:r>
            <a:r>
              <a:rPr lang="ru-RU" sz="1400" dirty="0" smtClean="0">
                <a:latin typeface="Arial Narrow" panose="020B0606020202030204" pitchFamily="34" charset="0"/>
              </a:rPr>
              <a:t>(741,5 </a:t>
            </a:r>
            <a:r>
              <a:rPr lang="ru-RU" sz="1400" dirty="0">
                <a:latin typeface="Arial Narrow" panose="020B0606020202030204" pitchFamily="34" charset="0"/>
              </a:rPr>
              <a:t>млрд руб.), город Санкт-Петербург (</a:t>
            </a:r>
            <a:r>
              <a:rPr lang="ru-RU" sz="1400" dirty="0" smtClean="0">
                <a:latin typeface="Arial Narrow" panose="020B0606020202030204" pitchFamily="34" charset="0"/>
              </a:rPr>
              <a:t>189,3 млрд </a:t>
            </a:r>
            <a:r>
              <a:rPr lang="ru-RU" sz="1400" dirty="0">
                <a:latin typeface="Arial Narrow" panose="020B0606020202030204" pitchFamily="34" charset="0"/>
              </a:rPr>
              <a:t>руб.),</a:t>
            </a:r>
            <a:r>
              <a:rPr lang="ru-RU" sz="1000" dirty="0">
                <a:latin typeface="Arial Narrow" panose="020B0606020202030204" pitchFamily="34" charset="0"/>
              </a:rPr>
              <a:t> </a:t>
            </a:r>
            <a:r>
              <a:rPr lang="ru-RU" sz="1400" dirty="0">
                <a:latin typeface="Arial Narrow" panose="020B0606020202030204" pitchFamily="34" charset="0"/>
              </a:rPr>
              <a:t>Московская область</a:t>
            </a:r>
            <a:r>
              <a:rPr lang="ru-RU" sz="1000" dirty="0">
                <a:latin typeface="Arial Narrow" panose="020B0606020202030204" pitchFamily="34" charset="0"/>
              </a:rPr>
              <a:t> </a:t>
            </a:r>
            <a:r>
              <a:rPr lang="ru-RU" sz="1400" dirty="0" smtClean="0">
                <a:latin typeface="Arial Narrow" panose="020B0606020202030204" pitchFamily="34" charset="0"/>
              </a:rPr>
              <a:t>(111,3 млрд руб</a:t>
            </a:r>
            <a:r>
              <a:rPr lang="ru-RU" sz="1400" dirty="0">
                <a:latin typeface="Arial Narrow" panose="020B0606020202030204" pitchFamily="34" charset="0"/>
              </a:rPr>
              <a:t>.), Ханты-Мансийский автономный округ - Югра </a:t>
            </a:r>
            <a:r>
              <a:rPr lang="ru-RU" sz="1400" dirty="0" smtClean="0">
                <a:latin typeface="Arial Narrow" panose="020B0606020202030204" pitchFamily="34" charset="0"/>
              </a:rPr>
              <a:t>(80,3 млрд </a:t>
            </a:r>
            <a:r>
              <a:rPr lang="ru-RU" sz="1400" dirty="0">
                <a:latin typeface="Arial Narrow" panose="020B0606020202030204" pitchFamily="34" charset="0"/>
              </a:rPr>
              <a:t>руб.), Свердловская область </a:t>
            </a:r>
            <a:r>
              <a:rPr lang="ru-RU" sz="1400" dirty="0" smtClean="0">
                <a:latin typeface="Arial Narrow" panose="020B0606020202030204" pitchFamily="34" charset="0"/>
              </a:rPr>
              <a:t>(74,2 </a:t>
            </a:r>
            <a:r>
              <a:rPr lang="ru-RU" sz="1400" dirty="0">
                <a:latin typeface="Arial Narrow" panose="020B0606020202030204" pitchFamily="34" charset="0"/>
              </a:rPr>
              <a:t>млрд рублей)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69475"/>
            <a:ext cx="9969026" cy="921003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58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ов</a:t>
            </a:r>
            <a:r>
              <a:rPr lang="ru-RU" sz="1400" dirty="0">
                <a:latin typeface="Arial Narrow" panose="020B0606020202030204" pitchFamily="34" charset="0"/>
              </a:rPr>
              <a:t> утвердили программы партнерства, участниками которых стали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1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29 субъектов МСП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;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Корпорацией подписаны 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заказчиков-лидеров</a:t>
            </a:r>
            <a:r>
              <a:rPr lang="ru-RU" sz="1400" dirty="0">
                <a:latin typeface="Arial Narrow" panose="020B0606020202030204" pitchFamily="34" charset="0"/>
              </a:rPr>
              <a:t>: ОАО «РЖД» </a:t>
            </a:r>
            <a:r>
              <a:rPr lang="ru-RU" sz="1400" dirty="0" smtClean="0">
                <a:latin typeface="Arial Narrow" panose="020B0606020202030204" pitchFamily="34" charset="0"/>
              </a:rPr>
              <a:t>(202,8 </a:t>
            </a:r>
            <a:r>
              <a:rPr lang="ru-RU" sz="1400" dirty="0">
                <a:latin typeface="Arial Narrow" panose="020B0606020202030204" pitchFamily="34" charset="0"/>
              </a:rPr>
              <a:t>млрд руб.), ПАО «Ростелеком» (</a:t>
            </a:r>
            <a:r>
              <a:rPr lang="ru-RU" sz="1400" dirty="0" smtClean="0">
                <a:latin typeface="Arial Narrow" panose="020B0606020202030204" pitchFamily="34" charset="0"/>
              </a:rPr>
              <a:t>123,1 млрд </a:t>
            </a:r>
            <a:r>
              <a:rPr lang="ru-RU" sz="1400" dirty="0">
                <a:latin typeface="Arial Narrow" panose="020B0606020202030204" pitchFamily="34" charset="0"/>
              </a:rPr>
              <a:t>руб.), </a:t>
            </a:r>
            <a:r>
              <a:rPr lang="ru-RU" sz="1400" dirty="0" smtClean="0">
                <a:latin typeface="Arial Narrow" panose="020B0606020202030204" pitchFamily="34" charset="0"/>
              </a:rPr>
              <a:t>АО «</a:t>
            </a:r>
            <a:r>
              <a:rPr lang="ru-RU" sz="1400" dirty="0" err="1" smtClean="0">
                <a:latin typeface="Arial Narrow" panose="020B0606020202030204" pitchFamily="34" charset="0"/>
              </a:rPr>
              <a:t>РЖДстрой</a:t>
            </a:r>
            <a:r>
              <a:rPr lang="ru-RU" sz="1400" dirty="0" smtClean="0">
                <a:latin typeface="Arial Narrow" panose="020B0606020202030204" pitchFamily="34" charset="0"/>
              </a:rPr>
              <a:t>» (77,7 млрд руб.), </a:t>
            </a:r>
            <a:r>
              <a:rPr lang="ru-RU" sz="1400" dirty="0">
                <a:latin typeface="Arial Narrow" panose="020B0606020202030204" pitchFamily="34" charset="0"/>
              </a:rPr>
              <a:t/>
            </a:r>
            <a:br>
              <a:rPr lang="ru-RU" sz="1400" dirty="0">
                <a:latin typeface="Arial Narrow" panose="020B0606020202030204" pitchFamily="34" charset="0"/>
              </a:rPr>
            </a:br>
            <a:r>
              <a:rPr lang="ru-RU" sz="1400" dirty="0">
                <a:latin typeface="Arial Narrow" panose="020B0606020202030204" pitchFamily="34" charset="0"/>
              </a:rPr>
              <a:t>ПАО «НК «Роснефть» </a:t>
            </a:r>
            <a:r>
              <a:rPr lang="ru-RU" sz="1400" dirty="0" smtClean="0">
                <a:latin typeface="Arial Narrow" panose="020B0606020202030204" pitchFamily="34" charset="0"/>
              </a:rPr>
              <a:t>(72,5 </a:t>
            </a:r>
            <a:r>
              <a:rPr lang="ru-RU" sz="1400" dirty="0">
                <a:latin typeface="Arial Narrow" panose="020B0606020202030204" pitchFamily="34" charset="0"/>
              </a:rPr>
              <a:t>млрд руб.), ПАО Сбербанк </a:t>
            </a:r>
            <a:r>
              <a:rPr lang="ru-RU" sz="1400" dirty="0" smtClean="0">
                <a:latin typeface="Arial Narrow" panose="020B0606020202030204" pitchFamily="34" charset="0"/>
              </a:rPr>
              <a:t>(63,4 </a:t>
            </a:r>
            <a:r>
              <a:rPr lang="ru-RU" sz="1400" dirty="0">
                <a:latin typeface="Arial Narrow" panose="020B0606020202030204" pitchFamily="34" charset="0"/>
              </a:rPr>
              <a:t>млрд руб.)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5557679" y="399247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30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7831" y="4307477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58 553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и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2700719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2792517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4797" y="2819174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158529"/>
          </a:xfrm>
        </p:spPr>
        <p:txBody>
          <a:bodyPr/>
          <a:lstStyle/>
          <a:p>
            <a:fld id="{9005E221-E10C-40C7-8143-48F6241B2838}" type="slidenum">
              <a:rPr lang="ru-RU" sz="1200" smtClean="0">
                <a:latin typeface="Arial Narrow" panose="020B0606020202030204" pitchFamily="34" charset="0"/>
              </a:rPr>
              <a:pPr/>
              <a:t>3</a:t>
            </a:fld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35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90207" y="3799274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978 трлн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876249" y="4322299"/>
            <a:ext cx="2722476" cy="1114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</a:t>
            </a:r>
            <a:r>
              <a:rPr lang="ru-RU" sz="12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концу 2017 </a:t>
            </a:r>
            <a:r>
              <a:rPr lang="ru-RU" sz="12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года</a:t>
            </a:r>
            <a:endParaRPr lang="ru-RU" sz="12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перечня заказчиков</a:t>
            </a:r>
            <a:r>
              <a:rPr lang="ru-RU" sz="14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с 200 до 420):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300" b="1" i="1" dirty="0">
                <a:solidFill>
                  <a:schemeClr val="bg1"/>
                </a:solidFill>
                <a:latin typeface="Arial Narrow" panose="020B0606020202030204" pitchFamily="34" charset="0"/>
              </a:rPr>
              <a:t>целевой </a:t>
            </a:r>
            <a:r>
              <a:rPr lang="ru-RU" sz="13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казатель -</a:t>
            </a:r>
            <a:endParaRPr lang="ru-RU" sz="13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2 трлн рублей </a:t>
            </a:r>
          </a:p>
        </p:txBody>
      </p:sp>
    </p:spTree>
    <p:extLst>
      <p:ext uri="{BB962C8B-B14F-4D97-AF65-F5344CB8AC3E}">
        <p14:creationId xmlns:p14="http://schemas.microsoft.com/office/powerpoint/2010/main" val="656426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6539" y="3002392"/>
            <a:ext cx="4027113" cy="5166934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88751" y="2941928"/>
            <a:ext cx="3716521" cy="5066618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 rotWithShape="1">
          <a:blip r:embed="rId5"/>
          <a:srcRect l="25968" t="16298" r="48366" b="13775"/>
          <a:stretch/>
        </p:blipFill>
        <p:spPr>
          <a:xfrm>
            <a:off x="274884" y="2941928"/>
            <a:ext cx="3631522" cy="5292623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25167" y="2941928"/>
            <a:ext cx="3720794" cy="530717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/>
            <a:endParaRPr lang="ru-RU" sz="147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2014294" y="8254050"/>
            <a:ext cx="484766" cy="220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729237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984" dirty="0">
                <a:solidFill>
                  <a:prstClr val="black"/>
                </a:solidFill>
                <a:latin typeface="Arial Narrow" panose="020B0606020202030204" pitchFamily="34" charset="0"/>
              </a:rPr>
              <a:t>5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890043" y="3148045"/>
            <a:ext cx="3502642" cy="42821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endParaRPr lang="ru-RU" sz="1477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18209" y="919583"/>
            <a:ext cx="12138231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218209" y="926700"/>
            <a:ext cx="12138231" cy="73618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За период с 1 января по </a:t>
            </a:r>
            <a:r>
              <a:rPr lang="ru-RU" sz="1969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30 ноября </a:t>
            </a: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2017 года с 45 </a:t>
            </a:r>
            <a:r>
              <a:rPr lang="ru-RU" sz="1969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126 субъектами </a:t>
            </a: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МСП</a:t>
            </a:r>
          </a:p>
          <a:p>
            <a:pPr algn="ctr" defTabSz="375036">
              <a:defRPr/>
            </a:pP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заключено 145 </a:t>
            </a:r>
            <a:r>
              <a:rPr lang="ru-RU" sz="1969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697 договоров </a:t>
            </a: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на общую сумму </a:t>
            </a:r>
            <a:r>
              <a:rPr lang="ru-RU" sz="2953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1,921</a:t>
            </a:r>
            <a:r>
              <a:rPr lang="ru-RU" sz="1969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 </a:t>
            </a:r>
            <a:r>
              <a:rPr lang="ru-RU" sz="1969" b="1" dirty="0">
                <a:solidFill>
                  <a:srgbClr val="ED7D31"/>
                </a:solidFill>
                <a:latin typeface="Arial Narrow" panose="020B0606020202030204" pitchFamily="34" charset="0"/>
              </a:rPr>
              <a:t>трлн рубле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164341" y="2986348"/>
            <a:ext cx="4092336" cy="52482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/>
            <a:endParaRPr lang="ru-RU" sz="147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272159" y="3002392"/>
            <a:ext cx="3614349" cy="523215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/>
            <a:endParaRPr lang="ru-RU" sz="1477">
              <a:solidFill>
                <a:prstClr val="white"/>
              </a:solidFill>
              <a:latin typeface="Calibri"/>
            </a:endParaRP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343219" y="6659213"/>
            <a:ext cx="3508691" cy="14706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800" b="1" dirty="0" smtClean="0">
                <a:solidFill>
                  <a:schemeClr val="bg2">
                    <a:lumMod val="1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оговоров   с   54 920   поставщиками   на   общую  сумму  9 701 655 143 271 </a:t>
            </a:r>
            <a:endParaRPr lang="ru-RU" sz="800" b="1" dirty="0">
              <a:solidFill>
                <a:schemeClr val="bg2">
                  <a:lumMod val="1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343219" y="6819253"/>
            <a:ext cx="373061" cy="14288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8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ь.</a:t>
            </a:r>
            <a:endParaRPr lang="ru-RU" sz="8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6080429" y="5438783"/>
            <a:ext cx="831827" cy="1123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en-US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20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ов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5198577" y="5720888"/>
            <a:ext cx="856574" cy="11580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en-US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2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5</a:t>
            </a:r>
            <a:r>
              <a:rPr lang="ru-RU" sz="600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вщиках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5917061" y="5725731"/>
            <a:ext cx="1296339" cy="10778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несены в указанный реестр.</a:t>
            </a: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8745390" y="6660265"/>
            <a:ext cx="431143" cy="12900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5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97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9315450" y="6566251"/>
            <a:ext cx="1431066" cy="11007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4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6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являются субъектами 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10721478" y="6663222"/>
            <a:ext cx="830276" cy="11582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20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66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29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74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0539656" y="6564802"/>
            <a:ext cx="239058" cy="11152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</a:t>
            </a: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9127735" y="6663097"/>
            <a:ext cx="533212" cy="12097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говоров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 rot="10800000" flipV="1">
            <a:off x="10077449" y="7184937"/>
            <a:ext cx="333376" cy="9657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r>
            <a:r>
              <a:rPr lang="ru-RU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99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 rot="10800000" flipV="1">
            <a:off x="10991867" y="7299369"/>
            <a:ext cx="289498" cy="9369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681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sz="681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27</a:t>
            </a:r>
            <a:endParaRPr lang="ru-RU" sz="681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013301" y="87467"/>
            <a:ext cx="527352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31160" y="80031"/>
            <a:ext cx="1525280" cy="790590"/>
          </a:xfrm>
          <a:prstGeom prst="rect">
            <a:avLst/>
          </a:prstGeom>
        </p:spPr>
      </p:pic>
      <p:sp>
        <p:nvSpPr>
          <p:cNvPr id="41" name="Скругленный прямоугольник 40"/>
          <p:cNvSpPr/>
          <p:nvPr/>
        </p:nvSpPr>
        <p:spPr>
          <a:xfrm>
            <a:off x="8125658" y="1788386"/>
            <a:ext cx="4193342" cy="103974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218209" y="1760644"/>
            <a:ext cx="3718363" cy="10527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4272159" y="1784448"/>
            <a:ext cx="3617884" cy="1062889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3448702" y="6535766"/>
            <a:ext cx="403208" cy="12756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75036">
              <a:defRPr/>
            </a:pPr>
            <a:r>
              <a:rPr lang="ru-RU" sz="750" b="1" dirty="0" smtClean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05 366</a:t>
            </a:r>
            <a:endParaRPr lang="ru-RU" sz="750" b="1" dirty="0">
              <a:solidFill>
                <a:schemeClr val="bg2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5348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36811" y="3110456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.12.2017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8694814"/>
              </p:ext>
            </p:extLst>
          </p:nvPr>
        </p:nvGraphicFramePr>
        <p:xfrm>
          <a:off x="898141" y="2666590"/>
          <a:ext cx="10902999" cy="48152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xmlns="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11.12.2017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1 54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 138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4 355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79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ru-RU" sz="17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 426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04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3326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376</TotalTime>
  <Words>4445</Words>
  <Application>Microsoft Office PowerPoint</Application>
  <PresentationFormat>Произвольный</PresentationFormat>
  <Paragraphs>673</Paragraphs>
  <Slides>20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0</vt:i4>
      </vt:variant>
    </vt:vector>
  </HeadingPairs>
  <TitlesOfParts>
    <vt:vector size="29" baseType="lpstr">
      <vt:lpstr>Arial</vt:lpstr>
      <vt:lpstr>Arial Narrow</vt:lpstr>
      <vt:lpstr>Calibri</vt:lpstr>
      <vt:lpstr>Calibri Light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Dubinchuk@corpmsp.ru</dc:creator>
  <cp:lastModifiedBy>РК Союз Промышленников</cp:lastModifiedBy>
  <cp:revision>1027</cp:revision>
  <cp:lastPrinted>2017-12-11T14:52:09Z</cp:lastPrinted>
  <dcterms:created xsi:type="dcterms:W3CDTF">2015-12-16T13:43:54Z</dcterms:created>
  <dcterms:modified xsi:type="dcterms:W3CDTF">2017-12-13T07:21:06Z</dcterms:modified>
</cp:coreProperties>
</file>